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7.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8.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9.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comment1.xml" ContentType="application/vnd.openxmlformats-officedocument.presentationml.comments+xml"/>
  <Override PartName="/ppt/comments/comment2.xml" ContentType="application/vnd.openxmlformats-officedocument.presentationml.comments+xml"/>
  <Override PartName="/ppt/notesSlides/notesSlide4.xml" ContentType="application/vnd.openxmlformats-officedocument.presentationml.notesSlide+xml"/>
  <Override PartName="/ppt/comments/comment3.xml" ContentType="application/vnd.openxmlformats-officedocument.presentationml.comments+xml"/>
  <Override PartName="/ppt/comments/comment4.xml" ContentType="application/vnd.openxmlformats-officedocument.presentationml.comments+xml"/>
  <Override PartName="/ppt/notesSlides/notesSlide5.xml" ContentType="application/vnd.openxmlformats-officedocument.presentationml.notesSlide+xml"/>
  <Override PartName="/ppt/comments/comment5.xml" ContentType="application/vnd.openxmlformats-officedocument.presentationml.comments+xml"/>
  <Override PartName="/ppt/notesSlides/notesSlide6.xml" ContentType="application/vnd.openxmlformats-officedocument.presentationml.notesSlide+xml"/>
  <Override PartName="/ppt/comments/comment6.xml" ContentType="application/vnd.openxmlformats-officedocument.presentationml.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omments/comment7.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1" r:id="rId2"/>
    <p:sldMasterId id="2147483705" r:id="rId3"/>
    <p:sldMasterId id="2147483718" r:id="rId4"/>
    <p:sldMasterId id="2147483728" r:id="rId5"/>
    <p:sldMasterId id="2147483736" r:id="rId6"/>
    <p:sldMasterId id="2147483743" r:id="rId7"/>
    <p:sldMasterId id="2147483812" r:id="rId8"/>
    <p:sldMasterId id="2147483881" r:id="rId9"/>
  </p:sldMasterIdLst>
  <p:notesMasterIdLst>
    <p:notesMasterId r:id="rId56"/>
  </p:notesMasterIdLst>
  <p:sldIdLst>
    <p:sldId id="382" r:id="rId10"/>
    <p:sldId id="258" r:id="rId11"/>
    <p:sldId id="759" r:id="rId12"/>
    <p:sldId id="2145707163" r:id="rId13"/>
    <p:sldId id="2145707164" r:id="rId14"/>
    <p:sldId id="758" r:id="rId15"/>
    <p:sldId id="761" r:id="rId16"/>
    <p:sldId id="763" r:id="rId17"/>
    <p:sldId id="2145707167" r:id="rId18"/>
    <p:sldId id="2145707162" r:id="rId19"/>
    <p:sldId id="2145707166" r:id="rId20"/>
    <p:sldId id="2145707158" r:id="rId21"/>
    <p:sldId id="2145707160" r:id="rId22"/>
    <p:sldId id="2145707168" r:id="rId23"/>
    <p:sldId id="2145707161" r:id="rId24"/>
    <p:sldId id="766" r:id="rId25"/>
    <p:sldId id="2145707156" r:id="rId26"/>
    <p:sldId id="767" r:id="rId27"/>
    <p:sldId id="2145707165" r:id="rId28"/>
    <p:sldId id="428" r:id="rId29"/>
    <p:sldId id="2145707132" r:id="rId30"/>
    <p:sldId id="2145707170" r:id="rId31"/>
    <p:sldId id="2145707138" r:id="rId32"/>
    <p:sldId id="2145707171" r:id="rId33"/>
    <p:sldId id="2145707147" r:id="rId34"/>
    <p:sldId id="2145707172" r:id="rId35"/>
    <p:sldId id="2145707148" r:id="rId36"/>
    <p:sldId id="2145707174" r:id="rId37"/>
    <p:sldId id="2145707149" r:id="rId38"/>
    <p:sldId id="2145707173" r:id="rId39"/>
    <p:sldId id="2145707150" r:id="rId40"/>
    <p:sldId id="2145707175" r:id="rId41"/>
    <p:sldId id="2145707151" r:id="rId42"/>
    <p:sldId id="2145707178" r:id="rId43"/>
    <p:sldId id="2145707152" r:id="rId44"/>
    <p:sldId id="2145707179" r:id="rId45"/>
    <p:sldId id="2145707154" r:id="rId46"/>
    <p:sldId id="2145707180" r:id="rId47"/>
    <p:sldId id="2145707155" r:id="rId48"/>
    <p:sldId id="2145707181" r:id="rId49"/>
    <p:sldId id="2145707169" r:id="rId50"/>
    <p:sldId id="2145707176" r:id="rId51"/>
    <p:sldId id="2145707177" r:id="rId52"/>
    <p:sldId id="765" r:id="rId53"/>
    <p:sldId id="764" r:id="rId54"/>
    <p:sldId id="2145707157"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E TENG" initials="BT" lastIdx="10" clrIdx="0">
    <p:extLst>
      <p:ext uri="{19B8F6BF-5375-455C-9EA6-DF929625EA0E}">
        <p15:presenceInfo xmlns:p15="http://schemas.microsoft.com/office/powerpoint/2012/main" userId="S::BeeTeng.Lim@aia.com::560fa745-4b55-4125-9100-485cbd9dd25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31145"/>
    <a:srgbClr val="333D47"/>
    <a:srgbClr val="1F78AD"/>
    <a:srgbClr val="CC0000"/>
    <a:srgbClr val="FF0066"/>
    <a:srgbClr val="FF33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1679" autoAdjust="0"/>
  </p:normalViewPr>
  <p:slideViewPr>
    <p:cSldViewPr snapToGrid="0">
      <p:cViewPr varScale="1">
        <p:scale>
          <a:sx n="57" d="100"/>
          <a:sy n="57" d="100"/>
        </p:scale>
        <p:origin x="1836"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tableStyles" Target="tableStyles.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42.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viewProps" Target="viewProp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commentAuthors" Target="commentAuthors.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1-09-22T23:18:43.801" idx="9">
    <p:pos x="3684" y="414"/>
    <p:text>Changed from "Married" to "life stage" as Nest Builder already get married and won't get "married" again</p:text>
    <p:extLst>
      <p:ext uri="{C676402C-5697-4E1C-873F-D02D1690AC5C}">
        <p15:threadingInfo xmlns:p15="http://schemas.microsoft.com/office/powerpoint/2012/main" timeZoneBias="-48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09-22T23:26:04.239" idx="10">
    <p:pos x="6778" y="674"/>
    <p:text>Joe, please validate the numbers</p:text>
    <p:extLst>
      <p:ext uri="{C676402C-5697-4E1C-873F-D02D1690AC5C}">
        <p15:threadingInfo xmlns:p15="http://schemas.microsoft.com/office/powerpoint/2012/main" timeZoneBias="-48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09-20T20:55:07.414" idx="4">
    <p:pos x="6159" y="1595"/>
    <p:text>This will create confusion with slide #7</p:text>
    <p:extLst>
      <p:ext uri="{C676402C-5697-4E1C-873F-D02D1690AC5C}">
        <p15:threadingInfo xmlns:p15="http://schemas.microsoft.com/office/powerpoint/2012/main" timeZoneBias="-48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21-09-20T20:44:55.789" idx="6">
    <p:pos x="10" y="10"/>
    <p:text>Please put in some wordings to explain the diagram</p:text>
    <p:extLst>
      <p:ext uri="{C676402C-5697-4E1C-873F-D02D1690AC5C}">
        <p15:threadingInfo xmlns:p15="http://schemas.microsoft.com/office/powerpoint/2012/main" timeZoneBias="-480"/>
      </p:ext>
    </p:extLst>
  </p:cm>
  <p:cm authorId="1" dt="2021-09-20T20:52:16.548" idx="7">
    <p:pos x="10" y="106"/>
    <p:text>Is the log identified based on respective flag repurchase rate?</p:text>
    <p:extLst>
      <p:ext uri="{C676402C-5697-4E1C-873F-D02D1690AC5C}">
        <p15:threadingInfo xmlns:p15="http://schemas.microsoft.com/office/powerpoint/2012/main" timeZoneBias="-480">
          <p15:parentCm authorId="1" idx="6"/>
        </p15:threadingInfo>
      </p:ext>
    </p:extLst>
  </p:cm>
  <p:cm authorId="1" dt="2021-09-20T20:54:05.437" idx="8">
    <p:pos x="10" y="202"/>
    <p:text>How to identify 1, 2, 3 for respective users for the same flags?</p:text>
    <p:extLst>
      <p:ext uri="{C676402C-5697-4E1C-873F-D02D1690AC5C}">
        <p15:threadingInfo xmlns:p15="http://schemas.microsoft.com/office/powerpoint/2012/main" timeZoneBias="-480">
          <p15:parentCm authorId="1" idx="6"/>
        </p15:threadingInfo>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 dt="2021-09-20T21:06:28.415" idx="5">
    <p:pos x="10" y="10"/>
    <p:text>Please check the slide format:
i) 2 AIA logo
ii) 2 AIA confidential...</p:text>
    <p:extLst>
      <p:ext uri="{C676402C-5697-4E1C-873F-D02D1690AC5C}">
        <p15:threadingInfo xmlns:p15="http://schemas.microsoft.com/office/powerpoint/2012/main" timeZoneBias="-48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1" dt="2021-09-20T21:06:28.415" idx="5">
    <p:pos x="10" y="10"/>
    <p:text>Please check the slide format:
i) 2 AIA logo
ii) 2 AIA confidential...</p:text>
    <p:extLst>
      <p:ext uri="{C676402C-5697-4E1C-873F-D02D1690AC5C}">
        <p15:threadingInfo xmlns:p15="http://schemas.microsoft.com/office/powerpoint/2012/main" timeZoneBias="-48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1" dt="2021-09-20T20:44:55.789" idx="1">
    <p:pos x="10" y="10"/>
    <p:text>Please put in some wordings to explain the diagram</p:text>
    <p:extLst>
      <p:ext uri="{C676402C-5697-4E1C-873F-D02D1690AC5C}">
        <p15:threadingInfo xmlns:p15="http://schemas.microsoft.com/office/powerpoint/2012/main" timeZoneBias="-480"/>
      </p:ext>
    </p:extLst>
  </p:cm>
  <p:cm authorId="1" dt="2021-09-20T20:52:16.548" idx="2">
    <p:pos x="10" y="106"/>
    <p:text>Is the log identified based on respective flag repurchase rate?</p:text>
    <p:extLst>
      <p:ext uri="{C676402C-5697-4E1C-873F-D02D1690AC5C}">
        <p15:threadingInfo xmlns:p15="http://schemas.microsoft.com/office/powerpoint/2012/main" timeZoneBias="-480">
          <p15:parentCm authorId="1" idx="1"/>
        </p15:threadingInfo>
      </p:ext>
    </p:extLst>
  </p:cm>
  <p:cm authorId="1" dt="2021-09-20T20:54:05.437" idx="3">
    <p:pos x="10" y="202"/>
    <p:text>How to identify 1, 2, 3 for respective users for the same flags?</p:text>
    <p:extLst>
      <p:ext uri="{C676402C-5697-4E1C-873F-D02D1690AC5C}">
        <p15:threadingInfo xmlns:p15="http://schemas.microsoft.com/office/powerpoint/2012/main" timeZoneBias="-480">
          <p15:parentCm authorId="1" idx="1"/>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29.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30.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9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MY"/>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ABA257-A7E2-4659-9133-D5C5D22DA0EA}" type="datetimeFigureOut">
              <a:rPr lang="en-MY" smtClean="0"/>
              <a:t>23/9/2021</a:t>
            </a:fld>
            <a:endParaRPr lang="en-MY"/>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MY"/>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MY"/>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59F239E-715E-48C8-B872-28D6AC31881C}" type="slidenum">
              <a:rPr lang="en-MY" smtClean="0"/>
              <a:t>‹#›</a:t>
            </a:fld>
            <a:endParaRPr lang="en-MY"/>
          </a:p>
        </p:txBody>
      </p:sp>
    </p:spTree>
    <p:extLst>
      <p:ext uri="{BB962C8B-B14F-4D97-AF65-F5344CB8AC3E}">
        <p14:creationId xmlns:p14="http://schemas.microsoft.com/office/powerpoint/2010/main" val="32873426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59F239E-715E-48C8-B872-28D6AC31881C}" type="slidenum">
              <a:rPr lang="en-MY" smtClean="0"/>
              <a:t>1</a:t>
            </a:fld>
            <a:endParaRPr lang="en-MY"/>
          </a:p>
        </p:txBody>
      </p:sp>
    </p:spTree>
    <p:extLst>
      <p:ext uri="{BB962C8B-B14F-4D97-AF65-F5344CB8AC3E}">
        <p14:creationId xmlns:p14="http://schemas.microsoft.com/office/powerpoint/2010/main" val="812633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HK"/>
          </a:p>
        </p:txBody>
      </p:sp>
      <p:sp>
        <p:nvSpPr>
          <p:cNvPr id="4" name="Slide Number Placeholder 3"/>
          <p:cNvSpPr>
            <a:spLocks noGrp="1"/>
          </p:cNvSpPr>
          <p:nvPr>
            <p:ph type="sldNum" sz="quarter" idx="5"/>
          </p:nvPr>
        </p:nvSpPr>
        <p:spPr/>
        <p:txBody>
          <a:bodyPr/>
          <a:lstStyle/>
          <a:p>
            <a:fld id="{E9D31B63-8EB3-45AC-97AF-86EA00A5E471}" type="slidenum">
              <a:rPr lang="en-MY" smtClean="0"/>
              <a:t>26</a:t>
            </a:fld>
            <a:endParaRPr lang="en-MY"/>
          </a:p>
        </p:txBody>
      </p:sp>
    </p:spTree>
    <p:extLst>
      <p:ext uri="{BB962C8B-B14F-4D97-AF65-F5344CB8AC3E}">
        <p14:creationId xmlns:p14="http://schemas.microsoft.com/office/powerpoint/2010/main" val="18110233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HK"/>
          </a:p>
        </p:txBody>
      </p:sp>
      <p:sp>
        <p:nvSpPr>
          <p:cNvPr id="4" name="Slide Number Placeholder 3"/>
          <p:cNvSpPr>
            <a:spLocks noGrp="1"/>
          </p:cNvSpPr>
          <p:nvPr>
            <p:ph type="sldNum" sz="quarter" idx="5"/>
          </p:nvPr>
        </p:nvSpPr>
        <p:spPr/>
        <p:txBody>
          <a:bodyPr/>
          <a:lstStyle/>
          <a:p>
            <a:fld id="{E9D31B63-8EB3-45AC-97AF-86EA00A5E471}" type="slidenum">
              <a:rPr lang="en-MY" smtClean="0"/>
              <a:t>27</a:t>
            </a:fld>
            <a:endParaRPr lang="en-MY"/>
          </a:p>
        </p:txBody>
      </p:sp>
    </p:spTree>
    <p:extLst>
      <p:ext uri="{BB962C8B-B14F-4D97-AF65-F5344CB8AC3E}">
        <p14:creationId xmlns:p14="http://schemas.microsoft.com/office/powerpoint/2010/main" val="18513043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HK"/>
          </a:p>
        </p:txBody>
      </p:sp>
      <p:sp>
        <p:nvSpPr>
          <p:cNvPr id="4" name="Slide Number Placeholder 3"/>
          <p:cNvSpPr>
            <a:spLocks noGrp="1"/>
          </p:cNvSpPr>
          <p:nvPr>
            <p:ph type="sldNum" sz="quarter" idx="5"/>
          </p:nvPr>
        </p:nvSpPr>
        <p:spPr/>
        <p:txBody>
          <a:bodyPr/>
          <a:lstStyle/>
          <a:p>
            <a:fld id="{E9D31B63-8EB3-45AC-97AF-86EA00A5E471}" type="slidenum">
              <a:rPr lang="en-MY" smtClean="0"/>
              <a:t>28</a:t>
            </a:fld>
            <a:endParaRPr lang="en-MY"/>
          </a:p>
        </p:txBody>
      </p:sp>
    </p:spTree>
    <p:extLst>
      <p:ext uri="{BB962C8B-B14F-4D97-AF65-F5344CB8AC3E}">
        <p14:creationId xmlns:p14="http://schemas.microsoft.com/office/powerpoint/2010/main" val="27795702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HK"/>
          </a:p>
        </p:txBody>
      </p:sp>
      <p:sp>
        <p:nvSpPr>
          <p:cNvPr id="4" name="Slide Number Placeholder 3"/>
          <p:cNvSpPr>
            <a:spLocks noGrp="1"/>
          </p:cNvSpPr>
          <p:nvPr>
            <p:ph type="sldNum" sz="quarter" idx="5"/>
          </p:nvPr>
        </p:nvSpPr>
        <p:spPr/>
        <p:txBody>
          <a:bodyPr/>
          <a:lstStyle/>
          <a:p>
            <a:fld id="{E9D31B63-8EB3-45AC-97AF-86EA00A5E471}" type="slidenum">
              <a:rPr lang="en-MY" smtClean="0"/>
              <a:t>29</a:t>
            </a:fld>
            <a:endParaRPr lang="en-MY"/>
          </a:p>
        </p:txBody>
      </p:sp>
    </p:spTree>
    <p:extLst>
      <p:ext uri="{BB962C8B-B14F-4D97-AF65-F5344CB8AC3E}">
        <p14:creationId xmlns:p14="http://schemas.microsoft.com/office/powerpoint/2010/main" val="39291305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HK"/>
          </a:p>
        </p:txBody>
      </p:sp>
      <p:sp>
        <p:nvSpPr>
          <p:cNvPr id="4" name="Slide Number Placeholder 3"/>
          <p:cNvSpPr>
            <a:spLocks noGrp="1"/>
          </p:cNvSpPr>
          <p:nvPr>
            <p:ph type="sldNum" sz="quarter" idx="5"/>
          </p:nvPr>
        </p:nvSpPr>
        <p:spPr/>
        <p:txBody>
          <a:bodyPr/>
          <a:lstStyle/>
          <a:p>
            <a:fld id="{E9D31B63-8EB3-45AC-97AF-86EA00A5E471}" type="slidenum">
              <a:rPr lang="en-MY" smtClean="0"/>
              <a:t>30</a:t>
            </a:fld>
            <a:endParaRPr lang="en-MY"/>
          </a:p>
        </p:txBody>
      </p:sp>
    </p:spTree>
    <p:extLst>
      <p:ext uri="{BB962C8B-B14F-4D97-AF65-F5344CB8AC3E}">
        <p14:creationId xmlns:p14="http://schemas.microsoft.com/office/powerpoint/2010/main" val="8720345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HK"/>
          </a:p>
        </p:txBody>
      </p:sp>
      <p:sp>
        <p:nvSpPr>
          <p:cNvPr id="4" name="Slide Number Placeholder 3"/>
          <p:cNvSpPr>
            <a:spLocks noGrp="1"/>
          </p:cNvSpPr>
          <p:nvPr>
            <p:ph type="sldNum" sz="quarter" idx="5"/>
          </p:nvPr>
        </p:nvSpPr>
        <p:spPr/>
        <p:txBody>
          <a:bodyPr/>
          <a:lstStyle/>
          <a:p>
            <a:fld id="{E9D31B63-8EB3-45AC-97AF-86EA00A5E471}" type="slidenum">
              <a:rPr lang="en-MY" smtClean="0"/>
              <a:t>31</a:t>
            </a:fld>
            <a:endParaRPr lang="en-MY"/>
          </a:p>
        </p:txBody>
      </p:sp>
    </p:spTree>
    <p:extLst>
      <p:ext uri="{BB962C8B-B14F-4D97-AF65-F5344CB8AC3E}">
        <p14:creationId xmlns:p14="http://schemas.microsoft.com/office/powerpoint/2010/main" val="15714448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HK"/>
          </a:p>
        </p:txBody>
      </p:sp>
      <p:sp>
        <p:nvSpPr>
          <p:cNvPr id="4" name="Slide Number Placeholder 3"/>
          <p:cNvSpPr>
            <a:spLocks noGrp="1"/>
          </p:cNvSpPr>
          <p:nvPr>
            <p:ph type="sldNum" sz="quarter" idx="5"/>
          </p:nvPr>
        </p:nvSpPr>
        <p:spPr/>
        <p:txBody>
          <a:bodyPr/>
          <a:lstStyle/>
          <a:p>
            <a:fld id="{E9D31B63-8EB3-45AC-97AF-86EA00A5E471}" type="slidenum">
              <a:rPr lang="en-MY" smtClean="0"/>
              <a:t>32</a:t>
            </a:fld>
            <a:endParaRPr lang="en-MY"/>
          </a:p>
        </p:txBody>
      </p:sp>
    </p:spTree>
    <p:extLst>
      <p:ext uri="{BB962C8B-B14F-4D97-AF65-F5344CB8AC3E}">
        <p14:creationId xmlns:p14="http://schemas.microsoft.com/office/powerpoint/2010/main" val="15722322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HK"/>
          </a:p>
        </p:txBody>
      </p:sp>
      <p:sp>
        <p:nvSpPr>
          <p:cNvPr id="4" name="Slide Number Placeholder 3"/>
          <p:cNvSpPr>
            <a:spLocks noGrp="1"/>
          </p:cNvSpPr>
          <p:nvPr>
            <p:ph type="sldNum" sz="quarter" idx="5"/>
          </p:nvPr>
        </p:nvSpPr>
        <p:spPr/>
        <p:txBody>
          <a:bodyPr/>
          <a:lstStyle/>
          <a:p>
            <a:fld id="{E9D31B63-8EB3-45AC-97AF-86EA00A5E471}" type="slidenum">
              <a:rPr lang="en-MY" smtClean="0"/>
              <a:t>33</a:t>
            </a:fld>
            <a:endParaRPr lang="en-MY"/>
          </a:p>
        </p:txBody>
      </p:sp>
    </p:spTree>
    <p:extLst>
      <p:ext uri="{BB962C8B-B14F-4D97-AF65-F5344CB8AC3E}">
        <p14:creationId xmlns:p14="http://schemas.microsoft.com/office/powerpoint/2010/main" val="37621814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HK"/>
          </a:p>
        </p:txBody>
      </p:sp>
      <p:sp>
        <p:nvSpPr>
          <p:cNvPr id="4" name="Slide Number Placeholder 3"/>
          <p:cNvSpPr>
            <a:spLocks noGrp="1"/>
          </p:cNvSpPr>
          <p:nvPr>
            <p:ph type="sldNum" sz="quarter" idx="5"/>
          </p:nvPr>
        </p:nvSpPr>
        <p:spPr/>
        <p:txBody>
          <a:bodyPr/>
          <a:lstStyle/>
          <a:p>
            <a:fld id="{E9D31B63-8EB3-45AC-97AF-86EA00A5E471}" type="slidenum">
              <a:rPr lang="en-MY" smtClean="0"/>
              <a:t>34</a:t>
            </a:fld>
            <a:endParaRPr lang="en-MY"/>
          </a:p>
        </p:txBody>
      </p:sp>
    </p:spTree>
    <p:extLst>
      <p:ext uri="{BB962C8B-B14F-4D97-AF65-F5344CB8AC3E}">
        <p14:creationId xmlns:p14="http://schemas.microsoft.com/office/powerpoint/2010/main" val="28756805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HK"/>
          </a:p>
        </p:txBody>
      </p:sp>
      <p:sp>
        <p:nvSpPr>
          <p:cNvPr id="4" name="Slide Number Placeholder 3"/>
          <p:cNvSpPr>
            <a:spLocks noGrp="1"/>
          </p:cNvSpPr>
          <p:nvPr>
            <p:ph type="sldNum" sz="quarter" idx="5"/>
          </p:nvPr>
        </p:nvSpPr>
        <p:spPr/>
        <p:txBody>
          <a:bodyPr/>
          <a:lstStyle/>
          <a:p>
            <a:fld id="{E9D31B63-8EB3-45AC-97AF-86EA00A5E471}" type="slidenum">
              <a:rPr lang="en-MY" smtClean="0"/>
              <a:t>35</a:t>
            </a:fld>
            <a:endParaRPr lang="en-MY"/>
          </a:p>
        </p:txBody>
      </p:sp>
    </p:spTree>
    <p:extLst>
      <p:ext uri="{BB962C8B-B14F-4D97-AF65-F5344CB8AC3E}">
        <p14:creationId xmlns:p14="http://schemas.microsoft.com/office/powerpoint/2010/main" val="1343714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g8641a476e9_0_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 name="Google Shape;135;g8641a476e9_0_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HK"/>
          </a:p>
        </p:txBody>
      </p:sp>
      <p:sp>
        <p:nvSpPr>
          <p:cNvPr id="4" name="Slide Number Placeholder 3"/>
          <p:cNvSpPr>
            <a:spLocks noGrp="1"/>
          </p:cNvSpPr>
          <p:nvPr>
            <p:ph type="sldNum" sz="quarter" idx="5"/>
          </p:nvPr>
        </p:nvSpPr>
        <p:spPr/>
        <p:txBody>
          <a:bodyPr/>
          <a:lstStyle/>
          <a:p>
            <a:fld id="{E9D31B63-8EB3-45AC-97AF-86EA00A5E471}" type="slidenum">
              <a:rPr lang="en-MY" smtClean="0"/>
              <a:t>36</a:t>
            </a:fld>
            <a:endParaRPr lang="en-MY"/>
          </a:p>
        </p:txBody>
      </p:sp>
    </p:spTree>
    <p:extLst>
      <p:ext uri="{BB962C8B-B14F-4D97-AF65-F5344CB8AC3E}">
        <p14:creationId xmlns:p14="http://schemas.microsoft.com/office/powerpoint/2010/main" val="25004651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HK"/>
          </a:p>
        </p:txBody>
      </p:sp>
      <p:sp>
        <p:nvSpPr>
          <p:cNvPr id="4" name="Slide Number Placeholder 3"/>
          <p:cNvSpPr>
            <a:spLocks noGrp="1"/>
          </p:cNvSpPr>
          <p:nvPr>
            <p:ph type="sldNum" sz="quarter" idx="5"/>
          </p:nvPr>
        </p:nvSpPr>
        <p:spPr/>
        <p:txBody>
          <a:bodyPr/>
          <a:lstStyle/>
          <a:p>
            <a:fld id="{E9D31B63-8EB3-45AC-97AF-86EA00A5E471}" type="slidenum">
              <a:rPr lang="en-MY" smtClean="0"/>
              <a:t>37</a:t>
            </a:fld>
            <a:endParaRPr lang="en-MY"/>
          </a:p>
        </p:txBody>
      </p:sp>
    </p:spTree>
    <p:extLst>
      <p:ext uri="{BB962C8B-B14F-4D97-AF65-F5344CB8AC3E}">
        <p14:creationId xmlns:p14="http://schemas.microsoft.com/office/powerpoint/2010/main" val="34668098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HK"/>
          </a:p>
        </p:txBody>
      </p:sp>
      <p:sp>
        <p:nvSpPr>
          <p:cNvPr id="4" name="Slide Number Placeholder 3"/>
          <p:cNvSpPr>
            <a:spLocks noGrp="1"/>
          </p:cNvSpPr>
          <p:nvPr>
            <p:ph type="sldNum" sz="quarter" idx="5"/>
          </p:nvPr>
        </p:nvSpPr>
        <p:spPr/>
        <p:txBody>
          <a:bodyPr/>
          <a:lstStyle/>
          <a:p>
            <a:fld id="{E9D31B63-8EB3-45AC-97AF-86EA00A5E471}" type="slidenum">
              <a:rPr lang="en-MY" smtClean="0"/>
              <a:t>38</a:t>
            </a:fld>
            <a:endParaRPr lang="en-MY"/>
          </a:p>
        </p:txBody>
      </p:sp>
    </p:spTree>
    <p:extLst>
      <p:ext uri="{BB962C8B-B14F-4D97-AF65-F5344CB8AC3E}">
        <p14:creationId xmlns:p14="http://schemas.microsoft.com/office/powerpoint/2010/main" val="7477088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HK"/>
          </a:p>
        </p:txBody>
      </p:sp>
      <p:sp>
        <p:nvSpPr>
          <p:cNvPr id="4" name="Slide Number Placeholder 3"/>
          <p:cNvSpPr>
            <a:spLocks noGrp="1"/>
          </p:cNvSpPr>
          <p:nvPr>
            <p:ph type="sldNum" sz="quarter" idx="5"/>
          </p:nvPr>
        </p:nvSpPr>
        <p:spPr/>
        <p:txBody>
          <a:bodyPr/>
          <a:lstStyle/>
          <a:p>
            <a:fld id="{E9D31B63-8EB3-45AC-97AF-86EA00A5E471}" type="slidenum">
              <a:rPr lang="en-MY" smtClean="0"/>
              <a:t>39</a:t>
            </a:fld>
            <a:endParaRPr lang="en-MY"/>
          </a:p>
        </p:txBody>
      </p:sp>
    </p:spTree>
    <p:extLst>
      <p:ext uri="{BB962C8B-B14F-4D97-AF65-F5344CB8AC3E}">
        <p14:creationId xmlns:p14="http://schemas.microsoft.com/office/powerpoint/2010/main" val="10014606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HK"/>
          </a:p>
        </p:txBody>
      </p:sp>
      <p:sp>
        <p:nvSpPr>
          <p:cNvPr id="4" name="Slide Number Placeholder 3"/>
          <p:cNvSpPr>
            <a:spLocks noGrp="1"/>
          </p:cNvSpPr>
          <p:nvPr>
            <p:ph type="sldNum" sz="quarter" idx="5"/>
          </p:nvPr>
        </p:nvSpPr>
        <p:spPr/>
        <p:txBody>
          <a:bodyPr/>
          <a:lstStyle/>
          <a:p>
            <a:fld id="{E9D31B63-8EB3-45AC-97AF-86EA00A5E471}" type="slidenum">
              <a:rPr lang="en-MY" smtClean="0"/>
              <a:t>40</a:t>
            </a:fld>
            <a:endParaRPr lang="en-MY"/>
          </a:p>
        </p:txBody>
      </p:sp>
    </p:spTree>
    <p:extLst>
      <p:ext uri="{BB962C8B-B14F-4D97-AF65-F5344CB8AC3E}">
        <p14:creationId xmlns:p14="http://schemas.microsoft.com/office/powerpoint/2010/main" val="35564620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59F239E-715E-48C8-B872-28D6AC31881C}" type="slidenum">
              <a:rPr lang="en-MY" smtClean="0"/>
              <a:t>3</a:t>
            </a:fld>
            <a:endParaRPr lang="en-MY"/>
          </a:p>
        </p:txBody>
      </p:sp>
    </p:spTree>
    <p:extLst>
      <p:ext uri="{BB962C8B-B14F-4D97-AF65-F5344CB8AC3E}">
        <p14:creationId xmlns:p14="http://schemas.microsoft.com/office/powerpoint/2010/main" val="8751927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59F239E-715E-48C8-B872-28D6AC31881C}" type="slidenum">
              <a:rPr lang="en-MY" smtClean="0"/>
              <a:t>14</a:t>
            </a:fld>
            <a:endParaRPr lang="en-MY"/>
          </a:p>
        </p:txBody>
      </p:sp>
    </p:spTree>
    <p:extLst>
      <p:ext uri="{BB962C8B-B14F-4D97-AF65-F5344CB8AC3E}">
        <p14:creationId xmlns:p14="http://schemas.microsoft.com/office/powerpoint/2010/main" val="35212041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HK"/>
          </a:p>
        </p:txBody>
      </p:sp>
      <p:sp>
        <p:nvSpPr>
          <p:cNvPr id="4" name="Slide Number Placeholder 3"/>
          <p:cNvSpPr>
            <a:spLocks noGrp="1"/>
          </p:cNvSpPr>
          <p:nvPr>
            <p:ph type="sldNum" sz="quarter" idx="5"/>
          </p:nvPr>
        </p:nvSpPr>
        <p:spPr/>
        <p:txBody>
          <a:bodyPr/>
          <a:lstStyle/>
          <a:p>
            <a:fld id="{E9D31B63-8EB3-45AC-97AF-86EA00A5E471}" type="slidenum">
              <a:rPr lang="en-MY" smtClean="0"/>
              <a:t>21</a:t>
            </a:fld>
            <a:endParaRPr lang="en-MY"/>
          </a:p>
        </p:txBody>
      </p:sp>
    </p:spTree>
    <p:extLst>
      <p:ext uri="{BB962C8B-B14F-4D97-AF65-F5344CB8AC3E}">
        <p14:creationId xmlns:p14="http://schemas.microsoft.com/office/powerpoint/2010/main" val="13055888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HK"/>
          </a:p>
        </p:txBody>
      </p:sp>
      <p:sp>
        <p:nvSpPr>
          <p:cNvPr id="4" name="Slide Number Placeholder 3"/>
          <p:cNvSpPr>
            <a:spLocks noGrp="1"/>
          </p:cNvSpPr>
          <p:nvPr>
            <p:ph type="sldNum" sz="quarter" idx="5"/>
          </p:nvPr>
        </p:nvSpPr>
        <p:spPr/>
        <p:txBody>
          <a:bodyPr/>
          <a:lstStyle/>
          <a:p>
            <a:fld id="{E9D31B63-8EB3-45AC-97AF-86EA00A5E471}" type="slidenum">
              <a:rPr lang="en-MY" smtClean="0"/>
              <a:t>22</a:t>
            </a:fld>
            <a:endParaRPr lang="en-MY"/>
          </a:p>
        </p:txBody>
      </p:sp>
    </p:spTree>
    <p:extLst>
      <p:ext uri="{BB962C8B-B14F-4D97-AF65-F5344CB8AC3E}">
        <p14:creationId xmlns:p14="http://schemas.microsoft.com/office/powerpoint/2010/main" val="39020391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HK"/>
          </a:p>
        </p:txBody>
      </p:sp>
      <p:sp>
        <p:nvSpPr>
          <p:cNvPr id="4" name="Slide Number Placeholder 3"/>
          <p:cNvSpPr>
            <a:spLocks noGrp="1"/>
          </p:cNvSpPr>
          <p:nvPr>
            <p:ph type="sldNum" sz="quarter" idx="5"/>
          </p:nvPr>
        </p:nvSpPr>
        <p:spPr/>
        <p:txBody>
          <a:bodyPr/>
          <a:lstStyle/>
          <a:p>
            <a:fld id="{E9D31B63-8EB3-45AC-97AF-86EA00A5E471}" type="slidenum">
              <a:rPr lang="en-MY" smtClean="0"/>
              <a:t>23</a:t>
            </a:fld>
            <a:endParaRPr lang="en-MY"/>
          </a:p>
        </p:txBody>
      </p:sp>
    </p:spTree>
    <p:extLst>
      <p:ext uri="{BB962C8B-B14F-4D97-AF65-F5344CB8AC3E}">
        <p14:creationId xmlns:p14="http://schemas.microsoft.com/office/powerpoint/2010/main" val="24878233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HK"/>
          </a:p>
        </p:txBody>
      </p:sp>
      <p:sp>
        <p:nvSpPr>
          <p:cNvPr id="4" name="Slide Number Placeholder 3"/>
          <p:cNvSpPr>
            <a:spLocks noGrp="1"/>
          </p:cNvSpPr>
          <p:nvPr>
            <p:ph type="sldNum" sz="quarter" idx="5"/>
          </p:nvPr>
        </p:nvSpPr>
        <p:spPr/>
        <p:txBody>
          <a:bodyPr/>
          <a:lstStyle/>
          <a:p>
            <a:fld id="{E9D31B63-8EB3-45AC-97AF-86EA00A5E471}" type="slidenum">
              <a:rPr lang="en-MY" smtClean="0"/>
              <a:t>24</a:t>
            </a:fld>
            <a:endParaRPr lang="en-MY"/>
          </a:p>
        </p:txBody>
      </p:sp>
    </p:spTree>
    <p:extLst>
      <p:ext uri="{BB962C8B-B14F-4D97-AF65-F5344CB8AC3E}">
        <p14:creationId xmlns:p14="http://schemas.microsoft.com/office/powerpoint/2010/main" val="32567393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HK"/>
          </a:p>
        </p:txBody>
      </p:sp>
      <p:sp>
        <p:nvSpPr>
          <p:cNvPr id="4" name="Slide Number Placeholder 3"/>
          <p:cNvSpPr>
            <a:spLocks noGrp="1"/>
          </p:cNvSpPr>
          <p:nvPr>
            <p:ph type="sldNum" sz="quarter" idx="5"/>
          </p:nvPr>
        </p:nvSpPr>
        <p:spPr/>
        <p:txBody>
          <a:bodyPr/>
          <a:lstStyle/>
          <a:p>
            <a:fld id="{E9D31B63-8EB3-45AC-97AF-86EA00A5E471}" type="slidenum">
              <a:rPr lang="en-MY" smtClean="0"/>
              <a:t>25</a:t>
            </a:fld>
            <a:endParaRPr lang="en-MY"/>
          </a:p>
        </p:txBody>
      </p:sp>
    </p:spTree>
    <p:extLst>
      <p:ext uri="{BB962C8B-B14F-4D97-AF65-F5344CB8AC3E}">
        <p14:creationId xmlns:p14="http://schemas.microsoft.com/office/powerpoint/2010/main" val="27120719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1.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79.jpeg"/><Relationship Id="rId3" Type="http://schemas.openxmlformats.org/officeDocument/2006/relationships/tags" Target="../tags/tag33.xml"/><Relationship Id="rId7" Type="http://schemas.openxmlformats.org/officeDocument/2006/relationships/image" Target="../media/image77.emf"/><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7.xml"/><Relationship Id="rId4" Type="http://schemas.openxmlformats.org/officeDocument/2006/relationships/tags" Target="../tags/tag3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77.emf"/><Relationship Id="rId3" Type="http://schemas.openxmlformats.org/officeDocument/2006/relationships/tags" Target="../tags/tag36.xml"/><Relationship Id="rId7" Type="http://schemas.openxmlformats.org/officeDocument/2006/relationships/oleObject" Target="../embeddings/oleObject12.bin"/><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slideMaster" Target="../slideMasters/slideMaster7.xml"/><Relationship Id="rId5" Type="http://schemas.openxmlformats.org/officeDocument/2006/relationships/tags" Target="../tags/tag38.xml"/><Relationship Id="rId10" Type="http://schemas.openxmlformats.org/officeDocument/2006/relationships/image" Target="../media/image79.jpeg"/><Relationship Id="rId4" Type="http://schemas.openxmlformats.org/officeDocument/2006/relationships/tags" Target="../tags/tag37.xml"/><Relationship Id="rId9" Type="http://schemas.openxmlformats.org/officeDocument/2006/relationships/image" Target="../media/image78.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7.jpe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xml"/><Relationship Id="rId1" Type="http://schemas.openxmlformats.org/officeDocument/2006/relationships/vmlDrawing" Target="../drawings/vmlDrawing13.vml"/><Relationship Id="rId6" Type="http://schemas.openxmlformats.org/officeDocument/2006/relationships/image" Target="../media/image80.png"/><Relationship Id="rId5" Type="http://schemas.openxmlformats.org/officeDocument/2006/relationships/image" Target="../media/image82.emf"/><Relationship Id="rId4" Type="http://schemas.openxmlformats.org/officeDocument/2006/relationships/oleObject" Target="../embeddings/oleObject13.bin"/></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0.xml"/><Relationship Id="rId1" Type="http://schemas.openxmlformats.org/officeDocument/2006/relationships/vmlDrawing" Target="../drawings/vmlDrawing14.vml"/><Relationship Id="rId6" Type="http://schemas.openxmlformats.org/officeDocument/2006/relationships/image" Target="../media/image84.png"/><Relationship Id="rId5" Type="http://schemas.openxmlformats.org/officeDocument/2006/relationships/image" Target="../media/image77.emf"/><Relationship Id="rId4" Type="http://schemas.openxmlformats.org/officeDocument/2006/relationships/oleObject" Target="../embeddings/oleObject14.bin"/></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79.jpeg"/><Relationship Id="rId3" Type="http://schemas.openxmlformats.org/officeDocument/2006/relationships/tags" Target="../tags/tag42.xml"/><Relationship Id="rId7" Type="http://schemas.openxmlformats.org/officeDocument/2006/relationships/image" Target="../media/image77.emf"/><Relationship Id="rId2" Type="http://schemas.openxmlformats.org/officeDocument/2006/relationships/tags" Target="../tags/tag41.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7.xml"/><Relationship Id="rId4" Type="http://schemas.openxmlformats.org/officeDocument/2006/relationships/tags" Target="../tags/tag4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16.vml"/><Relationship Id="rId6" Type="http://schemas.openxmlformats.org/officeDocument/2006/relationships/image" Target="../media/image76.emf"/><Relationship Id="rId5" Type="http://schemas.openxmlformats.org/officeDocument/2006/relationships/oleObject" Target="../embeddings/oleObject16.bin"/><Relationship Id="rId4"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6.xml"/><Relationship Id="rId1" Type="http://schemas.openxmlformats.org/officeDocument/2006/relationships/vmlDrawing" Target="../drawings/vmlDrawing17.vml"/><Relationship Id="rId5" Type="http://schemas.openxmlformats.org/officeDocument/2006/relationships/image" Target="../media/image76.emf"/><Relationship Id="rId4" Type="http://schemas.openxmlformats.org/officeDocument/2006/relationships/oleObject" Target="../embeddings/oleObject1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7.xml"/><Relationship Id="rId1" Type="http://schemas.openxmlformats.org/officeDocument/2006/relationships/vmlDrawing" Target="../drawings/vmlDrawing18.vml"/><Relationship Id="rId5" Type="http://schemas.openxmlformats.org/officeDocument/2006/relationships/image" Target="../media/image76.emf"/><Relationship Id="rId4" Type="http://schemas.openxmlformats.org/officeDocument/2006/relationships/oleObject" Target="../embeddings/oleObject1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8.xml"/><Relationship Id="rId1" Type="http://schemas.openxmlformats.org/officeDocument/2006/relationships/vmlDrawing" Target="../drawings/vmlDrawing19.vml"/><Relationship Id="rId6" Type="http://schemas.openxmlformats.org/officeDocument/2006/relationships/image" Target="../media/image78.png"/><Relationship Id="rId5" Type="http://schemas.openxmlformats.org/officeDocument/2006/relationships/image" Target="../media/image76.emf"/><Relationship Id="rId4" Type="http://schemas.openxmlformats.org/officeDocument/2006/relationships/oleObject" Target="../embeddings/oleObject19.bin"/></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0.vml"/><Relationship Id="rId6" Type="http://schemas.openxmlformats.org/officeDocument/2006/relationships/image" Target="../media/image76.emf"/><Relationship Id="rId5" Type="http://schemas.openxmlformats.org/officeDocument/2006/relationships/oleObject" Target="../embeddings/oleObject20.bin"/><Relationship Id="rId4"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1.xml"/><Relationship Id="rId1" Type="http://schemas.openxmlformats.org/officeDocument/2006/relationships/vmlDrawing" Target="../drawings/vmlDrawing21.vml"/><Relationship Id="rId5" Type="http://schemas.openxmlformats.org/officeDocument/2006/relationships/image" Target="../media/image76.emf"/><Relationship Id="rId4" Type="http://schemas.openxmlformats.org/officeDocument/2006/relationships/oleObject" Target="../embeddings/oleObject2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2.xml"/><Relationship Id="rId1" Type="http://schemas.openxmlformats.org/officeDocument/2006/relationships/vmlDrawing" Target="../drawings/vmlDrawing22.vml"/><Relationship Id="rId5" Type="http://schemas.openxmlformats.org/officeDocument/2006/relationships/image" Target="../media/image76.emf"/><Relationship Id="rId4" Type="http://schemas.openxmlformats.org/officeDocument/2006/relationships/oleObject" Target="../embeddings/oleObject2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3.xml"/><Relationship Id="rId1" Type="http://schemas.openxmlformats.org/officeDocument/2006/relationships/vmlDrawing" Target="../drawings/vmlDrawing23.vml"/><Relationship Id="rId6" Type="http://schemas.openxmlformats.org/officeDocument/2006/relationships/image" Target="../media/image78.png"/><Relationship Id="rId5" Type="http://schemas.openxmlformats.org/officeDocument/2006/relationships/image" Target="../media/image76.emf"/><Relationship Id="rId4" Type="http://schemas.openxmlformats.org/officeDocument/2006/relationships/oleObject" Target="../embeddings/oleObject2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4.xml"/><Relationship Id="rId1" Type="http://schemas.openxmlformats.org/officeDocument/2006/relationships/vmlDrawing" Target="../drawings/vmlDrawing24.vml"/><Relationship Id="rId6" Type="http://schemas.openxmlformats.org/officeDocument/2006/relationships/image" Target="../media/image80.png"/><Relationship Id="rId5" Type="http://schemas.openxmlformats.org/officeDocument/2006/relationships/image" Target="../media/image76.emf"/><Relationship Id="rId4" Type="http://schemas.openxmlformats.org/officeDocument/2006/relationships/oleObject" Target="../embeddings/oleObject2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5.xml"/><Relationship Id="rId1" Type="http://schemas.openxmlformats.org/officeDocument/2006/relationships/vmlDrawing" Target="../drawings/vmlDrawing25.vml"/><Relationship Id="rId5" Type="http://schemas.openxmlformats.org/officeDocument/2006/relationships/image" Target="../media/image85.emf"/><Relationship Id="rId4" Type="http://schemas.openxmlformats.org/officeDocument/2006/relationships/oleObject" Target="../embeddings/oleObject25.bin"/></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77.emf"/><Relationship Id="rId3" Type="http://schemas.openxmlformats.org/officeDocument/2006/relationships/tags" Target="../tags/tag58.xml"/><Relationship Id="rId7" Type="http://schemas.openxmlformats.org/officeDocument/2006/relationships/oleObject" Target="../embeddings/oleObject26.bin"/><Relationship Id="rId2" Type="http://schemas.openxmlformats.org/officeDocument/2006/relationships/tags" Target="../tags/tag57.xml"/><Relationship Id="rId1" Type="http://schemas.openxmlformats.org/officeDocument/2006/relationships/vmlDrawing" Target="../drawings/vmlDrawing27.vml"/><Relationship Id="rId6" Type="http://schemas.openxmlformats.org/officeDocument/2006/relationships/slideMaster" Target="../slideMasters/slideMaster8.xml"/><Relationship Id="rId5" Type="http://schemas.openxmlformats.org/officeDocument/2006/relationships/tags" Target="../tags/tag60.xml"/><Relationship Id="rId10" Type="http://schemas.openxmlformats.org/officeDocument/2006/relationships/image" Target="../media/image79.jpeg"/><Relationship Id="rId4" Type="http://schemas.openxmlformats.org/officeDocument/2006/relationships/tags" Target="../tags/tag59.xml"/><Relationship Id="rId9" Type="http://schemas.openxmlformats.org/officeDocument/2006/relationships/image" Target="../media/image78.pn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1.xml"/><Relationship Id="rId1" Type="http://schemas.openxmlformats.org/officeDocument/2006/relationships/vmlDrawing" Target="../drawings/vmlDrawing28.vml"/><Relationship Id="rId6" Type="http://schemas.openxmlformats.org/officeDocument/2006/relationships/image" Target="../media/image83.png"/><Relationship Id="rId5" Type="http://schemas.openxmlformats.org/officeDocument/2006/relationships/image" Target="../media/image82.emf"/><Relationship Id="rId4" Type="http://schemas.openxmlformats.org/officeDocument/2006/relationships/oleObject" Target="../embeddings/oleObject27.bin"/></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3.jpeg"/></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2.xml"/><Relationship Id="rId1" Type="http://schemas.openxmlformats.org/officeDocument/2006/relationships/vmlDrawing" Target="../drawings/vmlDrawing29.vml"/><Relationship Id="rId6" Type="http://schemas.openxmlformats.org/officeDocument/2006/relationships/image" Target="../media/image84.png"/><Relationship Id="rId5" Type="http://schemas.openxmlformats.org/officeDocument/2006/relationships/image" Target="../media/image82.emf"/><Relationship Id="rId4" Type="http://schemas.openxmlformats.org/officeDocument/2006/relationships/oleObject" Target="../embeddings/oleObject28.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8" Type="http://schemas.openxmlformats.org/officeDocument/2006/relationships/image" Target="../media/image79.jpeg"/><Relationship Id="rId3" Type="http://schemas.openxmlformats.org/officeDocument/2006/relationships/tags" Target="../tags/tag64.xml"/><Relationship Id="rId7" Type="http://schemas.openxmlformats.org/officeDocument/2006/relationships/image" Target="../media/image77.emf"/><Relationship Id="rId2" Type="http://schemas.openxmlformats.org/officeDocument/2006/relationships/tags" Target="../tags/tag63.xml"/><Relationship Id="rId1" Type="http://schemas.openxmlformats.org/officeDocument/2006/relationships/vmlDrawing" Target="../drawings/vmlDrawing30.vml"/><Relationship Id="rId6" Type="http://schemas.openxmlformats.org/officeDocument/2006/relationships/oleObject" Target="../embeddings/oleObject29.bin"/><Relationship Id="rId5" Type="http://schemas.openxmlformats.org/officeDocument/2006/relationships/slideMaster" Target="../slideMasters/slideMaster8.xml"/><Relationship Id="rId4" Type="http://schemas.openxmlformats.org/officeDocument/2006/relationships/tags" Target="../tags/tag6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77.emf"/><Relationship Id="rId3" Type="http://schemas.openxmlformats.org/officeDocument/2006/relationships/tags" Target="../tags/tag67.xml"/><Relationship Id="rId7" Type="http://schemas.openxmlformats.org/officeDocument/2006/relationships/oleObject" Target="../embeddings/oleObject30.bin"/><Relationship Id="rId2" Type="http://schemas.openxmlformats.org/officeDocument/2006/relationships/tags" Target="../tags/tag66.xml"/><Relationship Id="rId1" Type="http://schemas.openxmlformats.org/officeDocument/2006/relationships/vmlDrawing" Target="../drawings/vmlDrawing31.vml"/><Relationship Id="rId6" Type="http://schemas.openxmlformats.org/officeDocument/2006/relationships/slideMaster" Target="../slideMasters/slideMaster8.xml"/><Relationship Id="rId5" Type="http://schemas.openxmlformats.org/officeDocument/2006/relationships/tags" Target="../tags/tag69.xml"/><Relationship Id="rId10" Type="http://schemas.openxmlformats.org/officeDocument/2006/relationships/image" Target="../media/image79.jpeg"/><Relationship Id="rId4" Type="http://schemas.openxmlformats.org/officeDocument/2006/relationships/tags" Target="../tags/tag68.xml"/><Relationship Id="rId9" Type="http://schemas.openxmlformats.org/officeDocument/2006/relationships/image" Target="../media/image78.png"/></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32.vml"/><Relationship Id="rId6" Type="http://schemas.openxmlformats.org/officeDocument/2006/relationships/image" Target="../media/image80.png"/><Relationship Id="rId5" Type="http://schemas.openxmlformats.org/officeDocument/2006/relationships/image" Target="../media/image82.emf"/><Relationship Id="rId4" Type="http://schemas.openxmlformats.org/officeDocument/2006/relationships/oleObject" Target="../embeddings/oleObject31.bin"/></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33.vml"/><Relationship Id="rId6" Type="http://schemas.openxmlformats.org/officeDocument/2006/relationships/image" Target="../media/image84.png"/><Relationship Id="rId5" Type="http://schemas.openxmlformats.org/officeDocument/2006/relationships/image" Target="../media/image77.emf"/><Relationship Id="rId4" Type="http://schemas.openxmlformats.org/officeDocument/2006/relationships/oleObject" Target="../embeddings/oleObject32.bin"/></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1.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8" Type="http://schemas.openxmlformats.org/officeDocument/2006/relationships/image" Target="../media/image79.jpeg"/><Relationship Id="rId3" Type="http://schemas.openxmlformats.org/officeDocument/2006/relationships/tags" Target="../tags/tag73.xml"/><Relationship Id="rId7" Type="http://schemas.openxmlformats.org/officeDocument/2006/relationships/image" Target="../media/image77.emf"/><Relationship Id="rId2" Type="http://schemas.openxmlformats.org/officeDocument/2006/relationships/tags" Target="../tags/tag72.xml"/><Relationship Id="rId1" Type="http://schemas.openxmlformats.org/officeDocument/2006/relationships/vmlDrawing" Target="../drawings/vmlDrawing34.vml"/><Relationship Id="rId6" Type="http://schemas.openxmlformats.org/officeDocument/2006/relationships/oleObject" Target="../embeddings/oleObject33.bin"/><Relationship Id="rId5" Type="http://schemas.openxmlformats.org/officeDocument/2006/relationships/slideMaster" Target="../slideMasters/slideMaster8.xml"/><Relationship Id="rId4" Type="http://schemas.openxmlformats.org/officeDocument/2006/relationships/tags" Target="../tags/tag7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35.vml"/><Relationship Id="rId6" Type="http://schemas.openxmlformats.org/officeDocument/2006/relationships/image" Target="../media/image76.emf"/><Relationship Id="rId5" Type="http://schemas.openxmlformats.org/officeDocument/2006/relationships/oleObject" Target="../embeddings/oleObject16.bin"/><Relationship Id="rId4"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7.xml"/><Relationship Id="rId1" Type="http://schemas.openxmlformats.org/officeDocument/2006/relationships/vmlDrawing" Target="../drawings/vmlDrawing36.vml"/><Relationship Id="rId5" Type="http://schemas.openxmlformats.org/officeDocument/2006/relationships/image" Target="../media/image76.emf"/><Relationship Id="rId4" Type="http://schemas.openxmlformats.org/officeDocument/2006/relationships/oleObject" Target="../embeddings/oleObject17.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8.xml"/><Relationship Id="rId1" Type="http://schemas.openxmlformats.org/officeDocument/2006/relationships/vmlDrawing" Target="../drawings/vmlDrawing37.vml"/><Relationship Id="rId5" Type="http://schemas.openxmlformats.org/officeDocument/2006/relationships/image" Target="../media/image76.emf"/><Relationship Id="rId4" Type="http://schemas.openxmlformats.org/officeDocument/2006/relationships/oleObject" Target="../embeddings/oleObject1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9.xml"/><Relationship Id="rId1" Type="http://schemas.openxmlformats.org/officeDocument/2006/relationships/vmlDrawing" Target="../drawings/vmlDrawing38.vml"/><Relationship Id="rId6" Type="http://schemas.openxmlformats.org/officeDocument/2006/relationships/image" Target="../media/image78.png"/><Relationship Id="rId5" Type="http://schemas.openxmlformats.org/officeDocument/2006/relationships/image" Target="../media/image76.emf"/><Relationship Id="rId4" Type="http://schemas.openxmlformats.org/officeDocument/2006/relationships/oleObject" Target="../embeddings/oleObject34.bin"/></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39.vml"/><Relationship Id="rId6" Type="http://schemas.openxmlformats.org/officeDocument/2006/relationships/image" Target="../media/image76.emf"/><Relationship Id="rId5" Type="http://schemas.openxmlformats.org/officeDocument/2006/relationships/oleObject" Target="../embeddings/oleObject20.bin"/><Relationship Id="rId4"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2.xml"/><Relationship Id="rId1" Type="http://schemas.openxmlformats.org/officeDocument/2006/relationships/vmlDrawing" Target="../drawings/vmlDrawing40.vml"/><Relationship Id="rId5" Type="http://schemas.openxmlformats.org/officeDocument/2006/relationships/image" Target="../media/image76.emf"/><Relationship Id="rId4" Type="http://schemas.openxmlformats.org/officeDocument/2006/relationships/oleObject" Target="../embeddings/oleObject21.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3.xml"/><Relationship Id="rId1" Type="http://schemas.openxmlformats.org/officeDocument/2006/relationships/vmlDrawing" Target="../drawings/vmlDrawing41.vml"/><Relationship Id="rId5" Type="http://schemas.openxmlformats.org/officeDocument/2006/relationships/image" Target="../media/image76.emf"/><Relationship Id="rId4" Type="http://schemas.openxmlformats.org/officeDocument/2006/relationships/oleObject" Target="../embeddings/oleObject22.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4.xml"/><Relationship Id="rId1" Type="http://schemas.openxmlformats.org/officeDocument/2006/relationships/vmlDrawing" Target="../drawings/vmlDrawing42.vml"/><Relationship Id="rId6" Type="http://schemas.openxmlformats.org/officeDocument/2006/relationships/image" Target="../media/image78.png"/><Relationship Id="rId5" Type="http://schemas.openxmlformats.org/officeDocument/2006/relationships/image" Target="../media/image76.emf"/><Relationship Id="rId4" Type="http://schemas.openxmlformats.org/officeDocument/2006/relationships/oleObject" Target="../embeddings/oleObject35.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5.xml"/><Relationship Id="rId1" Type="http://schemas.openxmlformats.org/officeDocument/2006/relationships/vmlDrawing" Target="../drawings/vmlDrawing43.vml"/><Relationship Id="rId6" Type="http://schemas.openxmlformats.org/officeDocument/2006/relationships/image" Target="../media/image80.png"/><Relationship Id="rId5" Type="http://schemas.openxmlformats.org/officeDocument/2006/relationships/image" Target="../media/image76.emf"/><Relationship Id="rId4" Type="http://schemas.openxmlformats.org/officeDocument/2006/relationships/oleObject" Target="../embeddings/oleObject36.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6.xml"/><Relationship Id="rId1" Type="http://schemas.openxmlformats.org/officeDocument/2006/relationships/vmlDrawing" Target="../drawings/vmlDrawing44.vml"/><Relationship Id="rId5" Type="http://schemas.openxmlformats.org/officeDocument/2006/relationships/image" Target="../media/image85.emf"/><Relationship Id="rId4" Type="http://schemas.openxmlformats.org/officeDocument/2006/relationships/oleObject" Target="../embeddings/oleObject25.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71.png"/><Relationship Id="rId2" Type="http://schemas.openxmlformats.org/officeDocument/2006/relationships/tags" Target="../tags/tag103.xml"/><Relationship Id="rId1" Type="http://schemas.openxmlformats.org/officeDocument/2006/relationships/vmlDrawing" Target="../drawings/vmlDrawing46.vml"/><Relationship Id="rId6" Type="http://schemas.openxmlformats.org/officeDocument/2006/relationships/image" Target="../media/image70.jpeg"/><Relationship Id="rId5" Type="http://schemas.openxmlformats.org/officeDocument/2006/relationships/image" Target="../media/image69.emf"/><Relationship Id="rId4" Type="http://schemas.openxmlformats.org/officeDocument/2006/relationships/oleObject" Target="../embeddings/oleObject38.bin"/></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2.xml"/><Relationship Id="rId4" Type="http://schemas.openxmlformats.org/officeDocument/2006/relationships/image" Target="../media/image48.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2.xml"/><Relationship Id="rId4" Type="http://schemas.openxmlformats.org/officeDocument/2006/relationships/image" Target="../media/image49.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6.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Master" Target="../slideMasters/slideMaster4.xml"/><Relationship Id="rId4" Type="http://schemas.openxmlformats.org/officeDocument/2006/relationships/image" Target="../media/image61.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Master" Target="../slideMasters/slideMaster4.xml"/><Relationship Id="rId4" Type="http://schemas.openxmlformats.org/officeDocument/2006/relationships/image" Target="../media/image62.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6.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Master" Target="../slideMasters/slideMaster5.xml"/><Relationship Id="rId4" Type="http://schemas.openxmlformats.org/officeDocument/2006/relationships/image" Target="../media/image62.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7.jpe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71.png"/><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70.jpeg"/><Relationship Id="rId5" Type="http://schemas.openxmlformats.org/officeDocument/2006/relationships/image" Target="../media/image69.emf"/><Relationship Id="rId4" Type="http://schemas.openxmlformats.org/officeDocument/2006/relationships/oleObject" Target="../embeddings/oleObject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3.vml"/><Relationship Id="rId5" Type="http://schemas.openxmlformats.org/officeDocument/2006/relationships/image" Target="../media/image72.emf"/><Relationship Id="rId4" Type="http://schemas.openxmlformats.org/officeDocument/2006/relationships/oleObject" Target="../embeddings/oleObject3.bin"/></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74.png"/><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image" Target="../media/image73.emf"/><Relationship Id="rId5" Type="http://schemas.openxmlformats.org/officeDocument/2006/relationships/oleObject" Target="../embeddings/oleObject4.bin"/><Relationship Id="rId4"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75.png"/><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image" Target="../media/image73.emf"/><Relationship Id="rId5" Type="http://schemas.openxmlformats.org/officeDocument/2006/relationships/oleObject" Target="../embeddings/oleObject5.bin"/><Relationship Id="rId4"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image" Target="../media/image73.emf"/><Relationship Id="rId5" Type="http://schemas.openxmlformats.org/officeDocument/2006/relationships/oleObject" Target="../embeddings/oleObject6.bin"/><Relationship Id="rId4"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77.emf"/><Relationship Id="rId3" Type="http://schemas.openxmlformats.org/officeDocument/2006/relationships/tags" Target="../tags/tag27.xml"/><Relationship Id="rId7" Type="http://schemas.openxmlformats.org/officeDocument/2006/relationships/oleObject" Target="../embeddings/oleObject8.bin"/><Relationship Id="rId2" Type="http://schemas.openxmlformats.org/officeDocument/2006/relationships/tags" Target="../tags/tag26.xml"/><Relationship Id="rId1" Type="http://schemas.openxmlformats.org/officeDocument/2006/relationships/vmlDrawing" Target="../drawings/vmlDrawing8.vml"/><Relationship Id="rId6" Type="http://schemas.openxmlformats.org/officeDocument/2006/relationships/slideMaster" Target="../slideMasters/slideMaster7.xml"/><Relationship Id="rId5" Type="http://schemas.openxmlformats.org/officeDocument/2006/relationships/tags" Target="../tags/tag29.xml"/><Relationship Id="rId10" Type="http://schemas.openxmlformats.org/officeDocument/2006/relationships/image" Target="../media/image79.jpeg"/><Relationship Id="rId4" Type="http://schemas.openxmlformats.org/officeDocument/2006/relationships/tags" Target="../tags/tag28.xml"/><Relationship Id="rId9" Type="http://schemas.openxmlformats.org/officeDocument/2006/relationships/image" Target="../media/image78.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0.jpe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image" Target="../media/image83.png"/><Relationship Id="rId5" Type="http://schemas.openxmlformats.org/officeDocument/2006/relationships/image" Target="../media/image82.emf"/><Relationship Id="rId4" Type="http://schemas.openxmlformats.org/officeDocument/2006/relationships/oleObject" Target="../embeddings/oleObject9.bin"/></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xml"/><Relationship Id="rId1" Type="http://schemas.openxmlformats.org/officeDocument/2006/relationships/vmlDrawing" Target="../drawings/vmlDrawing10.vml"/><Relationship Id="rId6" Type="http://schemas.openxmlformats.org/officeDocument/2006/relationships/image" Target="../media/image84.png"/><Relationship Id="rId5" Type="http://schemas.openxmlformats.org/officeDocument/2006/relationships/image" Target="../media/image82.emf"/><Relationship Id="rId4" Type="http://schemas.openxmlformats.org/officeDocument/2006/relationships/oleObject" Target="../embeddings/oleObject10.bin"/></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AIA_Title Slid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3C8B2D97-7482-B047-9B05-E59F4C8D454C}"/>
              </a:ext>
            </a:extLst>
          </p:cNvPr>
          <p:cNvGrpSpPr/>
          <p:nvPr/>
        </p:nvGrpSpPr>
        <p:grpSpPr>
          <a:xfrm>
            <a:off x="0" y="-5486"/>
            <a:ext cx="12192000" cy="6863486"/>
            <a:chOff x="0" y="-5486"/>
            <a:chExt cx="12192000" cy="6863486"/>
          </a:xfrm>
        </p:grpSpPr>
        <p:sp>
          <p:nvSpPr>
            <p:cNvPr id="7" name="Rectangle 6">
              <a:extLst>
                <a:ext uri="{FF2B5EF4-FFF2-40B4-BE49-F238E27FC236}">
                  <a16:creationId xmlns:a16="http://schemas.microsoft.com/office/drawing/2014/main" id="{F565177B-4800-6A4D-ACF1-A60D3E364849}"/>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F4AB8107-860B-CD4F-9FC2-3EAC6C280383}"/>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2546" r="5124"/>
            <a:stretch/>
          </p:blipFill>
          <p:spPr>
            <a:xfrm>
              <a:off x="624742" y="-5486"/>
              <a:ext cx="11567258" cy="6683445"/>
            </a:xfrm>
            <a:prstGeom prst="rect">
              <a:avLst/>
            </a:prstGeom>
          </p:spPr>
        </p:pic>
      </p:grpSp>
      <p:sp>
        <p:nvSpPr>
          <p:cNvPr id="11" name="Subtitle 2">
            <a:extLst>
              <a:ext uri="{FF2B5EF4-FFF2-40B4-BE49-F238E27FC236}">
                <a16:creationId xmlns:a16="http://schemas.microsoft.com/office/drawing/2014/main" id="{7418E04C-6267-3C40-8045-E595A3F20DE8}"/>
              </a:ext>
            </a:extLst>
          </p:cNvPr>
          <p:cNvSpPr>
            <a:spLocks noGrp="1"/>
          </p:cNvSpPr>
          <p:nvPr>
            <p:ph type="subTitle" idx="1" hasCustomPrompt="1"/>
          </p:nvPr>
        </p:nvSpPr>
        <p:spPr>
          <a:xfrm>
            <a:off x="360000" y="3601225"/>
            <a:ext cx="5080000" cy="358775"/>
          </a:xfrm>
          <a:prstGeom prst="rect">
            <a:avLst/>
          </a:prstGeom>
        </p:spPr>
        <p:txBody>
          <a:bodyPr>
            <a:noAutofit/>
          </a:bodyPr>
          <a:lstStyle>
            <a:lvl1pPr marL="0" indent="0" algn="l">
              <a:lnSpc>
                <a:spcPct val="100000"/>
              </a:lnSpc>
              <a:spcBef>
                <a:spcPts val="600"/>
              </a:spcBef>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date</a:t>
            </a:r>
          </a:p>
        </p:txBody>
      </p:sp>
      <p:sp>
        <p:nvSpPr>
          <p:cNvPr id="13" name="Text Placeholder 11">
            <a:extLst>
              <a:ext uri="{FF2B5EF4-FFF2-40B4-BE49-F238E27FC236}">
                <a16:creationId xmlns:a16="http://schemas.microsoft.com/office/drawing/2014/main" id="{DCC8A58C-864F-7041-A6F9-451CDBB94757}"/>
              </a:ext>
            </a:extLst>
          </p:cNvPr>
          <p:cNvSpPr>
            <a:spLocks noGrp="1"/>
          </p:cNvSpPr>
          <p:nvPr>
            <p:ph type="body" sz="quarter" idx="10" hasCustomPrompt="1"/>
          </p:nvPr>
        </p:nvSpPr>
        <p:spPr>
          <a:xfrm>
            <a:off x="360000" y="2160000"/>
            <a:ext cx="5400000" cy="1269000"/>
          </a:xfrm>
          <a:prstGeom prst="rect">
            <a:avLst/>
          </a:prstGeom>
          <a:noFill/>
        </p:spPr>
        <p:txBody>
          <a:bodyPr>
            <a:noAutofit/>
          </a:bodyPr>
          <a:lstStyle>
            <a:lvl1pPr>
              <a:lnSpc>
                <a:spcPct val="80000"/>
              </a:lnSpc>
              <a:defRPr sz="4800">
                <a:solidFill>
                  <a:schemeClr val="bg1"/>
                </a:solidFill>
              </a:defRPr>
            </a:lvl1pPr>
            <a:lvl2pPr marL="457200" indent="0">
              <a:buNone/>
              <a:defRPr/>
            </a:lvl2pPr>
          </a:lstStyle>
          <a:p>
            <a:pPr lvl="0"/>
            <a:r>
              <a:rPr lang="en-US"/>
              <a:t>Title of Presentation</a:t>
            </a:r>
          </a:p>
        </p:txBody>
      </p:sp>
      <p:sp>
        <p:nvSpPr>
          <p:cNvPr id="17" name="TextBox 16">
            <a:extLst>
              <a:ext uri="{FF2B5EF4-FFF2-40B4-BE49-F238E27FC236}">
                <a16:creationId xmlns:a16="http://schemas.microsoft.com/office/drawing/2014/main" id="{B55FA8A1-E8CC-7447-A8CA-4C3E1E53C399}"/>
              </a:ext>
            </a:extLst>
          </p:cNvPr>
          <p:cNvSpPr txBox="1"/>
          <p:nvPr/>
        </p:nvSpPr>
        <p:spPr>
          <a:xfrm>
            <a:off x="-1170000" y="2440557"/>
            <a:ext cx="1052488" cy="1785104"/>
          </a:xfrm>
          <a:prstGeom prst="rect">
            <a:avLst/>
          </a:prstGeom>
          <a:solidFill>
            <a:schemeClr val="bg1"/>
          </a:solidFill>
        </p:spPr>
        <p:txBody>
          <a:bodyPr wrap="square" rtlCol="0">
            <a:spAutoFit/>
          </a:bodyPr>
          <a:lstStyle/>
          <a:p>
            <a:pPr algn="l"/>
            <a:r>
              <a:rPr lang="en-US" sz="1000">
                <a:solidFill>
                  <a:srgbClr val="333D47"/>
                </a:solidFill>
                <a:latin typeface="Arial" panose="020B0604020202020204" pitchFamily="34" charset="0"/>
                <a:cs typeface="Arial" panose="020B0604020202020204" pitchFamily="34" charset="0"/>
              </a:rPr>
              <a:t>The image can be replaced here and master view</a:t>
            </a:r>
          </a:p>
          <a:p>
            <a:pPr algn="l"/>
            <a:endParaRPr lang="en-US" sz="1000">
              <a:solidFill>
                <a:srgbClr val="333D47"/>
              </a:solidFill>
              <a:latin typeface="Arial" panose="020B0604020202020204" pitchFamily="34" charset="0"/>
              <a:cs typeface="Arial" panose="020B0604020202020204" pitchFamily="34" charset="0"/>
            </a:endParaRPr>
          </a:p>
          <a:p>
            <a:pPr algn="l"/>
            <a:r>
              <a:rPr lang="en-GB" sz="1000">
                <a:latin typeface="Helvetica Neue" panose="02000503000000020004" pitchFamily="2" charset="0"/>
              </a:rPr>
              <a:t>Please </a:t>
            </a:r>
            <a:r>
              <a:rPr lang="en-GB" sz="1000" b="1">
                <a:latin typeface="Helvetica Neue" panose="02000503000000020004" pitchFamily="2" charset="0"/>
              </a:rPr>
              <a:t>do not </a:t>
            </a:r>
            <a:r>
              <a:rPr lang="en-GB" sz="1000">
                <a:latin typeface="Helvetica Neue" panose="02000503000000020004" pitchFamily="2" charset="0"/>
              </a:rPr>
              <a:t>use any internal photo competition participants’ images</a:t>
            </a:r>
            <a:endParaRPr lang="en-US" sz="1000">
              <a:solidFill>
                <a:srgbClr val="333D47"/>
              </a:solidFill>
            </a:endParaRPr>
          </a:p>
        </p:txBody>
      </p:sp>
      <p:sp>
        <p:nvSpPr>
          <p:cNvPr id="10" name="TextBox 9">
            <a:extLst>
              <a:ext uri="{FF2B5EF4-FFF2-40B4-BE49-F238E27FC236}">
                <a16:creationId xmlns:a16="http://schemas.microsoft.com/office/drawing/2014/main" id="{FDC25017-062B-8F43-A169-03040D11D39C}"/>
              </a:ext>
            </a:extLst>
          </p:cNvPr>
          <p:cNvSpPr txBox="1"/>
          <p:nvPr/>
        </p:nvSpPr>
        <p:spPr>
          <a:xfrm>
            <a:off x="360000" y="6336000"/>
            <a:ext cx="5400000" cy="216000"/>
          </a:xfrm>
          <a:prstGeom prst="rect">
            <a:avLst/>
          </a:prstGeom>
          <a:noFill/>
        </p:spPr>
        <p:txBody>
          <a:bodyPr wrap="square" lIns="90000" rtlCol="0" anchor="ctr" anchorCtr="0">
            <a:spAutoFit/>
          </a:bodyPr>
          <a:lstStyle/>
          <a:p>
            <a:r>
              <a:rPr lang="en-GB" sz="800" b="0" i="0">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endParaRPr lang="en-US" sz="800" b="0" i="0">
              <a:solidFill>
                <a:schemeClr val="bg1"/>
              </a:solidFill>
              <a:latin typeface="Arial" panose="020B0604020202020204" pitchFamily="34" charset="0"/>
              <a:cs typeface="Arial" panose="020B0604020202020204" pitchFamily="34" charset="0"/>
            </a:endParaRPr>
          </a:p>
        </p:txBody>
      </p:sp>
      <p:sp>
        <p:nvSpPr>
          <p:cNvPr id="18" name="Trapezoid 5">
            <a:extLst>
              <a:ext uri="{FF2B5EF4-FFF2-40B4-BE49-F238E27FC236}">
                <a16:creationId xmlns:a16="http://schemas.microsoft.com/office/drawing/2014/main" id="{2D70B633-359E-094E-8547-ABD066006107}"/>
              </a:ext>
            </a:extLst>
          </p:cNvPr>
          <p:cNvSpPr/>
          <p:nvPr/>
        </p:nvSpPr>
        <p:spPr>
          <a:xfrm>
            <a:off x="6337300" y="1493839"/>
            <a:ext cx="5868000" cy="5369646"/>
          </a:xfrm>
          <a:custGeom>
            <a:avLst/>
            <a:gdLst>
              <a:gd name="connsiteX0" fmla="*/ 0 w 3508169"/>
              <a:gd name="connsiteY0" fmla="*/ 3543337 h 3543337"/>
              <a:gd name="connsiteX1" fmla="*/ 877042 w 3508169"/>
              <a:gd name="connsiteY1" fmla="*/ 0 h 3543337"/>
              <a:gd name="connsiteX2" fmla="*/ 2631127 w 3508169"/>
              <a:gd name="connsiteY2" fmla="*/ 0 h 3543337"/>
              <a:gd name="connsiteX3" fmla="*/ 3508169 w 3508169"/>
              <a:gd name="connsiteY3" fmla="*/ 3543337 h 3543337"/>
              <a:gd name="connsiteX4" fmla="*/ 0 w 3508169"/>
              <a:gd name="connsiteY4" fmla="*/ 3543337 h 3543337"/>
              <a:gd name="connsiteX0" fmla="*/ 0 w 6086008"/>
              <a:gd name="connsiteY0" fmla="*/ 5470415 h 5470415"/>
              <a:gd name="connsiteX1" fmla="*/ 877042 w 6086008"/>
              <a:gd name="connsiteY1" fmla="*/ 1927078 h 5470415"/>
              <a:gd name="connsiteX2" fmla="*/ 6086008 w 6086008"/>
              <a:gd name="connsiteY2" fmla="*/ 0 h 5470415"/>
              <a:gd name="connsiteX3" fmla="*/ 3508169 w 6086008"/>
              <a:gd name="connsiteY3" fmla="*/ 5470415 h 5470415"/>
              <a:gd name="connsiteX4" fmla="*/ 0 w 6086008"/>
              <a:gd name="connsiteY4" fmla="*/ 5470415 h 5470415"/>
              <a:gd name="connsiteX0" fmla="*/ 0 w 6086008"/>
              <a:gd name="connsiteY0" fmla="*/ 5470415 h 5470415"/>
              <a:gd name="connsiteX1" fmla="*/ 877042 w 6086008"/>
              <a:gd name="connsiteY1" fmla="*/ 1927078 h 5470415"/>
              <a:gd name="connsiteX2" fmla="*/ 6086008 w 6086008"/>
              <a:gd name="connsiteY2" fmla="*/ 0 h 5470415"/>
              <a:gd name="connsiteX3" fmla="*/ 6057143 w 6086008"/>
              <a:gd name="connsiteY3" fmla="*/ 3419009 h 5470415"/>
              <a:gd name="connsiteX4" fmla="*/ 0 w 6086008"/>
              <a:gd name="connsiteY4" fmla="*/ 5470415 h 5470415"/>
              <a:gd name="connsiteX0" fmla="*/ 3048556 w 5208966"/>
              <a:gd name="connsiteY0" fmla="*/ 6607124 h 6607124"/>
              <a:gd name="connsiteX1" fmla="*/ 0 w 5208966"/>
              <a:gd name="connsiteY1" fmla="*/ 1927078 h 6607124"/>
              <a:gd name="connsiteX2" fmla="*/ 5208966 w 5208966"/>
              <a:gd name="connsiteY2" fmla="*/ 0 h 6607124"/>
              <a:gd name="connsiteX3" fmla="*/ 5180101 w 5208966"/>
              <a:gd name="connsiteY3" fmla="*/ 3419009 h 6607124"/>
              <a:gd name="connsiteX4" fmla="*/ 3048556 w 5208966"/>
              <a:gd name="connsiteY4" fmla="*/ 6607124 h 6607124"/>
              <a:gd name="connsiteX0" fmla="*/ 4833726 w 6994136"/>
              <a:gd name="connsiteY0" fmla="*/ 6607124 h 6607124"/>
              <a:gd name="connsiteX1" fmla="*/ 0 w 6994136"/>
              <a:gd name="connsiteY1" fmla="*/ 2193494 h 6607124"/>
              <a:gd name="connsiteX2" fmla="*/ 6994136 w 6994136"/>
              <a:gd name="connsiteY2" fmla="*/ 0 h 6607124"/>
              <a:gd name="connsiteX3" fmla="*/ 6965271 w 6994136"/>
              <a:gd name="connsiteY3" fmla="*/ 3419009 h 6607124"/>
              <a:gd name="connsiteX4" fmla="*/ 4833726 w 6994136"/>
              <a:gd name="connsiteY4" fmla="*/ 6607124 h 6607124"/>
              <a:gd name="connsiteX0" fmla="*/ 4833726 w 6994136"/>
              <a:gd name="connsiteY0" fmla="*/ 6607124 h 6607124"/>
              <a:gd name="connsiteX1" fmla="*/ 1405487 w 6994136"/>
              <a:gd name="connsiteY1" fmla="*/ 3490053 h 6607124"/>
              <a:gd name="connsiteX2" fmla="*/ 0 w 6994136"/>
              <a:gd name="connsiteY2" fmla="*/ 2193494 h 6607124"/>
              <a:gd name="connsiteX3" fmla="*/ 6994136 w 6994136"/>
              <a:gd name="connsiteY3" fmla="*/ 0 h 6607124"/>
              <a:gd name="connsiteX4" fmla="*/ 6965271 w 6994136"/>
              <a:gd name="connsiteY4" fmla="*/ 3419009 h 6607124"/>
              <a:gd name="connsiteX5" fmla="*/ 4833726 w 6994136"/>
              <a:gd name="connsiteY5" fmla="*/ 6607124 h 6607124"/>
              <a:gd name="connsiteX0" fmla="*/ 4833726 w 6994136"/>
              <a:gd name="connsiteY0" fmla="*/ 6607124 h 6607124"/>
              <a:gd name="connsiteX1" fmla="*/ 4078801 w 6994136"/>
              <a:gd name="connsiteY1" fmla="*/ 6571601 h 6607124"/>
              <a:gd name="connsiteX2" fmla="*/ 0 w 6994136"/>
              <a:gd name="connsiteY2" fmla="*/ 2193494 h 6607124"/>
              <a:gd name="connsiteX3" fmla="*/ 6994136 w 6994136"/>
              <a:gd name="connsiteY3" fmla="*/ 0 h 6607124"/>
              <a:gd name="connsiteX4" fmla="*/ 6965271 w 6994136"/>
              <a:gd name="connsiteY4" fmla="*/ 3419009 h 6607124"/>
              <a:gd name="connsiteX5" fmla="*/ 4833726 w 6994136"/>
              <a:gd name="connsiteY5" fmla="*/ 6607124 h 6607124"/>
              <a:gd name="connsiteX0" fmla="*/ 4833726 w 6994136"/>
              <a:gd name="connsiteY0" fmla="*/ 6553841 h 6571601"/>
              <a:gd name="connsiteX1" fmla="*/ 4078801 w 6994136"/>
              <a:gd name="connsiteY1" fmla="*/ 6571601 h 6571601"/>
              <a:gd name="connsiteX2" fmla="*/ 0 w 6994136"/>
              <a:gd name="connsiteY2" fmla="*/ 2193494 h 6571601"/>
              <a:gd name="connsiteX3" fmla="*/ 6994136 w 6994136"/>
              <a:gd name="connsiteY3" fmla="*/ 0 h 6571601"/>
              <a:gd name="connsiteX4" fmla="*/ 6965271 w 6994136"/>
              <a:gd name="connsiteY4" fmla="*/ 3419009 h 6571601"/>
              <a:gd name="connsiteX5" fmla="*/ 4833726 w 6994136"/>
              <a:gd name="connsiteY5" fmla="*/ 6553841 h 6571601"/>
              <a:gd name="connsiteX0" fmla="*/ 4833726 w 6994136"/>
              <a:gd name="connsiteY0" fmla="*/ 6553841 h 6553841"/>
              <a:gd name="connsiteX1" fmla="*/ 4061039 w 6994136"/>
              <a:gd name="connsiteY1" fmla="*/ 6544959 h 6553841"/>
              <a:gd name="connsiteX2" fmla="*/ 0 w 6994136"/>
              <a:gd name="connsiteY2" fmla="*/ 2193494 h 6553841"/>
              <a:gd name="connsiteX3" fmla="*/ 6994136 w 6994136"/>
              <a:gd name="connsiteY3" fmla="*/ 0 h 6553841"/>
              <a:gd name="connsiteX4" fmla="*/ 6965271 w 6994136"/>
              <a:gd name="connsiteY4" fmla="*/ 3419009 h 6553841"/>
              <a:gd name="connsiteX5" fmla="*/ 4833726 w 6994136"/>
              <a:gd name="connsiteY5" fmla="*/ 6553841 h 6553841"/>
              <a:gd name="connsiteX0" fmla="*/ 4895896 w 7056306"/>
              <a:gd name="connsiteY0" fmla="*/ 6553841 h 6553841"/>
              <a:gd name="connsiteX1" fmla="*/ 4123209 w 7056306"/>
              <a:gd name="connsiteY1" fmla="*/ 6544959 h 6553841"/>
              <a:gd name="connsiteX2" fmla="*/ 0 w 7056306"/>
              <a:gd name="connsiteY2" fmla="*/ 2193494 h 6553841"/>
              <a:gd name="connsiteX3" fmla="*/ 7056306 w 7056306"/>
              <a:gd name="connsiteY3" fmla="*/ 0 h 6553841"/>
              <a:gd name="connsiteX4" fmla="*/ 7027441 w 7056306"/>
              <a:gd name="connsiteY4" fmla="*/ 3419009 h 6553841"/>
              <a:gd name="connsiteX5" fmla="*/ 4895896 w 7056306"/>
              <a:gd name="connsiteY5" fmla="*/ 6553841 h 6553841"/>
              <a:gd name="connsiteX0" fmla="*/ 4895896 w 7056306"/>
              <a:gd name="connsiteY0" fmla="*/ 6553841 h 6553841"/>
              <a:gd name="connsiteX1" fmla="*/ 4123209 w 7056306"/>
              <a:gd name="connsiteY1" fmla="*/ 6544959 h 6553841"/>
              <a:gd name="connsiteX2" fmla="*/ 197612 w 7056306"/>
              <a:gd name="connsiteY2" fmla="*/ 2397746 h 6553841"/>
              <a:gd name="connsiteX3" fmla="*/ 0 w 7056306"/>
              <a:gd name="connsiteY3" fmla="*/ 2193494 h 6553841"/>
              <a:gd name="connsiteX4" fmla="*/ 7056306 w 7056306"/>
              <a:gd name="connsiteY4" fmla="*/ 0 h 6553841"/>
              <a:gd name="connsiteX5" fmla="*/ 7027441 w 7056306"/>
              <a:gd name="connsiteY5" fmla="*/ 3419009 h 6553841"/>
              <a:gd name="connsiteX6" fmla="*/ 4895896 w 7056306"/>
              <a:gd name="connsiteY6" fmla="*/ 6553841 h 6553841"/>
              <a:gd name="connsiteX0" fmla="*/ 4895896 w 7056306"/>
              <a:gd name="connsiteY0" fmla="*/ 6553841 h 6553841"/>
              <a:gd name="connsiteX1" fmla="*/ 4123209 w 7056306"/>
              <a:gd name="connsiteY1" fmla="*/ 6544959 h 6553841"/>
              <a:gd name="connsiteX2" fmla="*/ 91034 w 7056306"/>
              <a:gd name="connsiteY2" fmla="*/ 2442148 h 6553841"/>
              <a:gd name="connsiteX3" fmla="*/ 0 w 7056306"/>
              <a:gd name="connsiteY3" fmla="*/ 2193494 h 6553841"/>
              <a:gd name="connsiteX4" fmla="*/ 7056306 w 7056306"/>
              <a:gd name="connsiteY4" fmla="*/ 0 h 6553841"/>
              <a:gd name="connsiteX5" fmla="*/ 7027441 w 7056306"/>
              <a:gd name="connsiteY5" fmla="*/ 3419009 h 6553841"/>
              <a:gd name="connsiteX6" fmla="*/ 4895896 w 7056306"/>
              <a:gd name="connsiteY6" fmla="*/ 6553841 h 6553841"/>
              <a:gd name="connsiteX0" fmla="*/ 4922142 w 7082552"/>
              <a:gd name="connsiteY0" fmla="*/ 6553841 h 6553841"/>
              <a:gd name="connsiteX1" fmla="*/ 4149455 w 7082552"/>
              <a:gd name="connsiteY1" fmla="*/ 6544959 h 6553841"/>
              <a:gd name="connsiteX2" fmla="*/ 117280 w 7082552"/>
              <a:gd name="connsiteY2" fmla="*/ 2442148 h 6553841"/>
              <a:gd name="connsiteX3" fmla="*/ 26246 w 7082552"/>
              <a:gd name="connsiteY3" fmla="*/ 2193494 h 6553841"/>
              <a:gd name="connsiteX4" fmla="*/ 7082552 w 7082552"/>
              <a:gd name="connsiteY4" fmla="*/ 0 h 6553841"/>
              <a:gd name="connsiteX5" fmla="*/ 7053687 w 7082552"/>
              <a:gd name="connsiteY5" fmla="*/ 3419009 h 6553841"/>
              <a:gd name="connsiteX6" fmla="*/ 4922142 w 7082552"/>
              <a:gd name="connsiteY6" fmla="*/ 6553841 h 6553841"/>
              <a:gd name="connsiteX0" fmla="*/ 4950971 w 7111381"/>
              <a:gd name="connsiteY0" fmla="*/ 6553841 h 6553841"/>
              <a:gd name="connsiteX1" fmla="*/ 4178284 w 7111381"/>
              <a:gd name="connsiteY1" fmla="*/ 6544959 h 6553841"/>
              <a:gd name="connsiteX2" fmla="*/ 146109 w 7111381"/>
              <a:gd name="connsiteY2" fmla="*/ 2442148 h 6553841"/>
              <a:gd name="connsiteX3" fmla="*/ 55075 w 7111381"/>
              <a:gd name="connsiteY3" fmla="*/ 2193494 h 6553841"/>
              <a:gd name="connsiteX4" fmla="*/ 7111381 w 7111381"/>
              <a:gd name="connsiteY4" fmla="*/ 0 h 6553841"/>
              <a:gd name="connsiteX5" fmla="*/ 7082516 w 7111381"/>
              <a:gd name="connsiteY5" fmla="*/ 3419009 h 6553841"/>
              <a:gd name="connsiteX6" fmla="*/ 4950971 w 7111381"/>
              <a:gd name="connsiteY6" fmla="*/ 6553841 h 6553841"/>
              <a:gd name="connsiteX0" fmla="*/ 4963653 w 7124063"/>
              <a:gd name="connsiteY0" fmla="*/ 6553841 h 6553841"/>
              <a:gd name="connsiteX1" fmla="*/ 4190966 w 7124063"/>
              <a:gd name="connsiteY1" fmla="*/ 6544959 h 6553841"/>
              <a:gd name="connsiteX2" fmla="*/ 158791 w 7124063"/>
              <a:gd name="connsiteY2" fmla="*/ 2442148 h 6553841"/>
              <a:gd name="connsiteX3" fmla="*/ 67757 w 7124063"/>
              <a:gd name="connsiteY3" fmla="*/ 2193494 h 6553841"/>
              <a:gd name="connsiteX4" fmla="*/ 7124063 w 7124063"/>
              <a:gd name="connsiteY4" fmla="*/ 0 h 6553841"/>
              <a:gd name="connsiteX5" fmla="*/ 7095198 w 7124063"/>
              <a:gd name="connsiteY5" fmla="*/ 3419009 h 6553841"/>
              <a:gd name="connsiteX6" fmla="*/ 4963653 w 7124063"/>
              <a:gd name="connsiteY6" fmla="*/ 6553841 h 6553841"/>
              <a:gd name="connsiteX0" fmla="*/ 4951680 w 7112090"/>
              <a:gd name="connsiteY0" fmla="*/ 6553841 h 6553841"/>
              <a:gd name="connsiteX1" fmla="*/ 4178993 w 7112090"/>
              <a:gd name="connsiteY1" fmla="*/ 6544959 h 6553841"/>
              <a:gd name="connsiteX2" fmla="*/ 146818 w 7112090"/>
              <a:gd name="connsiteY2" fmla="*/ 2442148 h 6553841"/>
              <a:gd name="connsiteX3" fmla="*/ 78234 w 7112090"/>
              <a:gd name="connsiteY3" fmla="*/ 2187080 h 6553841"/>
              <a:gd name="connsiteX4" fmla="*/ 7112090 w 7112090"/>
              <a:gd name="connsiteY4" fmla="*/ 0 h 6553841"/>
              <a:gd name="connsiteX5" fmla="*/ 7083225 w 7112090"/>
              <a:gd name="connsiteY5" fmla="*/ 3419009 h 6553841"/>
              <a:gd name="connsiteX6" fmla="*/ 4951680 w 7112090"/>
              <a:gd name="connsiteY6" fmla="*/ 6553841 h 6553841"/>
              <a:gd name="connsiteX0" fmla="*/ 4951680 w 7083225"/>
              <a:gd name="connsiteY0" fmla="*/ 6527921 h 6527921"/>
              <a:gd name="connsiteX1" fmla="*/ 4178993 w 7083225"/>
              <a:gd name="connsiteY1" fmla="*/ 6519039 h 6527921"/>
              <a:gd name="connsiteX2" fmla="*/ 146818 w 7083225"/>
              <a:gd name="connsiteY2" fmla="*/ 2416228 h 6527921"/>
              <a:gd name="connsiteX3" fmla="*/ 78234 w 7083225"/>
              <a:gd name="connsiteY3" fmla="*/ 2161160 h 6527921"/>
              <a:gd name="connsiteX4" fmla="*/ 7077534 w 7083225"/>
              <a:gd name="connsiteY4" fmla="*/ 0 h 6527921"/>
              <a:gd name="connsiteX5" fmla="*/ 7083225 w 7083225"/>
              <a:gd name="connsiteY5" fmla="*/ 3393089 h 6527921"/>
              <a:gd name="connsiteX6" fmla="*/ 4951680 w 7083225"/>
              <a:gd name="connsiteY6" fmla="*/ 6527921 h 6527921"/>
              <a:gd name="connsiteX0" fmla="*/ 4996130 w 7083225"/>
              <a:gd name="connsiteY0" fmla="*/ 6521571 h 6521571"/>
              <a:gd name="connsiteX1" fmla="*/ 4178993 w 7083225"/>
              <a:gd name="connsiteY1" fmla="*/ 6519039 h 6521571"/>
              <a:gd name="connsiteX2" fmla="*/ 146818 w 7083225"/>
              <a:gd name="connsiteY2" fmla="*/ 2416228 h 6521571"/>
              <a:gd name="connsiteX3" fmla="*/ 78234 w 7083225"/>
              <a:gd name="connsiteY3" fmla="*/ 2161160 h 6521571"/>
              <a:gd name="connsiteX4" fmla="*/ 7077534 w 7083225"/>
              <a:gd name="connsiteY4" fmla="*/ 0 h 6521571"/>
              <a:gd name="connsiteX5" fmla="*/ 7083225 w 7083225"/>
              <a:gd name="connsiteY5" fmla="*/ 3393089 h 6521571"/>
              <a:gd name="connsiteX6" fmla="*/ 4996130 w 7083225"/>
              <a:gd name="connsiteY6" fmla="*/ 6521571 h 6521571"/>
              <a:gd name="connsiteX0" fmla="*/ 4996130 w 7083225"/>
              <a:gd name="connsiteY0" fmla="*/ 6521571 h 6525389"/>
              <a:gd name="connsiteX1" fmla="*/ 4182168 w 7083225"/>
              <a:gd name="connsiteY1" fmla="*/ 6525389 h 6525389"/>
              <a:gd name="connsiteX2" fmla="*/ 146818 w 7083225"/>
              <a:gd name="connsiteY2" fmla="*/ 2416228 h 6525389"/>
              <a:gd name="connsiteX3" fmla="*/ 78234 w 7083225"/>
              <a:gd name="connsiteY3" fmla="*/ 2161160 h 6525389"/>
              <a:gd name="connsiteX4" fmla="*/ 7077534 w 7083225"/>
              <a:gd name="connsiteY4" fmla="*/ 0 h 6525389"/>
              <a:gd name="connsiteX5" fmla="*/ 7083225 w 7083225"/>
              <a:gd name="connsiteY5" fmla="*/ 3393089 h 6525389"/>
              <a:gd name="connsiteX6" fmla="*/ 4996130 w 7083225"/>
              <a:gd name="connsiteY6" fmla="*/ 6521571 h 6525389"/>
              <a:gd name="connsiteX0" fmla="*/ 4996130 w 7084961"/>
              <a:gd name="connsiteY0" fmla="*/ 6532712 h 6536530"/>
              <a:gd name="connsiteX1" fmla="*/ 4182168 w 7084961"/>
              <a:gd name="connsiteY1" fmla="*/ 6536530 h 6536530"/>
              <a:gd name="connsiteX2" fmla="*/ 146818 w 7084961"/>
              <a:gd name="connsiteY2" fmla="*/ 2427369 h 6536530"/>
              <a:gd name="connsiteX3" fmla="*/ 78234 w 7084961"/>
              <a:gd name="connsiteY3" fmla="*/ 2172301 h 6536530"/>
              <a:gd name="connsiteX4" fmla="*/ 7084961 w 7084961"/>
              <a:gd name="connsiteY4" fmla="*/ 0 h 6536530"/>
              <a:gd name="connsiteX5" fmla="*/ 7083225 w 7084961"/>
              <a:gd name="connsiteY5" fmla="*/ 3404230 h 6536530"/>
              <a:gd name="connsiteX6" fmla="*/ 4996130 w 7084961"/>
              <a:gd name="connsiteY6" fmla="*/ 6532712 h 6536530"/>
              <a:gd name="connsiteX0" fmla="*/ 5013784 w 7084961"/>
              <a:gd name="connsiteY0" fmla="*/ 6536242 h 6536530"/>
              <a:gd name="connsiteX1" fmla="*/ 4182168 w 7084961"/>
              <a:gd name="connsiteY1" fmla="*/ 6536530 h 6536530"/>
              <a:gd name="connsiteX2" fmla="*/ 146818 w 7084961"/>
              <a:gd name="connsiteY2" fmla="*/ 2427369 h 6536530"/>
              <a:gd name="connsiteX3" fmla="*/ 78234 w 7084961"/>
              <a:gd name="connsiteY3" fmla="*/ 2172301 h 6536530"/>
              <a:gd name="connsiteX4" fmla="*/ 7084961 w 7084961"/>
              <a:gd name="connsiteY4" fmla="*/ 0 h 6536530"/>
              <a:gd name="connsiteX5" fmla="*/ 7083225 w 7084961"/>
              <a:gd name="connsiteY5" fmla="*/ 3404230 h 6536530"/>
              <a:gd name="connsiteX6" fmla="*/ 5013784 w 7084961"/>
              <a:gd name="connsiteY6" fmla="*/ 6536242 h 6536530"/>
              <a:gd name="connsiteX0" fmla="*/ 5013784 w 7084961"/>
              <a:gd name="connsiteY0" fmla="*/ 6536242 h 6547121"/>
              <a:gd name="connsiteX1" fmla="*/ 4185699 w 7084961"/>
              <a:gd name="connsiteY1" fmla="*/ 6547121 h 6547121"/>
              <a:gd name="connsiteX2" fmla="*/ 146818 w 7084961"/>
              <a:gd name="connsiteY2" fmla="*/ 2427369 h 6547121"/>
              <a:gd name="connsiteX3" fmla="*/ 78234 w 7084961"/>
              <a:gd name="connsiteY3" fmla="*/ 2172301 h 6547121"/>
              <a:gd name="connsiteX4" fmla="*/ 7084961 w 7084961"/>
              <a:gd name="connsiteY4" fmla="*/ 0 h 6547121"/>
              <a:gd name="connsiteX5" fmla="*/ 7083225 w 7084961"/>
              <a:gd name="connsiteY5" fmla="*/ 3404230 h 6547121"/>
              <a:gd name="connsiteX6" fmla="*/ 5013784 w 7084961"/>
              <a:gd name="connsiteY6" fmla="*/ 6536242 h 6547121"/>
              <a:gd name="connsiteX0" fmla="*/ 5013784 w 7086830"/>
              <a:gd name="connsiteY0" fmla="*/ 6536242 h 6547121"/>
              <a:gd name="connsiteX1" fmla="*/ 4185699 w 7086830"/>
              <a:gd name="connsiteY1" fmla="*/ 6547121 h 6547121"/>
              <a:gd name="connsiteX2" fmla="*/ 146818 w 7086830"/>
              <a:gd name="connsiteY2" fmla="*/ 2427369 h 6547121"/>
              <a:gd name="connsiteX3" fmla="*/ 78234 w 7086830"/>
              <a:gd name="connsiteY3" fmla="*/ 2172301 h 6547121"/>
              <a:gd name="connsiteX4" fmla="*/ 7084961 w 7086830"/>
              <a:gd name="connsiteY4" fmla="*/ 0 h 6547121"/>
              <a:gd name="connsiteX5" fmla="*/ 7086755 w 7086830"/>
              <a:gd name="connsiteY5" fmla="*/ 3425413 h 6547121"/>
              <a:gd name="connsiteX6" fmla="*/ 5013784 w 7086830"/>
              <a:gd name="connsiteY6" fmla="*/ 6536242 h 6547121"/>
              <a:gd name="connsiteX0" fmla="*/ 5013784 w 7099083"/>
              <a:gd name="connsiteY0" fmla="*/ 6543303 h 6554182"/>
              <a:gd name="connsiteX1" fmla="*/ 4185699 w 7099083"/>
              <a:gd name="connsiteY1" fmla="*/ 6554182 h 6554182"/>
              <a:gd name="connsiteX2" fmla="*/ 146818 w 7099083"/>
              <a:gd name="connsiteY2" fmla="*/ 2434430 h 6554182"/>
              <a:gd name="connsiteX3" fmla="*/ 78234 w 7099083"/>
              <a:gd name="connsiteY3" fmla="*/ 2179362 h 6554182"/>
              <a:gd name="connsiteX4" fmla="*/ 7099083 w 7099083"/>
              <a:gd name="connsiteY4" fmla="*/ 0 h 6554182"/>
              <a:gd name="connsiteX5" fmla="*/ 7086755 w 7099083"/>
              <a:gd name="connsiteY5" fmla="*/ 3432474 h 6554182"/>
              <a:gd name="connsiteX6" fmla="*/ 5013784 w 7099083"/>
              <a:gd name="connsiteY6" fmla="*/ 6543303 h 6554182"/>
              <a:gd name="connsiteX0" fmla="*/ 4996305 w 7081604"/>
              <a:gd name="connsiteY0" fmla="*/ 6543303 h 6554182"/>
              <a:gd name="connsiteX1" fmla="*/ 4168220 w 7081604"/>
              <a:gd name="connsiteY1" fmla="*/ 6554182 h 6554182"/>
              <a:gd name="connsiteX2" fmla="*/ 129339 w 7081604"/>
              <a:gd name="connsiteY2" fmla="*/ 2434430 h 6554182"/>
              <a:gd name="connsiteX3" fmla="*/ 98856 w 7081604"/>
              <a:gd name="connsiteY3" fmla="*/ 2169837 h 6554182"/>
              <a:gd name="connsiteX4" fmla="*/ 7081604 w 7081604"/>
              <a:gd name="connsiteY4" fmla="*/ 0 h 6554182"/>
              <a:gd name="connsiteX5" fmla="*/ 7069276 w 7081604"/>
              <a:gd name="connsiteY5" fmla="*/ 3432474 h 6554182"/>
              <a:gd name="connsiteX6" fmla="*/ 4996305 w 7081604"/>
              <a:gd name="connsiteY6" fmla="*/ 6543303 h 6554182"/>
              <a:gd name="connsiteX0" fmla="*/ 4989581 w 7081604"/>
              <a:gd name="connsiteY0" fmla="*/ 6553388 h 6554182"/>
              <a:gd name="connsiteX1" fmla="*/ 4168220 w 7081604"/>
              <a:gd name="connsiteY1" fmla="*/ 6554182 h 6554182"/>
              <a:gd name="connsiteX2" fmla="*/ 129339 w 7081604"/>
              <a:gd name="connsiteY2" fmla="*/ 2434430 h 6554182"/>
              <a:gd name="connsiteX3" fmla="*/ 98856 w 7081604"/>
              <a:gd name="connsiteY3" fmla="*/ 2169837 h 6554182"/>
              <a:gd name="connsiteX4" fmla="*/ 7081604 w 7081604"/>
              <a:gd name="connsiteY4" fmla="*/ 0 h 6554182"/>
              <a:gd name="connsiteX5" fmla="*/ 7069276 w 7081604"/>
              <a:gd name="connsiteY5" fmla="*/ 3432474 h 6554182"/>
              <a:gd name="connsiteX6" fmla="*/ 4989581 w 7081604"/>
              <a:gd name="connsiteY6" fmla="*/ 6553388 h 6554182"/>
              <a:gd name="connsiteX0" fmla="*/ 5006391 w 7081604"/>
              <a:gd name="connsiteY0" fmla="*/ 6556750 h 6556750"/>
              <a:gd name="connsiteX1" fmla="*/ 4168220 w 7081604"/>
              <a:gd name="connsiteY1" fmla="*/ 6554182 h 6556750"/>
              <a:gd name="connsiteX2" fmla="*/ 129339 w 7081604"/>
              <a:gd name="connsiteY2" fmla="*/ 2434430 h 6556750"/>
              <a:gd name="connsiteX3" fmla="*/ 98856 w 7081604"/>
              <a:gd name="connsiteY3" fmla="*/ 2169837 h 6556750"/>
              <a:gd name="connsiteX4" fmla="*/ 7081604 w 7081604"/>
              <a:gd name="connsiteY4" fmla="*/ 0 h 6556750"/>
              <a:gd name="connsiteX5" fmla="*/ 7069276 w 7081604"/>
              <a:gd name="connsiteY5" fmla="*/ 3432474 h 6556750"/>
              <a:gd name="connsiteX6" fmla="*/ 5006391 w 7081604"/>
              <a:gd name="connsiteY6" fmla="*/ 6556750 h 6556750"/>
              <a:gd name="connsiteX0" fmla="*/ 5006391 w 7092829"/>
              <a:gd name="connsiteY0" fmla="*/ 6556750 h 6556750"/>
              <a:gd name="connsiteX1" fmla="*/ 4168220 w 7092829"/>
              <a:gd name="connsiteY1" fmla="*/ 6554182 h 6556750"/>
              <a:gd name="connsiteX2" fmla="*/ 129339 w 7092829"/>
              <a:gd name="connsiteY2" fmla="*/ 2434430 h 6556750"/>
              <a:gd name="connsiteX3" fmla="*/ 98856 w 7092829"/>
              <a:gd name="connsiteY3" fmla="*/ 2169837 h 6556750"/>
              <a:gd name="connsiteX4" fmla="*/ 7081604 w 7092829"/>
              <a:gd name="connsiteY4" fmla="*/ 0 h 6556750"/>
              <a:gd name="connsiteX5" fmla="*/ 7092810 w 7092829"/>
              <a:gd name="connsiteY5" fmla="*/ 3405580 h 6556750"/>
              <a:gd name="connsiteX6" fmla="*/ 5006391 w 7092829"/>
              <a:gd name="connsiteY6" fmla="*/ 6556750 h 6556750"/>
              <a:gd name="connsiteX0" fmla="*/ 5006391 w 7095052"/>
              <a:gd name="connsiteY0" fmla="*/ 6560112 h 6560112"/>
              <a:gd name="connsiteX1" fmla="*/ 4168220 w 7095052"/>
              <a:gd name="connsiteY1" fmla="*/ 6557544 h 6560112"/>
              <a:gd name="connsiteX2" fmla="*/ 129339 w 7095052"/>
              <a:gd name="connsiteY2" fmla="*/ 2437792 h 6560112"/>
              <a:gd name="connsiteX3" fmla="*/ 98856 w 7095052"/>
              <a:gd name="connsiteY3" fmla="*/ 2173199 h 6560112"/>
              <a:gd name="connsiteX4" fmla="*/ 7095052 w 7095052"/>
              <a:gd name="connsiteY4" fmla="*/ 0 h 6560112"/>
              <a:gd name="connsiteX5" fmla="*/ 7092810 w 7095052"/>
              <a:gd name="connsiteY5" fmla="*/ 3408942 h 6560112"/>
              <a:gd name="connsiteX6" fmla="*/ 5006391 w 7095052"/>
              <a:gd name="connsiteY6" fmla="*/ 6560112 h 6560112"/>
              <a:gd name="connsiteX0" fmla="*/ 5006391 w 7095052"/>
              <a:gd name="connsiteY0" fmla="*/ 6560112 h 6560112"/>
              <a:gd name="connsiteX1" fmla="*/ 3149235 w 7095052"/>
              <a:gd name="connsiteY1" fmla="*/ 5693824 h 6560112"/>
              <a:gd name="connsiteX2" fmla="*/ 129339 w 7095052"/>
              <a:gd name="connsiteY2" fmla="*/ 2437792 h 6560112"/>
              <a:gd name="connsiteX3" fmla="*/ 98856 w 7095052"/>
              <a:gd name="connsiteY3" fmla="*/ 2173199 h 6560112"/>
              <a:gd name="connsiteX4" fmla="*/ 7095052 w 7095052"/>
              <a:gd name="connsiteY4" fmla="*/ 0 h 6560112"/>
              <a:gd name="connsiteX5" fmla="*/ 7092810 w 7095052"/>
              <a:gd name="connsiteY5" fmla="*/ 3408942 h 6560112"/>
              <a:gd name="connsiteX6" fmla="*/ 5006391 w 7095052"/>
              <a:gd name="connsiteY6" fmla="*/ 6560112 h 6560112"/>
              <a:gd name="connsiteX0" fmla="*/ 3384712 w 7095052"/>
              <a:gd name="connsiteY0" fmla="*/ 5702607 h 5702607"/>
              <a:gd name="connsiteX1" fmla="*/ 3149235 w 7095052"/>
              <a:gd name="connsiteY1" fmla="*/ 5693824 h 5702607"/>
              <a:gd name="connsiteX2" fmla="*/ 129339 w 7095052"/>
              <a:gd name="connsiteY2" fmla="*/ 2437792 h 5702607"/>
              <a:gd name="connsiteX3" fmla="*/ 98856 w 7095052"/>
              <a:gd name="connsiteY3" fmla="*/ 2173199 h 5702607"/>
              <a:gd name="connsiteX4" fmla="*/ 7095052 w 7095052"/>
              <a:gd name="connsiteY4" fmla="*/ 0 h 5702607"/>
              <a:gd name="connsiteX5" fmla="*/ 7092810 w 7095052"/>
              <a:gd name="connsiteY5" fmla="*/ 3408942 h 5702607"/>
              <a:gd name="connsiteX6" fmla="*/ 3384712 w 7095052"/>
              <a:gd name="connsiteY6" fmla="*/ 5702607 h 5702607"/>
              <a:gd name="connsiteX0" fmla="*/ 3384712 w 7092810"/>
              <a:gd name="connsiteY0" fmla="*/ 5652896 h 5652896"/>
              <a:gd name="connsiteX1" fmla="*/ 3149235 w 7092810"/>
              <a:gd name="connsiteY1" fmla="*/ 5644113 h 5652896"/>
              <a:gd name="connsiteX2" fmla="*/ 129339 w 7092810"/>
              <a:gd name="connsiteY2" fmla="*/ 2388081 h 5652896"/>
              <a:gd name="connsiteX3" fmla="*/ 98856 w 7092810"/>
              <a:gd name="connsiteY3" fmla="*/ 2123488 h 5652896"/>
              <a:gd name="connsiteX4" fmla="*/ 6629053 w 7092810"/>
              <a:gd name="connsiteY4" fmla="*/ 0 h 5652896"/>
              <a:gd name="connsiteX5" fmla="*/ 7092810 w 7092810"/>
              <a:gd name="connsiteY5" fmla="*/ 3359231 h 5652896"/>
              <a:gd name="connsiteX6" fmla="*/ 3384712 w 7092810"/>
              <a:gd name="connsiteY6" fmla="*/ 5652896 h 5652896"/>
              <a:gd name="connsiteX0" fmla="*/ 3384712 w 6629053"/>
              <a:gd name="connsiteY0" fmla="*/ 5652896 h 5652896"/>
              <a:gd name="connsiteX1" fmla="*/ 3149235 w 6629053"/>
              <a:gd name="connsiteY1" fmla="*/ 5644113 h 5652896"/>
              <a:gd name="connsiteX2" fmla="*/ 129339 w 6629053"/>
              <a:gd name="connsiteY2" fmla="*/ 2388081 h 5652896"/>
              <a:gd name="connsiteX3" fmla="*/ 98856 w 6629053"/>
              <a:gd name="connsiteY3" fmla="*/ 2123488 h 5652896"/>
              <a:gd name="connsiteX4" fmla="*/ 6629053 w 6629053"/>
              <a:gd name="connsiteY4" fmla="*/ 0 h 5652896"/>
              <a:gd name="connsiteX5" fmla="*/ 6334785 w 6629053"/>
              <a:gd name="connsiteY5" fmla="*/ 3458652 h 5652896"/>
              <a:gd name="connsiteX6" fmla="*/ 3384712 w 6629053"/>
              <a:gd name="connsiteY6" fmla="*/ 5652896 h 5652896"/>
              <a:gd name="connsiteX0" fmla="*/ 3384712 w 6629053"/>
              <a:gd name="connsiteY0" fmla="*/ 5652896 h 5652896"/>
              <a:gd name="connsiteX1" fmla="*/ 3149235 w 6629053"/>
              <a:gd name="connsiteY1" fmla="*/ 5644113 h 5652896"/>
              <a:gd name="connsiteX2" fmla="*/ 129339 w 6629053"/>
              <a:gd name="connsiteY2" fmla="*/ 2388081 h 5652896"/>
              <a:gd name="connsiteX3" fmla="*/ 98856 w 6629053"/>
              <a:gd name="connsiteY3" fmla="*/ 2123488 h 5652896"/>
              <a:gd name="connsiteX4" fmla="*/ 6629053 w 6629053"/>
              <a:gd name="connsiteY4" fmla="*/ 0 h 5652896"/>
              <a:gd name="connsiteX5" fmla="*/ 6160811 w 6629053"/>
              <a:gd name="connsiteY5" fmla="*/ 3123106 h 5652896"/>
              <a:gd name="connsiteX6" fmla="*/ 3384712 w 6629053"/>
              <a:gd name="connsiteY6" fmla="*/ 5652896 h 5652896"/>
              <a:gd name="connsiteX0" fmla="*/ 3384712 w 6629053"/>
              <a:gd name="connsiteY0" fmla="*/ 5652896 h 5652896"/>
              <a:gd name="connsiteX1" fmla="*/ 3149235 w 6629053"/>
              <a:gd name="connsiteY1" fmla="*/ 5644113 h 5652896"/>
              <a:gd name="connsiteX2" fmla="*/ 129339 w 6629053"/>
              <a:gd name="connsiteY2" fmla="*/ 2388081 h 5652896"/>
              <a:gd name="connsiteX3" fmla="*/ 98856 w 6629053"/>
              <a:gd name="connsiteY3" fmla="*/ 2123488 h 5652896"/>
              <a:gd name="connsiteX4" fmla="*/ 6629053 w 6629053"/>
              <a:gd name="connsiteY4" fmla="*/ 0 h 5652896"/>
              <a:gd name="connsiteX5" fmla="*/ 6378278 w 6629053"/>
              <a:gd name="connsiteY5" fmla="*/ 2060544 h 5652896"/>
              <a:gd name="connsiteX6" fmla="*/ 3384712 w 6629053"/>
              <a:gd name="connsiteY6" fmla="*/ 5652896 h 5652896"/>
              <a:gd name="connsiteX0" fmla="*/ 3384712 w 6629053"/>
              <a:gd name="connsiteY0" fmla="*/ 5652896 h 5652896"/>
              <a:gd name="connsiteX1" fmla="*/ 3149235 w 6629053"/>
              <a:gd name="connsiteY1" fmla="*/ 5644113 h 5652896"/>
              <a:gd name="connsiteX2" fmla="*/ 129339 w 6629053"/>
              <a:gd name="connsiteY2" fmla="*/ 2388081 h 5652896"/>
              <a:gd name="connsiteX3" fmla="*/ 98856 w 6629053"/>
              <a:gd name="connsiteY3" fmla="*/ 2123488 h 5652896"/>
              <a:gd name="connsiteX4" fmla="*/ 6629053 w 6629053"/>
              <a:gd name="connsiteY4" fmla="*/ 0 h 5652896"/>
              <a:gd name="connsiteX5" fmla="*/ 6508758 w 6629053"/>
              <a:gd name="connsiteY5" fmla="*/ 1898985 h 5652896"/>
              <a:gd name="connsiteX6" fmla="*/ 3384712 w 6629053"/>
              <a:gd name="connsiteY6" fmla="*/ 5652896 h 5652896"/>
              <a:gd name="connsiteX0" fmla="*/ 3384712 w 6523426"/>
              <a:gd name="connsiteY0" fmla="*/ 5609400 h 5609400"/>
              <a:gd name="connsiteX1" fmla="*/ 3149235 w 6523426"/>
              <a:gd name="connsiteY1" fmla="*/ 5600617 h 5609400"/>
              <a:gd name="connsiteX2" fmla="*/ 129339 w 6523426"/>
              <a:gd name="connsiteY2" fmla="*/ 2344585 h 5609400"/>
              <a:gd name="connsiteX3" fmla="*/ 98856 w 6523426"/>
              <a:gd name="connsiteY3" fmla="*/ 2079992 h 5609400"/>
              <a:gd name="connsiteX4" fmla="*/ 6523426 w 6523426"/>
              <a:gd name="connsiteY4" fmla="*/ 0 h 5609400"/>
              <a:gd name="connsiteX5" fmla="*/ 6508758 w 6523426"/>
              <a:gd name="connsiteY5" fmla="*/ 1855489 h 5609400"/>
              <a:gd name="connsiteX6" fmla="*/ 3384712 w 6523426"/>
              <a:gd name="connsiteY6" fmla="*/ 5609400 h 5609400"/>
              <a:gd name="connsiteX0" fmla="*/ 3384712 w 6523426"/>
              <a:gd name="connsiteY0" fmla="*/ 5609400 h 5609400"/>
              <a:gd name="connsiteX1" fmla="*/ 3118168 w 6523426"/>
              <a:gd name="connsiteY1" fmla="*/ 5594404 h 5609400"/>
              <a:gd name="connsiteX2" fmla="*/ 129339 w 6523426"/>
              <a:gd name="connsiteY2" fmla="*/ 2344585 h 5609400"/>
              <a:gd name="connsiteX3" fmla="*/ 98856 w 6523426"/>
              <a:gd name="connsiteY3" fmla="*/ 2079992 h 5609400"/>
              <a:gd name="connsiteX4" fmla="*/ 6523426 w 6523426"/>
              <a:gd name="connsiteY4" fmla="*/ 0 h 5609400"/>
              <a:gd name="connsiteX5" fmla="*/ 6508758 w 6523426"/>
              <a:gd name="connsiteY5" fmla="*/ 1855489 h 5609400"/>
              <a:gd name="connsiteX6" fmla="*/ 3384712 w 6523426"/>
              <a:gd name="connsiteY6" fmla="*/ 5609400 h 5609400"/>
              <a:gd name="connsiteX0" fmla="*/ 3384712 w 6523426"/>
              <a:gd name="connsiteY0" fmla="*/ 5609400 h 5609400"/>
              <a:gd name="connsiteX1" fmla="*/ 3118168 w 6523426"/>
              <a:gd name="connsiteY1" fmla="*/ 5594404 h 5609400"/>
              <a:gd name="connsiteX2" fmla="*/ 129339 w 6523426"/>
              <a:gd name="connsiteY2" fmla="*/ 2344585 h 5609400"/>
              <a:gd name="connsiteX3" fmla="*/ 98856 w 6523426"/>
              <a:gd name="connsiteY3" fmla="*/ 2079992 h 5609400"/>
              <a:gd name="connsiteX4" fmla="*/ 6523426 w 6523426"/>
              <a:gd name="connsiteY4" fmla="*/ 0 h 5609400"/>
              <a:gd name="connsiteX5" fmla="*/ 6508758 w 6523426"/>
              <a:gd name="connsiteY5" fmla="*/ 1855489 h 5609400"/>
              <a:gd name="connsiteX6" fmla="*/ 3384712 w 6523426"/>
              <a:gd name="connsiteY6" fmla="*/ 5609400 h 5609400"/>
              <a:gd name="connsiteX0" fmla="*/ 3384712 w 6523426"/>
              <a:gd name="connsiteY0" fmla="*/ 5609400 h 5609400"/>
              <a:gd name="connsiteX1" fmla="*/ 3118168 w 6523426"/>
              <a:gd name="connsiteY1" fmla="*/ 5594404 h 5609400"/>
              <a:gd name="connsiteX2" fmla="*/ 129339 w 6523426"/>
              <a:gd name="connsiteY2" fmla="*/ 2344585 h 5609400"/>
              <a:gd name="connsiteX3" fmla="*/ 98856 w 6523426"/>
              <a:gd name="connsiteY3" fmla="*/ 2079992 h 5609400"/>
              <a:gd name="connsiteX4" fmla="*/ 6523426 w 6523426"/>
              <a:gd name="connsiteY4" fmla="*/ 0 h 5609400"/>
              <a:gd name="connsiteX5" fmla="*/ 5931176 w 6523426"/>
              <a:gd name="connsiteY5" fmla="*/ 2555863 h 5609400"/>
              <a:gd name="connsiteX6" fmla="*/ 3384712 w 6523426"/>
              <a:gd name="connsiteY6" fmla="*/ 5609400 h 5609400"/>
              <a:gd name="connsiteX0" fmla="*/ 3384712 w 5931191"/>
              <a:gd name="connsiteY0" fmla="*/ 5421672 h 5421672"/>
              <a:gd name="connsiteX1" fmla="*/ 3118168 w 5931191"/>
              <a:gd name="connsiteY1" fmla="*/ 5406676 h 5421672"/>
              <a:gd name="connsiteX2" fmla="*/ 129339 w 5931191"/>
              <a:gd name="connsiteY2" fmla="*/ 2156857 h 5421672"/>
              <a:gd name="connsiteX3" fmla="*/ 98856 w 5931191"/>
              <a:gd name="connsiteY3" fmla="*/ 1892264 h 5421672"/>
              <a:gd name="connsiteX4" fmla="*/ 5916965 w 5931191"/>
              <a:gd name="connsiteY4" fmla="*/ 0 h 5421672"/>
              <a:gd name="connsiteX5" fmla="*/ 5931176 w 5931191"/>
              <a:gd name="connsiteY5" fmla="*/ 2368135 h 5421672"/>
              <a:gd name="connsiteX6" fmla="*/ 3384712 w 5931191"/>
              <a:gd name="connsiteY6" fmla="*/ 5421672 h 5421672"/>
              <a:gd name="connsiteX0" fmla="*/ 3384712 w 5931205"/>
              <a:gd name="connsiteY0" fmla="*/ 5421672 h 5421672"/>
              <a:gd name="connsiteX1" fmla="*/ 3118168 w 5931205"/>
              <a:gd name="connsiteY1" fmla="*/ 5406676 h 5421672"/>
              <a:gd name="connsiteX2" fmla="*/ 129339 w 5931205"/>
              <a:gd name="connsiteY2" fmla="*/ 2156857 h 5421672"/>
              <a:gd name="connsiteX3" fmla="*/ 98856 w 5931205"/>
              <a:gd name="connsiteY3" fmla="*/ 1892264 h 5421672"/>
              <a:gd name="connsiteX4" fmla="*/ 5916965 w 5931205"/>
              <a:gd name="connsiteY4" fmla="*/ 0 h 5421672"/>
              <a:gd name="connsiteX5" fmla="*/ 5931176 w 5931205"/>
              <a:gd name="connsiteY5" fmla="*/ 2368135 h 5421672"/>
              <a:gd name="connsiteX6" fmla="*/ 3384712 w 5931205"/>
              <a:gd name="connsiteY6" fmla="*/ 5421672 h 5421672"/>
              <a:gd name="connsiteX0" fmla="*/ 3384712 w 5931205"/>
              <a:gd name="connsiteY0" fmla="*/ 5421672 h 5427214"/>
              <a:gd name="connsiteX1" fmla="*/ 3130492 w 5931205"/>
              <a:gd name="connsiteY1" fmla="*/ 5427214 h 5427214"/>
              <a:gd name="connsiteX2" fmla="*/ 129339 w 5931205"/>
              <a:gd name="connsiteY2" fmla="*/ 2156857 h 5427214"/>
              <a:gd name="connsiteX3" fmla="*/ 98856 w 5931205"/>
              <a:gd name="connsiteY3" fmla="*/ 1892264 h 5427214"/>
              <a:gd name="connsiteX4" fmla="*/ 5916965 w 5931205"/>
              <a:gd name="connsiteY4" fmla="*/ 0 h 5427214"/>
              <a:gd name="connsiteX5" fmla="*/ 5931176 w 5931205"/>
              <a:gd name="connsiteY5" fmla="*/ 2368135 h 5427214"/>
              <a:gd name="connsiteX6" fmla="*/ 3384712 w 5931205"/>
              <a:gd name="connsiteY6" fmla="*/ 5421672 h 5427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31205" h="5427214">
                <a:moveTo>
                  <a:pt x="3384712" y="5421672"/>
                </a:moveTo>
                <a:lnTo>
                  <a:pt x="3130492" y="5427214"/>
                </a:lnTo>
                <a:cubicBezTo>
                  <a:pt x="1809052" y="4010467"/>
                  <a:pt x="1475633" y="3530108"/>
                  <a:pt x="129339" y="2156857"/>
                </a:cubicBezTo>
                <a:cubicBezTo>
                  <a:pt x="-87432" y="1945812"/>
                  <a:pt x="15569" y="1932016"/>
                  <a:pt x="98856" y="1892264"/>
                </a:cubicBezTo>
                <a:lnTo>
                  <a:pt x="5916965" y="0"/>
                </a:lnTo>
                <a:cubicBezTo>
                  <a:pt x="5923606" y="1091421"/>
                  <a:pt x="5931755" y="1233392"/>
                  <a:pt x="5931176" y="2368135"/>
                </a:cubicBezTo>
                <a:lnTo>
                  <a:pt x="3384712" y="5421672"/>
                </a:lnTo>
                <a:close/>
              </a:path>
            </a:pathLst>
          </a:custGeom>
          <a:blipFill dpi="0" rotWithShape="1">
            <a:blip r:embed="rId4" cstate="print">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a:p>
        </p:txBody>
      </p:sp>
      <p:pic>
        <p:nvPicPr>
          <p:cNvPr id="12" name="Graphic 11">
            <a:extLst>
              <a:ext uri="{FF2B5EF4-FFF2-40B4-BE49-F238E27FC236}">
                <a16:creationId xmlns:a16="http://schemas.microsoft.com/office/drawing/2014/main" id="{C4720876-3CA7-744D-A10D-DA2A0D62BA9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0000" y="360000"/>
            <a:ext cx="1828800" cy="660400"/>
          </a:xfrm>
          <a:prstGeom prst="rect">
            <a:avLst/>
          </a:prstGeom>
        </p:spPr>
      </p:pic>
    </p:spTree>
    <p:extLst>
      <p:ext uri="{BB962C8B-B14F-4D97-AF65-F5344CB8AC3E}">
        <p14:creationId xmlns:p14="http://schemas.microsoft.com/office/powerpoint/2010/main" val="684000036"/>
      </p:ext>
    </p:extLst>
  </p:cSld>
  <p:clrMapOvr>
    <a:masterClrMapping/>
  </p:clrMapOvr>
  <p:extLst>
    <p:ext uri="{DCECCB84-F9BA-43D5-87BE-67443E8EF086}">
      <p15:sldGuideLst xmlns:p15="http://schemas.microsoft.com/office/powerpoint/2012/main">
        <p15:guide id="1" pos="21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IA_Section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35A2ABB-4855-FB4F-849A-A8ABFB65E75C}"/>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1">
            <a:extLst>
              <a:ext uri="{FF2B5EF4-FFF2-40B4-BE49-F238E27FC236}">
                <a16:creationId xmlns:a16="http://schemas.microsoft.com/office/drawing/2014/main" id="{5AD99026-7E0D-414A-9B25-871F20E60D98}"/>
              </a:ext>
            </a:extLst>
          </p:cNvPr>
          <p:cNvSpPr>
            <a:spLocks noGrp="1"/>
          </p:cNvSpPr>
          <p:nvPr>
            <p:ph type="body" sz="quarter" idx="10" hasCustomPrompt="1"/>
          </p:nvPr>
        </p:nvSpPr>
        <p:spPr>
          <a:xfrm>
            <a:off x="359999" y="1980000"/>
            <a:ext cx="5040000" cy="1800000"/>
          </a:xfrm>
          <a:prstGeom prst="rect">
            <a:avLst/>
          </a:prstGeom>
          <a:noFill/>
        </p:spPr>
        <p:txBody>
          <a:bodyPr anchor="ctr">
            <a:noAutofit/>
          </a:bodyPr>
          <a:lstStyle>
            <a:lvl1pPr>
              <a:lnSpc>
                <a:spcPct val="80000"/>
              </a:lnSpc>
              <a:defRPr sz="4800">
                <a:solidFill>
                  <a:srgbClr val="333D47"/>
                </a:solidFill>
              </a:defRPr>
            </a:lvl1pPr>
            <a:lvl2pPr marL="457200" indent="0">
              <a:buNone/>
              <a:defRPr/>
            </a:lvl2pPr>
          </a:lstStyle>
          <a:p>
            <a:pPr lvl="0"/>
            <a:r>
              <a:rPr lang="en-US"/>
              <a:t>Section </a:t>
            </a:r>
            <a:br>
              <a:rPr lang="en-US"/>
            </a:br>
            <a:r>
              <a:rPr lang="en-US"/>
              <a:t>header</a:t>
            </a:r>
          </a:p>
        </p:txBody>
      </p:sp>
      <p:pic>
        <p:nvPicPr>
          <p:cNvPr id="3" name="Graphic 2">
            <a:extLst>
              <a:ext uri="{FF2B5EF4-FFF2-40B4-BE49-F238E27FC236}">
                <a16:creationId xmlns:a16="http://schemas.microsoft.com/office/drawing/2014/main" id="{E1978841-F933-844F-83FC-6B9D3B3E79A4}"/>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b="65181"/>
          <a:stretch/>
        </p:blipFill>
        <p:spPr>
          <a:xfrm>
            <a:off x="0" y="2160000"/>
            <a:ext cx="12192000" cy="4698000"/>
          </a:xfrm>
          <a:prstGeom prst="rect">
            <a:avLst/>
          </a:prstGeom>
        </p:spPr>
      </p:pic>
      <p:pic>
        <p:nvPicPr>
          <p:cNvPr id="6" name="Graphic 5">
            <a:extLst>
              <a:ext uri="{FF2B5EF4-FFF2-40B4-BE49-F238E27FC236}">
                <a16:creationId xmlns:a16="http://schemas.microsoft.com/office/drawing/2014/main" id="{0AE292BE-84AD-0845-94B5-0A58912ECE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60000" y="360000"/>
            <a:ext cx="1828800" cy="660400"/>
          </a:xfrm>
          <a:prstGeom prst="rect">
            <a:avLst/>
          </a:prstGeom>
        </p:spPr>
      </p:pic>
    </p:spTree>
    <p:extLst>
      <p:ext uri="{BB962C8B-B14F-4D97-AF65-F5344CB8AC3E}">
        <p14:creationId xmlns:p14="http://schemas.microsoft.com/office/powerpoint/2010/main" val="152642731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993491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20114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1909170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609530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78"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856883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963726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2906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826"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443643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072185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3046781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831113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77720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IA_section_v6">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FAF8A9F9-40B3-5148-BA51-5D71D673B1CF}"/>
              </a:ext>
            </a:extLst>
          </p:cNvPr>
          <p:cNvGrpSpPr/>
          <p:nvPr/>
        </p:nvGrpSpPr>
        <p:grpSpPr>
          <a:xfrm>
            <a:off x="0" y="0"/>
            <a:ext cx="12192000" cy="9047844"/>
            <a:chOff x="0" y="0"/>
            <a:chExt cx="12192000" cy="9047844"/>
          </a:xfrm>
        </p:grpSpPr>
        <p:sp>
          <p:nvSpPr>
            <p:cNvPr id="2" name="Rectangle 1">
              <a:extLst>
                <a:ext uri="{FF2B5EF4-FFF2-40B4-BE49-F238E27FC236}">
                  <a16:creationId xmlns:a16="http://schemas.microsoft.com/office/drawing/2014/main" id="{CE3614FA-9861-CB4F-A1FC-4DE840F05102}"/>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E888D095-ED2D-AD4A-849F-31AA6139595F}"/>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7737" t="14122"/>
            <a:stretch/>
          </p:blipFill>
          <p:spPr>
            <a:xfrm flipH="1">
              <a:off x="3872072" y="0"/>
              <a:ext cx="8319928" cy="9047844"/>
            </a:xfrm>
            <a:prstGeom prst="rect">
              <a:avLst/>
            </a:prstGeom>
          </p:spPr>
        </p:pic>
      </p:grpSp>
      <p:sp>
        <p:nvSpPr>
          <p:cNvPr id="19" name="Text Placeholder 11">
            <a:extLst>
              <a:ext uri="{FF2B5EF4-FFF2-40B4-BE49-F238E27FC236}">
                <a16:creationId xmlns:a16="http://schemas.microsoft.com/office/drawing/2014/main" id="{B86C203D-47D6-2A46-91F0-AE1B0B643B19}"/>
              </a:ext>
            </a:extLst>
          </p:cNvPr>
          <p:cNvSpPr>
            <a:spLocks noGrp="1"/>
          </p:cNvSpPr>
          <p:nvPr>
            <p:ph type="body" sz="quarter" idx="11" hasCustomPrompt="1"/>
          </p:nvPr>
        </p:nvSpPr>
        <p:spPr>
          <a:xfrm>
            <a:off x="360000" y="1980000"/>
            <a:ext cx="3519273" cy="1800000"/>
          </a:xfrm>
          <a:prstGeom prst="rect">
            <a:avLst/>
          </a:prstGeom>
          <a:noFill/>
        </p:spPr>
        <p:txBody>
          <a:bodyPr anchor="ctr">
            <a:noAutofit/>
          </a:bodyPr>
          <a:lstStyle>
            <a:lvl1pPr>
              <a:lnSpc>
                <a:spcPct val="80000"/>
              </a:lnSpc>
              <a:defRPr sz="4800">
                <a:solidFill>
                  <a:schemeClr val="bg1"/>
                </a:solidFill>
              </a:defRPr>
            </a:lvl1pPr>
            <a:lvl2pPr marL="457200" indent="0">
              <a:buNone/>
              <a:defRPr/>
            </a:lvl2pPr>
          </a:lstStyle>
          <a:p>
            <a:pPr lvl="0"/>
            <a:r>
              <a:rPr lang="en-US"/>
              <a:t>Section header</a:t>
            </a:r>
          </a:p>
        </p:txBody>
      </p:sp>
      <p:sp>
        <p:nvSpPr>
          <p:cNvPr id="20" name="Snip Same-side Corner of Rectangle 4">
            <a:extLst>
              <a:ext uri="{FF2B5EF4-FFF2-40B4-BE49-F238E27FC236}">
                <a16:creationId xmlns:a16="http://schemas.microsoft.com/office/drawing/2014/main" id="{3A3ADE73-21F8-BB4A-85F6-44C41128E4DF}"/>
              </a:ext>
            </a:extLst>
          </p:cNvPr>
          <p:cNvSpPr/>
          <p:nvPr/>
        </p:nvSpPr>
        <p:spPr>
          <a:xfrm>
            <a:off x="4239273" y="1478780"/>
            <a:ext cx="7960770" cy="5400604"/>
          </a:xfrm>
          <a:custGeom>
            <a:avLst/>
            <a:gdLst>
              <a:gd name="connsiteX0" fmla="*/ 576481 w 3458817"/>
              <a:gd name="connsiteY0" fmla="*/ 0 h 3458817"/>
              <a:gd name="connsiteX1" fmla="*/ 2882336 w 3458817"/>
              <a:gd name="connsiteY1" fmla="*/ 0 h 3458817"/>
              <a:gd name="connsiteX2" fmla="*/ 3458817 w 3458817"/>
              <a:gd name="connsiteY2" fmla="*/ 576481 h 3458817"/>
              <a:gd name="connsiteX3" fmla="*/ 3458817 w 3458817"/>
              <a:gd name="connsiteY3" fmla="*/ 3458817 h 3458817"/>
              <a:gd name="connsiteX4" fmla="*/ 3458817 w 3458817"/>
              <a:gd name="connsiteY4" fmla="*/ 3458817 h 3458817"/>
              <a:gd name="connsiteX5" fmla="*/ 0 w 3458817"/>
              <a:gd name="connsiteY5" fmla="*/ 3458817 h 3458817"/>
              <a:gd name="connsiteX6" fmla="*/ 0 w 3458817"/>
              <a:gd name="connsiteY6" fmla="*/ 3458817 h 3458817"/>
              <a:gd name="connsiteX7" fmla="*/ 0 w 3458817"/>
              <a:gd name="connsiteY7" fmla="*/ 576481 h 3458817"/>
              <a:gd name="connsiteX8" fmla="*/ 576481 w 3458817"/>
              <a:gd name="connsiteY8" fmla="*/ 0 h 3458817"/>
              <a:gd name="connsiteX0" fmla="*/ 1182768 w 4065104"/>
              <a:gd name="connsiteY0" fmla="*/ 218650 h 3677467"/>
              <a:gd name="connsiteX1" fmla="*/ 3488623 w 4065104"/>
              <a:gd name="connsiteY1" fmla="*/ 218650 h 3677467"/>
              <a:gd name="connsiteX2" fmla="*/ 4065104 w 4065104"/>
              <a:gd name="connsiteY2" fmla="*/ 795131 h 3677467"/>
              <a:gd name="connsiteX3" fmla="*/ 4065104 w 4065104"/>
              <a:gd name="connsiteY3" fmla="*/ 3677467 h 3677467"/>
              <a:gd name="connsiteX4" fmla="*/ 4065104 w 4065104"/>
              <a:gd name="connsiteY4" fmla="*/ 3677467 h 3677467"/>
              <a:gd name="connsiteX5" fmla="*/ 606287 w 4065104"/>
              <a:gd name="connsiteY5" fmla="*/ 3677467 h 3677467"/>
              <a:gd name="connsiteX6" fmla="*/ 606287 w 4065104"/>
              <a:gd name="connsiteY6" fmla="*/ 3677467 h 3677467"/>
              <a:gd name="connsiteX7" fmla="*/ 0 w 4065104"/>
              <a:gd name="connsiteY7" fmla="*/ 0 h 3677467"/>
              <a:gd name="connsiteX8" fmla="*/ 1182768 w 4065104"/>
              <a:gd name="connsiteY8" fmla="*/ 218650 h 3677467"/>
              <a:gd name="connsiteX0" fmla="*/ 1182768 w 4065104"/>
              <a:gd name="connsiteY0" fmla="*/ 218650 h 3677467"/>
              <a:gd name="connsiteX1" fmla="*/ 3488623 w 4065104"/>
              <a:gd name="connsiteY1" fmla="*/ 218650 h 3677467"/>
              <a:gd name="connsiteX2" fmla="*/ 4065104 w 4065104"/>
              <a:gd name="connsiteY2" fmla="*/ 795131 h 3677467"/>
              <a:gd name="connsiteX3" fmla="*/ 4065104 w 4065104"/>
              <a:gd name="connsiteY3" fmla="*/ 3677467 h 3677467"/>
              <a:gd name="connsiteX4" fmla="*/ 4065104 w 4065104"/>
              <a:gd name="connsiteY4" fmla="*/ 3677467 h 3677467"/>
              <a:gd name="connsiteX5" fmla="*/ 606287 w 4065104"/>
              <a:gd name="connsiteY5" fmla="*/ 3677467 h 3677467"/>
              <a:gd name="connsiteX6" fmla="*/ 0 w 4065104"/>
              <a:gd name="connsiteY6" fmla="*/ 2753128 h 3677467"/>
              <a:gd name="connsiteX7" fmla="*/ 0 w 4065104"/>
              <a:gd name="connsiteY7" fmla="*/ 0 h 3677467"/>
              <a:gd name="connsiteX8" fmla="*/ 1182768 w 4065104"/>
              <a:gd name="connsiteY8" fmla="*/ 218650 h 3677467"/>
              <a:gd name="connsiteX0" fmla="*/ 1182768 w 4065104"/>
              <a:gd name="connsiteY0" fmla="*/ 218650 h 5347241"/>
              <a:gd name="connsiteX1" fmla="*/ 3488623 w 4065104"/>
              <a:gd name="connsiteY1" fmla="*/ 218650 h 5347241"/>
              <a:gd name="connsiteX2" fmla="*/ 4065104 w 4065104"/>
              <a:gd name="connsiteY2" fmla="*/ 795131 h 5347241"/>
              <a:gd name="connsiteX3" fmla="*/ 4065104 w 4065104"/>
              <a:gd name="connsiteY3" fmla="*/ 3677467 h 5347241"/>
              <a:gd name="connsiteX4" fmla="*/ 4065104 w 4065104"/>
              <a:gd name="connsiteY4" fmla="*/ 3677467 h 5347241"/>
              <a:gd name="connsiteX5" fmla="*/ 2077279 w 4065104"/>
              <a:gd name="connsiteY5" fmla="*/ 5347241 h 5347241"/>
              <a:gd name="connsiteX6" fmla="*/ 0 w 4065104"/>
              <a:gd name="connsiteY6" fmla="*/ 2753128 h 5347241"/>
              <a:gd name="connsiteX7" fmla="*/ 0 w 4065104"/>
              <a:gd name="connsiteY7" fmla="*/ 0 h 5347241"/>
              <a:gd name="connsiteX8" fmla="*/ 1182768 w 4065104"/>
              <a:gd name="connsiteY8" fmla="*/ 218650 h 5347241"/>
              <a:gd name="connsiteX0" fmla="*/ 1182768 w 6748669"/>
              <a:gd name="connsiteY0" fmla="*/ 218650 h 5347241"/>
              <a:gd name="connsiteX1" fmla="*/ 3488623 w 6748669"/>
              <a:gd name="connsiteY1" fmla="*/ 218650 h 5347241"/>
              <a:gd name="connsiteX2" fmla="*/ 4065104 w 6748669"/>
              <a:gd name="connsiteY2" fmla="*/ 795131 h 5347241"/>
              <a:gd name="connsiteX3" fmla="*/ 4065104 w 6748669"/>
              <a:gd name="connsiteY3" fmla="*/ 3677467 h 5347241"/>
              <a:gd name="connsiteX4" fmla="*/ 6748669 w 6748669"/>
              <a:gd name="connsiteY4" fmla="*/ 5307484 h 5347241"/>
              <a:gd name="connsiteX5" fmla="*/ 2077279 w 6748669"/>
              <a:gd name="connsiteY5" fmla="*/ 5347241 h 5347241"/>
              <a:gd name="connsiteX6" fmla="*/ 0 w 6748669"/>
              <a:gd name="connsiteY6" fmla="*/ 2753128 h 5347241"/>
              <a:gd name="connsiteX7" fmla="*/ 0 w 6748669"/>
              <a:gd name="connsiteY7" fmla="*/ 0 h 5347241"/>
              <a:gd name="connsiteX8" fmla="*/ 1182768 w 6748669"/>
              <a:gd name="connsiteY8" fmla="*/ 218650 h 5347241"/>
              <a:gd name="connsiteX0" fmla="*/ 1182768 w 8169965"/>
              <a:gd name="connsiteY0" fmla="*/ 218650 h 5347241"/>
              <a:gd name="connsiteX1" fmla="*/ 3488623 w 8169965"/>
              <a:gd name="connsiteY1" fmla="*/ 218650 h 5347241"/>
              <a:gd name="connsiteX2" fmla="*/ 4065104 w 8169965"/>
              <a:gd name="connsiteY2" fmla="*/ 795131 h 5347241"/>
              <a:gd name="connsiteX3" fmla="*/ 8169965 w 8169965"/>
              <a:gd name="connsiteY3" fmla="*/ 3478684 h 5347241"/>
              <a:gd name="connsiteX4" fmla="*/ 6748669 w 8169965"/>
              <a:gd name="connsiteY4" fmla="*/ 5307484 h 5347241"/>
              <a:gd name="connsiteX5" fmla="*/ 2077279 w 8169965"/>
              <a:gd name="connsiteY5" fmla="*/ 5347241 h 5347241"/>
              <a:gd name="connsiteX6" fmla="*/ 0 w 8169965"/>
              <a:gd name="connsiteY6" fmla="*/ 2753128 h 5347241"/>
              <a:gd name="connsiteX7" fmla="*/ 0 w 8169965"/>
              <a:gd name="connsiteY7" fmla="*/ 0 h 5347241"/>
              <a:gd name="connsiteX8" fmla="*/ 1182768 w 8169965"/>
              <a:gd name="connsiteY8" fmla="*/ 218650 h 5347241"/>
              <a:gd name="connsiteX0" fmla="*/ 1182768 w 8169965"/>
              <a:gd name="connsiteY0" fmla="*/ 218650 h 5347241"/>
              <a:gd name="connsiteX1" fmla="*/ 3488623 w 8169965"/>
              <a:gd name="connsiteY1" fmla="*/ 218650 h 5347241"/>
              <a:gd name="connsiteX2" fmla="*/ 8162542 w 8169965"/>
              <a:gd name="connsiteY2" fmla="*/ 1443314 h 5347241"/>
              <a:gd name="connsiteX3" fmla="*/ 8169965 w 8169965"/>
              <a:gd name="connsiteY3" fmla="*/ 3478684 h 5347241"/>
              <a:gd name="connsiteX4" fmla="*/ 6748669 w 8169965"/>
              <a:gd name="connsiteY4" fmla="*/ 5307484 h 5347241"/>
              <a:gd name="connsiteX5" fmla="*/ 2077279 w 8169965"/>
              <a:gd name="connsiteY5" fmla="*/ 5347241 h 5347241"/>
              <a:gd name="connsiteX6" fmla="*/ 0 w 8169965"/>
              <a:gd name="connsiteY6" fmla="*/ 2753128 h 5347241"/>
              <a:gd name="connsiteX7" fmla="*/ 0 w 8169965"/>
              <a:gd name="connsiteY7" fmla="*/ 0 h 5347241"/>
              <a:gd name="connsiteX8" fmla="*/ 1182768 w 8169965"/>
              <a:gd name="connsiteY8" fmla="*/ 218650 h 5347241"/>
              <a:gd name="connsiteX0" fmla="*/ 1182768 w 8169965"/>
              <a:gd name="connsiteY0" fmla="*/ 218650 h 5347241"/>
              <a:gd name="connsiteX1" fmla="*/ 3488623 w 8169965"/>
              <a:gd name="connsiteY1" fmla="*/ 218650 h 5347241"/>
              <a:gd name="connsiteX2" fmla="*/ 8162542 w 8169965"/>
              <a:gd name="connsiteY2" fmla="*/ 1443314 h 5347241"/>
              <a:gd name="connsiteX3" fmla="*/ 8169965 w 8169965"/>
              <a:gd name="connsiteY3" fmla="*/ 3478684 h 5347241"/>
              <a:gd name="connsiteX4" fmla="*/ 6899140 w 8169965"/>
              <a:gd name="connsiteY4" fmla="*/ 5319059 h 5347241"/>
              <a:gd name="connsiteX5" fmla="*/ 2077279 w 8169965"/>
              <a:gd name="connsiteY5" fmla="*/ 5347241 h 5347241"/>
              <a:gd name="connsiteX6" fmla="*/ 0 w 8169965"/>
              <a:gd name="connsiteY6" fmla="*/ 2753128 h 5347241"/>
              <a:gd name="connsiteX7" fmla="*/ 0 w 8169965"/>
              <a:gd name="connsiteY7" fmla="*/ 0 h 5347241"/>
              <a:gd name="connsiteX8" fmla="*/ 1182768 w 8169965"/>
              <a:gd name="connsiteY8" fmla="*/ 218650 h 5347241"/>
              <a:gd name="connsiteX0" fmla="*/ 1182768 w 8169965"/>
              <a:gd name="connsiteY0" fmla="*/ 218650 h 5358816"/>
              <a:gd name="connsiteX1" fmla="*/ 3488623 w 8169965"/>
              <a:gd name="connsiteY1" fmla="*/ 218650 h 5358816"/>
              <a:gd name="connsiteX2" fmla="*/ 8162542 w 8169965"/>
              <a:gd name="connsiteY2" fmla="*/ 1443314 h 5358816"/>
              <a:gd name="connsiteX3" fmla="*/ 8169965 w 8169965"/>
              <a:gd name="connsiteY3" fmla="*/ 3478684 h 5358816"/>
              <a:gd name="connsiteX4" fmla="*/ 6899140 w 8169965"/>
              <a:gd name="connsiteY4" fmla="*/ 5319059 h 5358816"/>
              <a:gd name="connsiteX5" fmla="*/ 2100428 w 8169965"/>
              <a:gd name="connsiteY5" fmla="*/ 5358816 h 5358816"/>
              <a:gd name="connsiteX6" fmla="*/ 0 w 8169965"/>
              <a:gd name="connsiteY6" fmla="*/ 2753128 h 5358816"/>
              <a:gd name="connsiteX7" fmla="*/ 0 w 8169965"/>
              <a:gd name="connsiteY7" fmla="*/ 0 h 5358816"/>
              <a:gd name="connsiteX8" fmla="*/ 1182768 w 8169965"/>
              <a:gd name="connsiteY8" fmla="*/ 218650 h 5358816"/>
              <a:gd name="connsiteX0" fmla="*/ 1182768 w 8169965"/>
              <a:gd name="connsiteY0" fmla="*/ 218650 h 5358816"/>
              <a:gd name="connsiteX1" fmla="*/ 3488623 w 8169965"/>
              <a:gd name="connsiteY1" fmla="*/ 218650 h 5358816"/>
              <a:gd name="connsiteX2" fmla="*/ 8162542 w 8169965"/>
              <a:gd name="connsiteY2" fmla="*/ 1443314 h 5358816"/>
              <a:gd name="connsiteX3" fmla="*/ 8169965 w 8169965"/>
              <a:gd name="connsiteY3" fmla="*/ 3478684 h 5358816"/>
              <a:gd name="connsiteX4" fmla="*/ 6875990 w 8169965"/>
              <a:gd name="connsiteY4" fmla="*/ 5342208 h 5358816"/>
              <a:gd name="connsiteX5" fmla="*/ 2100428 w 8169965"/>
              <a:gd name="connsiteY5" fmla="*/ 5358816 h 5358816"/>
              <a:gd name="connsiteX6" fmla="*/ 0 w 8169965"/>
              <a:gd name="connsiteY6" fmla="*/ 2753128 h 5358816"/>
              <a:gd name="connsiteX7" fmla="*/ 0 w 8169965"/>
              <a:gd name="connsiteY7" fmla="*/ 0 h 5358816"/>
              <a:gd name="connsiteX8" fmla="*/ 1182768 w 8169965"/>
              <a:gd name="connsiteY8" fmla="*/ 218650 h 5358816"/>
              <a:gd name="connsiteX0" fmla="*/ 303092 w 8169965"/>
              <a:gd name="connsiteY0" fmla="*/ 0 h 5869371"/>
              <a:gd name="connsiteX1" fmla="*/ 3488623 w 8169965"/>
              <a:gd name="connsiteY1" fmla="*/ 729205 h 5869371"/>
              <a:gd name="connsiteX2" fmla="*/ 8162542 w 8169965"/>
              <a:gd name="connsiteY2" fmla="*/ 1953869 h 5869371"/>
              <a:gd name="connsiteX3" fmla="*/ 8169965 w 8169965"/>
              <a:gd name="connsiteY3" fmla="*/ 3989239 h 5869371"/>
              <a:gd name="connsiteX4" fmla="*/ 6875990 w 8169965"/>
              <a:gd name="connsiteY4" fmla="*/ 5852763 h 5869371"/>
              <a:gd name="connsiteX5" fmla="*/ 2100428 w 8169965"/>
              <a:gd name="connsiteY5" fmla="*/ 5869371 h 5869371"/>
              <a:gd name="connsiteX6" fmla="*/ 0 w 8169965"/>
              <a:gd name="connsiteY6" fmla="*/ 3263683 h 5869371"/>
              <a:gd name="connsiteX7" fmla="*/ 0 w 8169965"/>
              <a:gd name="connsiteY7" fmla="*/ 510555 h 5869371"/>
              <a:gd name="connsiteX8" fmla="*/ 303092 w 8169965"/>
              <a:gd name="connsiteY8" fmla="*/ 0 h 5869371"/>
              <a:gd name="connsiteX0" fmla="*/ 303092 w 8169965"/>
              <a:gd name="connsiteY0" fmla="*/ 0 h 5869371"/>
              <a:gd name="connsiteX1" fmla="*/ 3731692 w 8169965"/>
              <a:gd name="connsiteY1" fmla="*/ 821802 h 5869371"/>
              <a:gd name="connsiteX2" fmla="*/ 8162542 w 8169965"/>
              <a:gd name="connsiteY2" fmla="*/ 1953869 h 5869371"/>
              <a:gd name="connsiteX3" fmla="*/ 8169965 w 8169965"/>
              <a:gd name="connsiteY3" fmla="*/ 3989239 h 5869371"/>
              <a:gd name="connsiteX4" fmla="*/ 6875990 w 8169965"/>
              <a:gd name="connsiteY4" fmla="*/ 5852763 h 5869371"/>
              <a:gd name="connsiteX5" fmla="*/ 2100428 w 8169965"/>
              <a:gd name="connsiteY5" fmla="*/ 5869371 h 5869371"/>
              <a:gd name="connsiteX6" fmla="*/ 0 w 8169965"/>
              <a:gd name="connsiteY6" fmla="*/ 3263683 h 5869371"/>
              <a:gd name="connsiteX7" fmla="*/ 0 w 8169965"/>
              <a:gd name="connsiteY7" fmla="*/ 510555 h 5869371"/>
              <a:gd name="connsiteX8" fmla="*/ 303092 w 8169965"/>
              <a:gd name="connsiteY8" fmla="*/ 0 h 5869371"/>
              <a:gd name="connsiteX0" fmla="*/ 303092 w 8169965"/>
              <a:gd name="connsiteY0" fmla="*/ 0 h 5869371"/>
              <a:gd name="connsiteX1" fmla="*/ 8162542 w 8169965"/>
              <a:gd name="connsiteY1" fmla="*/ 1953869 h 5869371"/>
              <a:gd name="connsiteX2" fmla="*/ 8169965 w 8169965"/>
              <a:gd name="connsiteY2" fmla="*/ 3989239 h 5869371"/>
              <a:gd name="connsiteX3" fmla="*/ 6875990 w 8169965"/>
              <a:gd name="connsiteY3" fmla="*/ 5852763 h 5869371"/>
              <a:gd name="connsiteX4" fmla="*/ 2100428 w 8169965"/>
              <a:gd name="connsiteY4" fmla="*/ 5869371 h 5869371"/>
              <a:gd name="connsiteX5" fmla="*/ 0 w 8169965"/>
              <a:gd name="connsiteY5" fmla="*/ 3263683 h 5869371"/>
              <a:gd name="connsiteX6" fmla="*/ 0 w 8169965"/>
              <a:gd name="connsiteY6" fmla="*/ 510555 h 5869371"/>
              <a:gd name="connsiteX7" fmla="*/ 303092 w 8169965"/>
              <a:gd name="connsiteY7"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3149 w 8193114"/>
              <a:gd name="connsiteY5" fmla="*/ 3263683 h 5869371"/>
              <a:gd name="connsiteX6" fmla="*/ 0 w 8193114"/>
              <a:gd name="connsiteY6" fmla="*/ 105441 h 5869371"/>
              <a:gd name="connsiteX7" fmla="*/ 326241 w 8193114"/>
              <a:gd name="connsiteY7"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383668 w 8193114"/>
              <a:gd name="connsiteY5" fmla="*/ 3712235 h 5869371"/>
              <a:gd name="connsiteX6" fmla="*/ 23149 w 8193114"/>
              <a:gd name="connsiteY6" fmla="*/ 3263683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58978 w 8193114"/>
              <a:gd name="connsiteY5" fmla="*/ 3706297 h 5869371"/>
              <a:gd name="connsiteX6" fmla="*/ 23149 w 8193114"/>
              <a:gd name="connsiteY6" fmla="*/ 3263683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58978 w 8193114"/>
              <a:gd name="connsiteY5" fmla="*/ 3706297 h 5869371"/>
              <a:gd name="connsiteX6" fmla="*/ 23149 w 8193114"/>
              <a:gd name="connsiteY6" fmla="*/ 3263683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58978 w 8193114"/>
              <a:gd name="connsiteY5" fmla="*/ 3706297 h 5869371"/>
              <a:gd name="connsiteX6" fmla="*/ 23149 w 8193114"/>
              <a:gd name="connsiteY6" fmla="*/ 3263683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58978 w 8193114"/>
              <a:gd name="connsiteY5" fmla="*/ 3706297 h 5869371"/>
              <a:gd name="connsiteX6" fmla="*/ 23149 w 8193114"/>
              <a:gd name="connsiteY6" fmla="*/ 3263683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58978 w 8193114"/>
              <a:gd name="connsiteY5" fmla="*/ 3706297 h 5869371"/>
              <a:gd name="connsiteX6" fmla="*/ 18600 w 8193114"/>
              <a:gd name="connsiteY6" fmla="*/ 3245486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309020 w 8193114"/>
              <a:gd name="connsiteY5" fmla="*/ 3774536 h 5869371"/>
              <a:gd name="connsiteX6" fmla="*/ 18600 w 8193114"/>
              <a:gd name="connsiteY6" fmla="*/ 3245486 h 5869371"/>
              <a:gd name="connsiteX7" fmla="*/ 0 w 8193114"/>
              <a:gd name="connsiteY7" fmla="*/ 105441 h 5869371"/>
              <a:gd name="connsiteX8" fmla="*/ 326241 w 8193114"/>
              <a:gd name="connsiteY8" fmla="*/ 0 h 5869371"/>
              <a:gd name="connsiteX0" fmla="*/ 326241 w 8193114"/>
              <a:gd name="connsiteY0" fmla="*/ 0 h 5852763"/>
              <a:gd name="connsiteX1" fmla="*/ 8185691 w 8193114"/>
              <a:gd name="connsiteY1" fmla="*/ 1953869 h 5852763"/>
              <a:gd name="connsiteX2" fmla="*/ 8193114 w 8193114"/>
              <a:gd name="connsiteY2" fmla="*/ 3989239 h 5852763"/>
              <a:gd name="connsiteX3" fmla="*/ 6899139 w 8193114"/>
              <a:gd name="connsiteY3" fmla="*/ 5852763 h 5852763"/>
              <a:gd name="connsiteX4" fmla="*/ 2123577 w 8193114"/>
              <a:gd name="connsiteY4" fmla="*/ 5839554 h 5852763"/>
              <a:gd name="connsiteX5" fmla="*/ 309020 w 8193114"/>
              <a:gd name="connsiteY5" fmla="*/ 3774536 h 5852763"/>
              <a:gd name="connsiteX6" fmla="*/ 18600 w 8193114"/>
              <a:gd name="connsiteY6" fmla="*/ 3245486 h 5852763"/>
              <a:gd name="connsiteX7" fmla="*/ 0 w 8193114"/>
              <a:gd name="connsiteY7" fmla="*/ 105441 h 5852763"/>
              <a:gd name="connsiteX8" fmla="*/ 326241 w 8193114"/>
              <a:gd name="connsiteY8" fmla="*/ 0 h 5852763"/>
              <a:gd name="connsiteX0" fmla="*/ 286485 w 8193114"/>
              <a:gd name="connsiteY0" fmla="*/ 0 h 5872641"/>
              <a:gd name="connsiteX1" fmla="*/ 8185691 w 8193114"/>
              <a:gd name="connsiteY1" fmla="*/ 1973747 h 5872641"/>
              <a:gd name="connsiteX2" fmla="*/ 8193114 w 8193114"/>
              <a:gd name="connsiteY2" fmla="*/ 4009117 h 5872641"/>
              <a:gd name="connsiteX3" fmla="*/ 6899139 w 8193114"/>
              <a:gd name="connsiteY3" fmla="*/ 5872641 h 5872641"/>
              <a:gd name="connsiteX4" fmla="*/ 2123577 w 8193114"/>
              <a:gd name="connsiteY4" fmla="*/ 5859432 h 5872641"/>
              <a:gd name="connsiteX5" fmla="*/ 309020 w 8193114"/>
              <a:gd name="connsiteY5" fmla="*/ 3794414 h 5872641"/>
              <a:gd name="connsiteX6" fmla="*/ 18600 w 8193114"/>
              <a:gd name="connsiteY6" fmla="*/ 3265364 h 5872641"/>
              <a:gd name="connsiteX7" fmla="*/ 0 w 8193114"/>
              <a:gd name="connsiteY7" fmla="*/ 125319 h 5872641"/>
              <a:gd name="connsiteX8" fmla="*/ 286485 w 8193114"/>
              <a:gd name="connsiteY8" fmla="*/ 0 h 5872641"/>
              <a:gd name="connsiteX0" fmla="*/ 286485 w 8193114"/>
              <a:gd name="connsiteY0" fmla="*/ 0 h 5872641"/>
              <a:gd name="connsiteX1" fmla="*/ 8185691 w 8193114"/>
              <a:gd name="connsiteY1" fmla="*/ 1963808 h 5872641"/>
              <a:gd name="connsiteX2" fmla="*/ 8193114 w 8193114"/>
              <a:gd name="connsiteY2" fmla="*/ 4009117 h 5872641"/>
              <a:gd name="connsiteX3" fmla="*/ 6899139 w 8193114"/>
              <a:gd name="connsiteY3" fmla="*/ 5872641 h 5872641"/>
              <a:gd name="connsiteX4" fmla="*/ 2123577 w 8193114"/>
              <a:gd name="connsiteY4" fmla="*/ 5859432 h 5872641"/>
              <a:gd name="connsiteX5" fmla="*/ 309020 w 8193114"/>
              <a:gd name="connsiteY5" fmla="*/ 3794414 h 5872641"/>
              <a:gd name="connsiteX6" fmla="*/ 18600 w 8193114"/>
              <a:gd name="connsiteY6" fmla="*/ 3265364 h 5872641"/>
              <a:gd name="connsiteX7" fmla="*/ 0 w 8193114"/>
              <a:gd name="connsiteY7" fmla="*/ 125319 h 5872641"/>
              <a:gd name="connsiteX8" fmla="*/ 286485 w 8193114"/>
              <a:gd name="connsiteY8" fmla="*/ 0 h 5872641"/>
              <a:gd name="connsiteX0" fmla="*/ 276546 w 8193114"/>
              <a:gd name="connsiteY0" fmla="*/ 0 h 5882580"/>
              <a:gd name="connsiteX1" fmla="*/ 8185691 w 8193114"/>
              <a:gd name="connsiteY1" fmla="*/ 1973747 h 5882580"/>
              <a:gd name="connsiteX2" fmla="*/ 8193114 w 8193114"/>
              <a:gd name="connsiteY2" fmla="*/ 4019056 h 5882580"/>
              <a:gd name="connsiteX3" fmla="*/ 6899139 w 8193114"/>
              <a:gd name="connsiteY3" fmla="*/ 5882580 h 5882580"/>
              <a:gd name="connsiteX4" fmla="*/ 2123577 w 8193114"/>
              <a:gd name="connsiteY4" fmla="*/ 5869371 h 5882580"/>
              <a:gd name="connsiteX5" fmla="*/ 309020 w 8193114"/>
              <a:gd name="connsiteY5" fmla="*/ 3804353 h 5882580"/>
              <a:gd name="connsiteX6" fmla="*/ 18600 w 8193114"/>
              <a:gd name="connsiteY6" fmla="*/ 3275303 h 5882580"/>
              <a:gd name="connsiteX7" fmla="*/ 0 w 8193114"/>
              <a:gd name="connsiteY7" fmla="*/ 135258 h 5882580"/>
              <a:gd name="connsiteX8" fmla="*/ 276546 w 8193114"/>
              <a:gd name="connsiteY8" fmla="*/ 0 h 5882580"/>
              <a:gd name="connsiteX0" fmla="*/ 276546 w 8193114"/>
              <a:gd name="connsiteY0" fmla="*/ 8851 h 5891431"/>
              <a:gd name="connsiteX1" fmla="*/ 8185691 w 8193114"/>
              <a:gd name="connsiteY1" fmla="*/ 1982598 h 5891431"/>
              <a:gd name="connsiteX2" fmla="*/ 8193114 w 8193114"/>
              <a:gd name="connsiteY2" fmla="*/ 4027907 h 5891431"/>
              <a:gd name="connsiteX3" fmla="*/ 6899139 w 8193114"/>
              <a:gd name="connsiteY3" fmla="*/ 5891431 h 5891431"/>
              <a:gd name="connsiteX4" fmla="*/ 2123577 w 8193114"/>
              <a:gd name="connsiteY4" fmla="*/ 5878222 h 5891431"/>
              <a:gd name="connsiteX5" fmla="*/ 309020 w 8193114"/>
              <a:gd name="connsiteY5" fmla="*/ 3813204 h 5891431"/>
              <a:gd name="connsiteX6" fmla="*/ 18600 w 8193114"/>
              <a:gd name="connsiteY6" fmla="*/ 3284154 h 5891431"/>
              <a:gd name="connsiteX7" fmla="*/ 0 w 8193114"/>
              <a:gd name="connsiteY7" fmla="*/ 144109 h 5891431"/>
              <a:gd name="connsiteX8" fmla="*/ 276546 w 8193114"/>
              <a:gd name="connsiteY8" fmla="*/ 8851 h 5891431"/>
              <a:gd name="connsiteX0" fmla="*/ 276546 w 8193114"/>
              <a:gd name="connsiteY0" fmla="*/ 18576 h 5901156"/>
              <a:gd name="connsiteX1" fmla="*/ 8185691 w 8193114"/>
              <a:gd name="connsiteY1" fmla="*/ 1992323 h 5901156"/>
              <a:gd name="connsiteX2" fmla="*/ 8193114 w 8193114"/>
              <a:gd name="connsiteY2" fmla="*/ 4037632 h 5901156"/>
              <a:gd name="connsiteX3" fmla="*/ 6899139 w 8193114"/>
              <a:gd name="connsiteY3" fmla="*/ 5901156 h 5901156"/>
              <a:gd name="connsiteX4" fmla="*/ 2123577 w 8193114"/>
              <a:gd name="connsiteY4" fmla="*/ 5887947 h 5901156"/>
              <a:gd name="connsiteX5" fmla="*/ 309020 w 8193114"/>
              <a:gd name="connsiteY5" fmla="*/ 3822929 h 5901156"/>
              <a:gd name="connsiteX6" fmla="*/ 18600 w 8193114"/>
              <a:gd name="connsiteY6" fmla="*/ 3293879 h 5901156"/>
              <a:gd name="connsiteX7" fmla="*/ 0 w 8193114"/>
              <a:gd name="connsiteY7" fmla="*/ 153834 h 5901156"/>
              <a:gd name="connsiteX8" fmla="*/ 276546 w 8193114"/>
              <a:gd name="connsiteY8" fmla="*/ 18576 h 5901156"/>
              <a:gd name="connsiteX0" fmla="*/ 276546 w 8193114"/>
              <a:gd name="connsiteY0" fmla="*/ 17428 h 5900008"/>
              <a:gd name="connsiteX1" fmla="*/ 8185691 w 8193114"/>
              <a:gd name="connsiteY1" fmla="*/ 1991175 h 5900008"/>
              <a:gd name="connsiteX2" fmla="*/ 8193114 w 8193114"/>
              <a:gd name="connsiteY2" fmla="*/ 4036484 h 5900008"/>
              <a:gd name="connsiteX3" fmla="*/ 6899139 w 8193114"/>
              <a:gd name="connsiteY3" fmla="*/ 5900008 h 5900008"/>
              <a:gd name="connsiteX4" fmla="*/ 2123577 w 8193114"/>
              <a:gd name="connsiteY4" fmla="*/ 5886799 h 5900008"/>
              <a:gd name="connsiteX5" fmla="*/ 309020 w 8193114"/>
              <a:gd name="connsiteY5" fmla="*/ 3821781 h 5900008"/>
              <a:gd name="connsiteX6" fmla="*/ 18600 w 8193114"/>
              <a:gd name="connsiteY6" fmla="*/ 3292731 h 5900008"/>
              <a:gd name="connsiteX7" fmla="*/ 0 w 8193114"/>
              <a:gd name="connsiteY7" fmla="*/ 152686 h 5900008"/>
              <a:gd name="connsiteX8" fmla="*/ 276546 w 8193114"/>
              <a:gd name="connsiteY8" fmla="*/ 17428 h 5900008"/>
              <a:gd name="connsiteX0" fmla="*/ 276546 w 8193114"/>
              <a:gd name="connsiteY0" fmla="*/ 33372 h 5915952"/>
              <a:gd name="connsiteX1" fmla="*/ 8185691 w 8193114"/>
              <a:gd name="connsiteY1" fmla="*/ 2007119 h 5915952"/>
              <a:gd name="connsiteX2" fmla="*/ 8193114 w 8193114"/>
              <a:gd name="connsiteY2" fmla="*/ 4052428 h 5915952"/>
              <a:gd name="connsiteX3" fmla="*/ 6899139 w 8193114"/>
              <a:gd name="connsiteY3" fmla="*/ 5915952 h 5915952"/>
              <a:gd name="connsiteX4" fmla="*/ 2123577 w 8193114"/>
              <a:gd name="connsiteY4" fmla="*/ 5902743 h 5915952"/>
              <a:gd name="connsiteX5" fmla="*/ 309020 w 8193114"/>
              <a:gd name="connsiteY5" fmla="*/ 3837725 h 5915952"/>
              <a:gd name="connsiteX6" fmla="*/ 18600 w 8193114"/>
              <a:gd name="connsiteY6" fmla="*/ 3308675 h 5915952"/>
              <a:gd name="connsiteX7" fmla="*/ 0 w 8193114"/>
              <a:gd name="connsiteY7" fmla="*/ 168630 h 5915952"/>
              <a:gd name="connsiteX8" fmla="*/ 276546 w 8193114"/>
              <a:gd name="connsiteY8" fmla="*/ 33372 h 5915952"/>
              <a:gd name="connsiteX0" fmla="*/ 276546 w 8193114"/>
              <a:gd name="connsiteY0" fmla="*/ 14294 h 5896874"/>
              <a:gd name="connsiteX1" fmla="*/ 8185691 w 8193114"/>
              <a:gd name="connsiteY1" fmla="*/ 1988041 h 5896874"/>
              <a:gd name="connsiteX2" fmla="*/ 8193114 w 8193114"/>
              <a:gd name="connsiteY2" fmla="*/ 4033350 h 5896874"/>
              <a:gd name="connsiteX3" fmla="*/ 6899139 w 8193114"/>
              <a:gd name="connsiteY3" fmla="*/ 5896874 h 5896874"/>
              <a:gd name="connsiteX4" fmla="*/ 2123577 w 8193114"/>
              <a:gd name="connsiteY4" fmla="*/ 5883665 h 5896874"/>
              <a:gd name="connsiteX5" fmla="*/ 309020 w 8193114"/>
              <a:gd name="connsiteY5" fmla="*/ 3818647 h 5896874"/>
              <a:gd name="connsiteX6" fmla="*/ 18600 w 8193114"/>
              <a:gd name="connsiteY6" fmla="*/ 3289597 h 5896874"/>
              <a:gd name="connsiteX7" fmla="*/ 0 w 8193114"/>
              <a:gd name="connsiteY7" fmla="*/ 149552 h 5896874"/>
              <a:gd name="connsiteX8" fmla="*/ 276546 w 8193114"/>
              <a:gd name="connsiteY8" fmla="*/ 14294 h 5896874"/>
              <a:gd name="connsiteX0" fmla="*/ 276546 w 8193114"/>
              <a:gd name="connsiteY0" fmla="*/ 20586 h 5903166"/>
              <a:gd name="connsiteX1" fmla="*/ 8185691 w 8193114"/>
              <a:gd name="connsiteY1" fmla="*/ 1994333 h 5903166"/>
              <a:gd name="connsiteX2" fmla="*/ 8193114 w 8193114"/>
              <a:gd name="connsiteY2" fmla="*/ 4039642 h 5903166"/>
              <a:gd name="connsiteX3" fmla="*/ 6899139 w 8193114"/>
              <a:gd name="connsiteY3" fmla="*/ 5903166 h 5903166"/>
              <a:gd name="connsiteX4" fmla="*/ 2123577 w 8193114"/>
              <a:gd name="connsiteY4" fmla="*/ 5889957 h 5903166"/>
              <a:gd name="connsiteX5" fmla="*/ 309020 w 8193114"/>
              <a:gd name="connsiteY5" fmla="*/ 3824939 h 5903166"/>
              <a:gd name="connsiteX6" fmla="*/ 18600 w 8193114"/>
              <a:gd name="connsiteY6" fmla="*/ 3295889 h 5903166"/>
              <a:gd name="connsiteX7" fmla="*/ 0 w 8193114"/>
              <a:gd name="connsiteY7" fmla="*/ 155844 h 5903166"/>
              <a:gd name="connsiteX8" fmla="*/ 276546 w 8193114"/>
              <a:gd name="connsiteY8" fmla="*/ 20586 h 5903166"/>
              <a:gd name="connsiteX0" fmla="*/ 276546 w 8193114"/>
              <a:gd name="connsiteY0" fmla="*/ 20586 h 5903166"/>
              <a:gd name="connsiteX1" fmla="*/ 8185691 w 8193114"/>
              <a:gd name="connsiteY1" fmla="*/ 1994333 h 5903166"/>
              <a:gd name="connsiteX2" fmla="*/ 8193114 w 8193114"/>
              <a:gd name="connsiteY2" fmla="*/ 4039642 h 5903166"/>
              <a:gd name="connsiteX3" fmla="*/ 6899139 w 8193114"/>
              <a:gd name="connsiteY3" fmla="*/ 5903166 h 5903166"/>
              <a:gd name="connsiteX4" fmla="*/ 2123577 w 8193114"/>
              <a:gd name="connsiteY4" fmla="*/ 5889957 h 5903166"/>
              <a:gd name="connsiteX5" fmla="*/ 309020 w 8193114"/>
              <a:gd name="connsiteY5" fmla="*/ 3824939 h 5903166"/>
              <a:gd name="connsiteX6" fmla="*/ 18600 w 8193114"/>
              <a:gd name="connsiteY6" fmla="*/ 3295889 h 5903166"/>
              <a:gd name="connsiteX7" fmla="*/ 0 w 8193114"/>
              <a:gd name="connsiteY7" fmla="*/ 155844 h 5903166"/>
              <a:gd name="connsiteX8" fmla="*/ 276546 w 8193114"/>
              <a:gd name="connsiteY8" fmla="*/ 20586 h 5903166"/>
              <a:gd name="connsiteX0" fmla="*/ 276546 w 8193114"/>
              <a:gd name="connsiteY0" fmla="*/ 62247 h 5944827"/>
              <a:gd name="connsiteX1" fmla="*/ 8185691 w 8193114"/>
              <a:gd name="connsiteY1" fmla="*/ 2035994 h 5944827"/>
              <a:gd name="connsiteX2" fmla="*/ 8193114 w 8193114"/>
              <a:gd name="connsiteY2" fmla="*/ 4081303 h 5944827"/>
              <a:gd name="connsiteX3" fmla="*/ 6899139 w 8193114"/>
              <a:gd name="connsiteY3" fmla="*/ 5944827 h 5944827"/>
              <a:gd name="connsiteX4" fmla="*/ 2123577 w 8193114"/>
              <a:gd name="connsiteY4" fmla="*/ 5931618 h 5944827"/>
              <a:gd name="connsiteX5" fmla="*/ 309020 w 8193114"/>
              <a:gd name="connsiteY5" fmla="*/ 3866600 h 5944827"/>
              <a:gd name="connsiteX6" fmla="*/ 18600 w 8193114"/>
              <a:gd name="connsiteY6" fmla="*/ 3337550 h 5944827"/>
              <a:gd name="connsiteX7" fmla="*/ 0 w 8193114"/>
              <a:gd name="connsiteY7" fmla="*/ 197505 h 5944827"/>
              <a:gd name="connsiteX8" fmla="*/ 276546 w 8193114"/>
              <a:gd name="connsiteY8" fmla="*/ 62247 h 5944827"/>
              <a:gd name="connsiteX0" fmla="*/ 276546 w 8193114"/>
              <a:gd name="connsiteY0" fmla="*/ 17865 h 5900445"/>
              <a:gd name="connsiteX1" fmla="*/ 8185691 w 8193114"/>
              <a:gd name="connsiteY1" fmla="*/ 1991612 h 5900445"/>
              <a:gd name="connsiteX2" fmla="*/ 8193114 w 8193114"/>
              <a:gd name="connsiteY2" fmla="*/ 4036921 h 5900445"/>
              <a:gd name="connsiteX3" fmla="*/ 6899139 w 8193114"/>
              <a:gd name="connsiteY3" fmla="*/ 5900445 h 5900445"/>
              <a:gd name="connsiteX4" fmla="*/ 2123577 w 8193114"/>
              <a:gd name="connsiteY4" fmla="*/ 5887236 h 5900445"/>
              <a:gd name="connsiteX5" fmla="*/ 309020 w 8193114"/>
              <a:gd name="connsiteY5" fmla="*/ 3822218 h 5900445"/>
              <a:gd name="connsiteX6" fmla="*/ 18600 w 8193114"/>
              <a:gd name="connsiteY6" fmla="*/ 3293168 h 5900445"/>
              <a:gd name="connsiteX7" fmla="*/ 0 w 8193114"/>
              <a:gd name="connsiteY7" fmla="*/ 153123 h 5900445"/>
              <a:gd name="connsiteX8" fmla="*/ 276546 w 8193114"/>
              <a:gd name="connsiteY8" fmla="*/ 17865 h 5900445"/>
              <a:gd name="connsiteX0" fmla="*/ 276546 w 8193114"/>
              <a:gd name="connsiteY0" fmla="*/ 17865 h 5900445"/>
              <a:gd name="connsiteX1" fmla="*/ 8185691 w 8193114"/>
              <a:gd name="connsiteY1" fmla="*/ 1991612 h 5900445"/>
              <a:gd name="connsiteX2" fmla="*/ 8193114 w 8193114"/>
              <a:gd name="connsiteY2" fmla="*/ 4036921 h 5900445"/>
              <a:gd name="connsiteX3" fmla="*/ 6899139 w 8193114"/>
              <a:gd name="connsiteY3" fmla="*/ 5900445 h 5900445"/>
              <a:gd name="connsiteX4" fmla="*/ 2123577 w 8193114"/>
              <a:gd name="connsiteY4" fmla="*/ 5887236 h 5900445"/>
              <a:gd name="connsiteX5" fmla="*/ 309020 w 8193114"/>
              <a:gd name="connsiteY5" fmla="*/ 3822218 h 5900445"/>
              <a:gd name="connsiteX6" fmla="*/ 18600 w 8193114"/>
              <a:gd name="connsiteY6" fmla="*/ 3293168 h 5900445"/>
              <a:gd name="connsiteX7" fmla="*/ 0 w 8193114"/>
              <a:gd name="connsiteY7" fmla="*/ 153123 h 5900445"/>
              <a:gd name="connsiteX8" fmla="*/ 276546 w 8193114"/>
              <a:gd name="connsiteY8" fmla="*/ 17865 h 5900445"/>
              <a:gd name="connsiteX0" fmla="*/ 276546 w 8193114"/>
              <a:gd name="connsiteY0" fmla="*/ 17865 h 5900445"/>
              <a:gd name="connsiteX1" fmla="*/ 8185691 w 8193114"/>
              <a:gd name="connsiteY1" fmla="*/ 1991612 h 5900445"/>
              <a:gd name="connsiteX2" fmla="*/ 8193114 w 8193114"/>
              <a:gd name="connsiteY2" fmla="*/ 4036921 h 5900445"/>
              <a:gd name="connsiteX3" fmla="*/ 6899139 w 8193114"/>
              <a:gd name="connsiteY3" fmla="*/ 5900445 h 5900445"/>
              <a:gd name="connsiteX4" fmla="*/ 2123577 w 8193114"/>
              <a:gd name="connsiteY4" fmla="*/ 5887236 h 5900445"/>
              <a:gd name="connsiteX5" fmla="*/ 309020 w 8193114"/>
              <a:gd name="connsiteY5" fmla="*/ 3822218 h 5900445"/>
              <a:gd name="connsiteX6" fmla="*/ 18600 w 8193114"/>
              <a:gd name="connsiteY6" fmla="*/ 3293168 h 5900445"/>
              <a:gd name="connsiteX7" fmla="*/ 0 w 8193114"/>
              <a:gd name="connsiteY7" fmla="*/ 153123 h 5900445"/>
              <a:gd name="connsiteX8" fmla="*/ 276546 w 8193114"/>
              <a:gd name="connsiteY8" fmla="*/ 17865 h 5900445"/>
              <a:gd name="connsiteX0" fmla="*/ 276546 w 8193114"/>
              <a:gd name="connsiteY0" fmla="*/ 14556 h 5897136"/>
              <a:gd name="connsiteX1" fmla="*/ 8185691 w 8193114"/>
              <a:gd name="connsiteY1" fmla="*/ 1988303 h 5897136"/>
              <a:gd name="connsiteX2" fmla="*/ 8193114 w 8193114"/>
              <a:gd name="connsiteY2" fmla="*/ 4033612 h 5897136"/>
              <a:gd name="connsiteX3" fmla="*/ 6899139 w 8193114"/>
              <a:gd name="connsiteY3" fmla="*/ 5897136 h 5897136"/>
              <a:gd name="connsiteX4" fmla="*/ 2123577 w 8193114"/>
              <a:gd name="connsiteY4" fmla="*/ 5883927 h 5897136"/>
              <a:gd name="connsiteX5" fmla="*/ 309020 w 8193114"/>
              <a:gd name="connsiteY5" fmla="*/ 3818909 h 5897136"/>
              <a:gd name="connsiteX6" fmla="*/ 18600 w 8193114"/>
              <a:gd name="connsiteY6" fmla="*/ 3289859 h 5897136"/>
              <a:gd name="connsiteX7" fmla="*/ 0 w 8193114"/>
              <a:gd name="connsiteY7" fmla="*/ 149814 h 5897136"/>
              <a:gd name="connsiteX8" fmla="*/ 276546 w 8193114"/>
              <a:gd name="connsiteY8" fmla="*/ 14556 h 5897136"/>
              <a:gd name="connsiteX0" fmla="*/ 276546 w 8193114"/>
              <a:gd name="connsiteY0" fmla="*/ 14556 h 5897136"/>
              <a:gd name="connsiteX1" fmla="*/ 8185691 w 8193114"/>
              <a:gd name="connsiteY1" fmla="*/ 1988303 h 5897136"/>
              <a:gd name="connsiteX2" fmla="*/ 8193114 w 8193114"/>
              <a:gd name="connsiteY2" fmla="*/ 4033612 h 5897136"/>
              <a:gd name="connsiteX3" fmla="*/ 6899139 w 8193114"/>
              <a:gd name="connsiteY3" fmla="*/ 5897136 h 5897136"/>
              <a:gd name="connsiteX4" fmla="*/ 2123577 w 8193114"/>
              <a:gd name="connsiteY4" fmla="*/ 5883927 h 5897136"/>
              <a:gd name="connsiteX5" fmla="*/ 309020 w 8193114"/>
              <a:gd name="connsiteY5" fmla="*/ 3818909 h 5897136"/>
              <a:gd name="connsiteX6" fmla="*/ 18600 w 8193114"/>
              <a:gd name="connsiteY6" fmla="*/ 3289859 h 5897136"/>
              <a:gd name="connsiteX7" fmla="*/ 0 w 8193114"/>
              <a:gd name="connsiteY7" fmla="*/ 149814 h 5897136"/>
              <a:gd name="connsiteX8" fmla="*/ 276546 w 8193114"/>
              <a:gd name="connsiteY8" fmla="*/ 14556 h 5897136"/>
              <a:gd name="connsiteX0" fmla="*/ 270196 w 8193114"/>
              <a:gd name="connsiteY0" fmla="*/ 13136 h 5908416"/>
              <a:gd name="connsiteX1" fmla="*/ 8185691 w 8193114"/>
              <a:gd name="connsiteY1" fmla="*/ 1999583 h 5908416"/>
              <a:gd name="connsiteX2" fmla="*/ 8193114 w 8193114"/>
              <a:gd name="connsiteY2" fmla="*/ 4044892 h 5908416"/>
              <a:gd name="connsiteX3" fmla="*/ 6899139 w 8193114"/>
              <a:gd name="connsiteY3" fmla="*/ 5908416 h 5908416"/>
              <a:gd name="connsiteX4" fmla="*/ 2123577 w 8193114"/>
              <a:gd name="connsiteY4" fmla="*/ 5895207 h 5908416"/>
              <a:gd name="connsiteX5" fmla="*/ 309020 w 8193114"/>
              <a:gd name="connsiteY5" fmla="*/ 3830189 h 5908416"/>
              <a:gd name="connsiteX6" fmla="*/ 18600 w 8193114"/>
              <a:gd name="connsiteY6" fmla="*/ 3301139 h 5908416"/>
              <a:gd name="connsiteX7" fmla="*/ 0 w 8193114"/>
              <a:gd name="connsiteY7" fmla="*/ 161094 h 5908416"/>
              <a:gd name="connsiteX8" fmla="*/ 270196 w 8193114"/>
              <a:gd name="connsiteY8" fmla="*/ 13136 h 5908416"/>
              <a:gd name="connsiteX0" fmla="*/ 270196 w 8193114"/>
              <a:gd name="connsiteY0" fmla="*/ 8433 h 5903713"/>
              <a:gd name="connsiteX1" fmla="*/ 8185691 w 8193114"/>
              <a:gd name="connsiteY1" fmla="*/ 1994880 h 5903713"/>
              <a:gd name="connsiteX2" fmla="*/ 8193114 w 8193114"/>
              <a:gd name="connsiteY2" fmla="*/ 4040189 h 5903713"/>
              <a:gd name="connsiteX3" fmla="*/ 6899139 w 8193114"/>
              <a:gd name="connsiteY3" fmla="*/ 5903713 h 5903713"/>
              <a:gd name="connsiteX4" fmla="*/ 2123577 w 8193114"/>
              <a:gd name="connsiteY4" fmla="*/ 5890504 h 5903713"/>
              <a:gd name="connsiteX5" fmla="*/ 309020 w 8193114"/>
              <a:gd name="connsiteY5" fmla="*/ 3825486 h 5903713"/>
              <a:gd name="connsiteX6" fmla="*/ 18600 w 8193114"/>
              <a:gd name="connsiteY6" fmla="*/ 3296436 h 5903713"/>
              <a:gd name="connsiteX7" fmla="*/ 0 w 8193114"/>
              <a:gd name="connsiteY7" fmla="*/ 156391 h 5903713"/>
              <a:gd name="connsiteX8" fmla="*/ 270196 w 8193114"/>
              <a:gd name="connsiteY8" fmla="*/ 8433 h 5903713"/>
              <a:gd name="connsiteX0" fmla="*/ 270196 w 8186251"/>
              <a:gd name="connsiteY0" fmla="*/ 8433 h 5903713"/>
              <a:gd name="connsiteX1" fmla="*/ 8185691 w 8186251"/>
              <a:gd name="connsiteY1" fmla="*/ 1994880 h 5903713"/>
              <a:gd name="connsiteX2" fmla="*/ 8183970 w 8186251"/>
              <a:gd name="connsiteY2" fmla="*/ 4104197 h 5903713"/>
              <a:gd name="connsiteX3" fmla="*/ 6899139 w 8186251"/>
              <a:gd name="connsiteY3" fmla="*/ 5903713 h 5903713"/>
              <a:gd name="connsiteX4" fmla="*/ 2123577 w 8186251"/>
              <a:gd name="connsiteY4" fmla="*/ 5890504 h 5903713"/>
              <a:gd name="connsiteX5" fmla="*/ 309020 w 8186251"/>
              <a:gd name="connsiteY5" fmla="*/ 3825486 h 5903713"/>
              <a:gd name="connsiteX6" fmla="*/ 18600 w 8186251"/>
              <a:gd name="connsiteY6" fmla="*/ 3296436 h 5903713"/>
              <a:gd name="connsiteX7" fmla="*/ 0 w 8186251"/>
              <a:gd name="connsiteY7" fmla="*/ 156391 h 5903713"/>
              <a:gd name="connsiteX8" fmla="*/ 270196 w 8186251"/>
              <a:gd name="connsiteY8" fmla="*/ 8433 h 5903713"/>
              <a:gd name="connsiteX0" fmla="*/ 270196 w 8186251"/>
              <a:gd name="connsiteY0" fmla="*/ 8433 h 5903713"/>
              <a:gd name="connsiteX1" fmla="*/ 8185691 w 8186251"/>
              <a:gd name="connsiteY1" fmla="*/ 1994880 h 5903713"/>
              <a:gd name="connsiteX2" fmla="*/ 8183970 w 8186251"/>
              <a:gd name="connsiteY2" fmla="*/ 4104197 h 5903713"/>
              <a:gd name="connsiteX3" fmla="*/ 6899139 w 8186251"/>
              <a:gd name="connsiteY3" fmla="*/ 5903713 h 5903713"/>
              <a:gd name="connsiteX4" fmla="*/ 1835577 w 8186251"/>
              <a:gd name="connsiteY4" fmla="*/ 5559304 h 5903713"/>
              <a:gd name="connsiteX5" fmla="*/ 309020 w 8186251"/>
              <a:gd name="connsiteY5" fmla="*/ 3825486 h 5903713"/>
              <a:gd name="connsiteX6" fmla="*/ 18600 w 8186251"/>
              <a:gd name="connsiteY6" fmla="*/ 3296436 h 5903713"/>
              <a:gd name="connsiteX7" fmla="*/ 0 w 8186251"/>
              <a:gd name="connsiteY7" fmla="*/ 156391 h 5903713"/>
              <a:gd name="connsiteX8" fmla="*/ 270196 w 8186251"/>
              <a:gd name="connsiteY8" fmla="*/ 8433 h 5903713"/>
              <a:gd name="connsiteX0" fmla="*/ 270196 w 8186251"/>
              <a:gd name="connsiteY0" fmla="*/ 8433 h 5579713"/>
              <a:gd name="connsiteX1" fmla="*/ 8185691 w 8186251"/>
              <a:gd name="connsiteY1" fmla="*/ 1994880 h 5579713"/>
              <a:gd name="connsiteX2" fmla="*/ 8183970 w 8186251"/>
              <a:gd name="connsiteY2" fmla="*/ 4104197 h 5579713"/>
              <a:gd name="connsiteX3" fmla="*/ 7136739 w 8186251"/>
              <a:gd name="connsiteY3" fmla="*/ 5579713 h 5579713"/>
              <a:gd name="connsiteX4" fmla="*/ 1835577 w 8186251"/>
              <a:gd name="connsiteY4" fmla="*/ 5559304 h 5579713"/>
              <a:gd name="connsiteX5" fmla="*/ 309020 w 8186251"/>
              <a:gd name="connsiteY5" fmla="*/ 3825486 h 5579713"/>
              <a:gd name="connsiteX6" fmla="*/ 18600 w 8186251"/>
              <a:gd name="connsiteY6" fmla="*/ 3296436 h 5579713"/>
              <a:gd name="connsiteX7" fmla="*/ 0 w 8186251"/>
              <a:gd name="connsiteY7" fmla="*/ 156391 h 5579713"/>
              <a:gd name="connsiteX8" fmla="*/ 270196 w 8186251"/>
              <a:gd name="connsiteY8" fmla="*/ 8433 h 5579713"/>
              <a:gd name="connsiteX0" fmla="*/ 270196 w 8183970"/>
              <a:gd name="connsiteY0" fmla="*/ 8433 h 5579713"/>
              <a:gd name="connsiteX1" fmla="*/ 7948091 w 8183970"/>
              <a:gd name="connsiteY1" fmla="*/ 1937280 h 5579713"/>
              <a:gd name="connsiteX2" fmla="*/ 8183970 w 8183970"/>
              <a:gd name="connsiteY2" fmla="*/ 4104197 h 5579713"/>
              <a:gd name="connsiteX3" fmla="*/ 7136739 w 8183970"/>
              <a:gd name="connsiteY3" fmla="*/ 5579713 h 5579713"/>
              <a:gd name="connsiteX4" fmla="*/ 1835577 w 8183970"/>
              <a:gd name="connsiteY4" fmla="*/ 5559304 h 5579713"/>
              <a:gd name="connsiteX5" fmla="*/ 309020 w 8183970"/>
              <a:gd name="connsiteY5" fmla="*/ 3825486 h 5579713"/>
              <a:gd name="connsiteX6" fmla="*/ 18600 w 8183970"/>
              <a:gd name="connsiteY6" fmla="*/ 3296436 h 5579713"/>
              <a:gd name="connsiteX7" fmla="*/ 0 w 8183970"/>
              <a:gd name="connsiteY7" fmla="*/ 156391 h 5579713"/>
              <a:gd name="connsiteX8" fmla="*/ 270196 w 8183970"/>
              <a:gd name="connsiteY8" fmla="*/ 8433 h 5579713"/>
              <a:gd name="connsiteX0" fmla="*/ 270196 w 7960770"/>
              <a:gd name="connsiteY0" fmla="*/ 8433 h 5579713"/>
              <a:gd name="connsiteX1" fmla="*/ 7948091 w 7960770"/>
              <a:gd name="connsiteY1" fmla="*/ 1937280 h 5579713"/>
              <a:gd name="connsiteX2" fmla="*/ 7960770 w 7960770"/>
              <a:gd name="connsiteY2" fmla="*/ 4428197 h 5579713"/>
              <a:gd name="connsiteX3" fmla="*/ 7136739 w 7960770"/>
              <a:gd name="connsiteY3" fmla="*/ 5579713 h 5579713"/>
              <a:gd name="connsiteX4" fmla="*/ 1835577 w 7960770"/>
              <a:gd name="connsiteY4" fmla="*/ 5559304 h 5579713"/>
              <a:gd name="connsiteX5" fmla="*/ 309020 w 7960770"/>
              <a:gd name="connsiteY5" fmla="*/ 3825486 h 5579713"/>
              <a:gd name="connsiteX6" fmla="*/ 18600 w 7960770"/>
              <a:gd name="connsiteY6" fmla="*/ 3296436 h 5579713"/>
              <a:gd name="connsiteX7" fmla="*/ 0 w 7960770"/>
              <a:gd name="connsiteY7" fmla="*/ 156391 h 5579713"/>
              <a:gd name="connsiteX8" fmla="*/ 270196 w 7960770"/>
              <a:gd name="connsiteY8" fmla="*/ 8433 h 5579713"/>
              <a:gd name="connsiteX0" fmla="*/ 270196 w 7960770"/>
              <a:gd name="connsiteY0" fmla="*/ 8433 h 5579713"/>
              <a:gd name="connsiteX1" fmla="*/ 7948091 w 7960770"/>
              <a:gd name="connsiteY1" fmla="*/ 1937280 h 5579713"/>
              <a:gd name="connsiteX2" fmla="*/ 7960770 w 7960770"/>
              <a:gd name="connsiteY2" fmla="*/ 4428197 h 5579713"/>
              <a:gd name="connsiteX3" fmla="*/ 7136739 w 7960770"/>
              <a:gd name="connsiteY3" fmla="*/ 5579713 h 5579713"/>
              <a:gd name="connsiteX4" fmla="*/ 1694175 w 7960770"/>
              <a:gd name="connsiteY4" fmla="*/ 5380195 h 5579713"/>
              <a:gd name="connsiteX5" fmla="*/ 309020 w 7960770"/>
              <a:gd name="connsiteY5" fmla="*/ 3825486 h 5579713"/>
              <a:gd name="connsiteX6" fmla="*/ 18600 w 7960770"/>
              <a:gd name="connsiteY6" fmla="*/ 3296436 h 5579713"/>
              <a:gd name="connsiteX7" fmla="*/ 0 w 7960770"/>
              <a:gd name="connsiteY7" fmla="*/ 156391 h 5579713"/>
              <a:gd name="connsiteX8" fmla="*/ 270196 w 7960770"/>
              <a:gd name="connsiteY8" fmla="*/ 8433 h 5579713"/>
              <a:gd name="connsiteX0" fmla="*/ 270196 w 7960770"/>
              <a:gd name="connsiteY0" fmla="*/ 8433 h 5400604"/>
              <a:gd name="connsiteX1" fmla="*/ 7948091 w 7960770"/>
              <a:gd name="connsiteY1" fmla="*/ 1937280 h 5400604"/>
              <a:gd name="connsiteX2" fmla="*/ 7960770 w 7960770"/>
              <a:gd name="connsiteY2" fmla="*/ 4428197 h 5400604"/>
              <a:gd name="connsiteX3" fmla="*/ 7268714 w 7960770"/>
              <a:gd name="connsiteY3" fmla="*/ 5400604 h 5400604"/>
              <a:gd name="connsiteX4" fmla="*/ 1694175 w 7960770"/>
              <a:gd name="connsiteY4" fmla="*/ 5380195 h 5400604"/>
              <a:gd name="connsiteX5" fmla="*/ 309020 w 7960770"/>
              <a:gd name="connsiteY5" fmla="*/ 3825486 h 5400604"/>
              <a:gd name="connsiteX6" fmla="*/ 18600 w 7960770"/>
              <a:gd name="connsiteY6" fmla="*/ 3296436 h 5400604"/>
              <a:gd name="connsiteX7" fmla="*/ 0 w 7960770"/>
              <a:gd name="connsiteY7" fmla="*/ 156391 h 5400604"/>
              <a:gd name="connsiteX8" fmla="*/ 270196 w 7960770"/>
              <a:gd name="connsiteY8" fmla="*/ 8433 h 540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60770" h="5400604">
                <a:moveTo>
                  <a:pt x="270196" y="8433"/>
                </a:moveTo>
                <a:lnTo>
                  <a:pt x="7948091" y="1937280"/>
                </a:lnTo>
                <a:cubicBezTo>
                  <a:pt x="7950565" y="2615737"/>
                  <a:pt x="7958296" y="3749740"/>
                  <a:pt x="7960770" y="4428197"/>
                </a:cubicBezTo>
                <a:lnTo>
                  <a:pt x="7268714" y="5400604"/>
                </a:lnTo>
                <a:lnTo>
                  <a:pt x="1694175" y="5380195"/>
                </a:lnTo>
                <a:lnTo>
                  <a:pt x="309020" y="3825486"/>
                </a:lnTo>
                <a:cubicBezTo>
                  <a:pt x="58218" y="3553257"/>
                  <a:pt x="36245" y="3529933"/>
                  <a:pt x="18600" y="3296436"/>
                </a:cubicBezTo>
                <a:cubicBezTo>
                  <a:pt x="12400" y="2249754"/>
                  <a:pt x="6200" y="917323"/>
                  <a:pt x="0" y="156391"/>
                </a:cubicBezTo>
                <a:cubicBezTo>
                  <a:pt x="22536" y="40840"/>
                  <a:pt x="70892" y="-24258"/>
                  <a:pt x="270196" y="8433"/>
                </a:cubicBezTo>
                <a:close/>
              </a:path>
            </a:pathLst>
          </a:custGeom>
          <a:blipFill>
            <a:blip r:embed="rId4"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2" name="Slide Number Placeholder 2">
            <a:extLst>
              <a:ext uri="{FF2B5EF4-FFF2-40B4-BE49-F238E27FC236}">
                <a16:creationId xmlns:a16="http://schemas.microsoft.com/office/drawing/2014/main" id="{ECE0D60F-CD43-EA41-8A59-26285821A678}"/>
              </a:ext>
            </a:extLst>
          </p:cNvPr>
          <p:cNvSpPr>
            <a:spLocks noGrp="1"/>
          </p:cNvSpPr>
          <p:nvPr>
            <p:ph type="sldNum" sz="quarter" idx="10"/>
          </p:nvPr>
        </p:nvSpPr>
        <p:spPr>
          <a:xfrm>
            <a:off x="359999" y="6264872"/>
            <a:ext cx="360000" cy="360000"/>
          </a:xfrm>
          <a:prstGeom prst="rect">
            <a:avLst/>
          </a:prstGeom>
        </p:spPr>
        <p:txBody>
          <a:bodyPr/>
          <a:lstStyle>
            <a:lvl1pPr>
              <a:defRPr>
                <a:solidFill>
                  <a:schemeClr val="bg1"/>
                </a:solidFill>
              </a:defRPr>
            </a:lvl1pPr>
          </a:lstStyle>
          <a:p>
            <a:fld id="{52BD4378-72E1-444F-8B73-E4C8D03E6D72}" type="slidenum">
              <a:rPr lang="en-MY" smtClean="0"/>
              <a:t>‹#›</a:t>
            </a:fld>
            <a:endParaRPr lang="en-MY"/>
          </a:p>
        </p:txBody>
      </p:sp>
      <p:sp>
        <p:nvSpPr>
          <p:cNvPr id="23" name="Slide Number Placeholder 5">
            <a:extLst>
              <a:ext uri="{FF2B5EF4-FFF2-40B4-BE49-F238E27FC236}">
                <a16:creationId xmlns:a16="http://schemas.microsoft.com/office/drawing/2014/main" id="{DA96A7F3-076E-B54D-817B-35746EEE8F42}"/>
              </a:ext>
            </a:extLst>
          </p:cNvPr>
          <p:cNvSpPr txBox="1">
            <a:spLocks/>
          </p:cNvSpPr>
          <p:nvPr/>
        </p:nvSpPr>
        <p:spPr>
          <a:xfrm>
            <a:off x="359999" y="6264872"/>
            <a:ext cx="360000" cy="360000"/>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8A41853-EF22-D446-BDBC-A7CF3FE93503}" type="slidenum">
              <a:rPr lang="en-US" smtClean="0">
                <a:solidFill>
                  <a:schemeClr val="bg1"/>
                </a:solidFill>
              </a:rPr>
              <a:pPr/>
              <a:t>‹#›</a:t>
            </a:fld>
            <a:endParaRPr lang="en-US">
              <a:solidFill>
                <a:schemeClr val="bg1"/>
              </a:solidFill>
            </a:endParaRPr>
          </a:p>
        </p:txBody>
      </p:sp>
      <p:sp>
        <p:nvSpPr>
          <p:cNvPr id="12" name="TextBox 11">
            <a:extLst>
              <a:ext uri="{FF2B5EF4-FFF2-40B4-BE49-F238E27FC236}">
                <a16:creationId xmlns:a16="http://schemas.microsoft.com/office/drawing/2014/main" id="{609D1CEA-B97E-D544-AC6A-5F0AE5FC8F73}"/>
              </a:ext>
            </a:extLst>
          </p:cNvPr>
          <p:cNvSpPr txBox="1"/>
          <p:nvPr/>
        </p:nvSpPr>
        <p:spPr>
          <a:xfrm>
            <a:off x="720000" y="6336000"/>
            <a:ext cx="5400000" cy="216000"/>
          </a:xfrm>
          <a:prstGeom prst="rect">
            <a:avLst/>
          </a:prstGeom>
          <a:noFill/>
        </p:spPr>
        <p:txBody>
          <a:bodyPr wrap="square" lIns="90000" rtlCol="0" anchor="ctr" anchorCtr="0">
            <a:spAutoFit/>
          </a:bodyPr>
          <a:lstStyle/>
          <a:p>
            <a:r>
              <a:rPr lang="en-GB" sz="800">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endParaRPr lang="en-US" sz="800" b="0">
              <a:solidFill>
                <a:schemeClr val="bg1"/>
              </a:solidFill>
            </a:endParaRPr>
          </a:p>
        </p:txBody>
      </p:sp>
      <p:sp>
        <p:nvSpPr>
          <p:cNvPr id="10" name="TextBox 9">
            <a:extLst>
              <a:ext uri="{FF2B5EF4-FFF2-40B4-BE49-F238E27FC236}">
                <a16:creationId xmlns:a16="http://schemas.microsoft.com/office/drawing/2014/main" id="{11A0048E-79BF-A049-B68B-C56670BF0E5D}"/>
              </a:ext>
            </a:extLst>
          </p:cNvPr>
          <p:cNvSpPr txBox="1"/>
          <p:nvPr/>
        </p:nvSpPr>
        <p:spPr>
          <a:xfrm>
            <a:off x="-1170000" y="2440557"/>
            <a:ext cx="1052488" cy="1785104"/>
          </a:xfrm>
          <a:prstGeom prst="rect">
            <a:avLst/>
          </a:prstGeom>
          <a:solidFill>
            <a:schemeClr val="bg1"/>
          </a:solidFill>
        </p:spPr>
        <p:txBody>
          <a:bodyPr wrap="square" rtlCol="0">
            <a:spAutoFit/>
          </a:bodyPr>
          <a:lstStyle/>
          <a:p>
            <a:pPr algn="l"/>
            <a:r>
              <a:rPr lang="en-US" sz="1000">
                <a:solidFill>
                  <a:srgbClr val="333D47"/>
                </a:solidFill>
                <a:latin typeface="Arial" panose="020B0604020202020204" pitchFamily="34" charset="0"/>
                <a:cs typeface="Arial" panose="020B0604020202020204" pitchFamily="34" charset="0"/>
              </a:rPr>
              <a:t>The image can be replaced here and master view</a:t>
            </a:r>
          </a:p>
          <a:p>
            <a:pPr algn="l"/>
            <a:endParaRPr lang="en-US" sz="1000">
              <a:solidFill>
                <a:srgbClr val="333D47"/>
              </a:solidFill>
              <a:latin typeface="Arial" panose="020B0604020202020204" pitchFamily="34" charset="0"/>
              <a:cs typeface="Arial" panose="020B0604020202020204" pitchFamily="34" charset="0"/>
            </a:endParaRPr>
          </a:p>
          <a:p>
            <a:pPr algn="l"/>
            <a:r>
              <a:rPr lang="en-GB" sz="1000">
                <a:latin typeface="Helvetica Neue" panose="02000503000000020004" pitchFamily="2" charset="0"/>
              </a:rPr>
              <a:t>Please </a:t>
            </a:r>
            <a:r>
              <a:rPr lang="en-GB" sz="1000" b="1">
                <a:latin typeface="Helvetica Neue" panose="02000503000000020004" pitchFamily="2" charset="0"/>
              </a:rPr>
              <a:t>do not </a:t>
            </a:r>
            <a:r>
              <a:rPr lang="en-GB" sz="1000">
                <a:latin typeface="Helvetica Neue" panose="02000503000000020004" pitchFamily="2" charset="0"/>
              </a:rPr>
              <a:t>use any internal photo competition participants’ images</a:t>
            </a:r>
            <a:endParaRPr lang="en-US" sz="1000">
              <a:solidFill>
                <a:srgbClr val="333D47"/>
              </a:solidFill>
            </a:endParaRPr>
          </a:p>
        </p:txBody>
      </p:sp>
      <p:pic>
        <p:nvPicPr>
          <p:cNvPr id="13" name="Graphic 12">
            <a:extLst>
              <a:ext uri="{FF2B5EF4-FFF2-40B4-BE49-F238E27FC236}">
                <a16:creationId xmlns:a16="http://schemas.microsoft.com/office/drawing/2014/main" id="{2863ABB7-5747-0E4C-AA4F-367253C37E8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0000" y="360000"/>
            <a:ext cx="1828800" cy="660400"/>
          </a:xfrm>
          <a:prstGeom prst="rect">
            <a:avLst/>
          </a:prstGeom>
        </p:spPr>
      </p:pic>
    </p:spTree>
    <p:extLst>
      <p:ext uri="{BB962C8B-B14F-4D97-AF65-F5344CB8AC3E}">
        <p14:creationId xmlns:p14="http://schemas.microsoft.com/office/powerpoint/2010/main" val="347815699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56315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802485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8247750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210564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63863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3656998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59890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85540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114"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628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516832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11782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IA_Copy_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0FC5B1-0391-3048-AC42-6AF691245D10}"/>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F8B2A7D5-49A2-7C45-BA2B-85747CF00801}"/>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13760" b="26020"/>
          <a:stretch/>
        </p:blipFill>
        <p:spPr>
          <a:xfrm flipH="1">
            <a:off x="8928170" y="2968265"/>
            <a:ext cx="3263830" cy="3889735"/>
          </a:xfrm>
          <a:prstGeom prst="rect">
            <a:avLst/>
          </a:prstGeom>
        </p:spPr>
      </p:pic>
      <p:sp>
        <p:nvSpPr>
          <p:cNvPr id="10" name="Slide Number Placeholder 2">
            <a:extLst>
              <a:ext uri="{FF2B5EF4-FFF2-40B4-BE49-F238E27FC236}">
                <a16:creationId xmlns:a16="http://schemas.microsoft.com/office/drawing/2014/main" id="{15BCC1E8-DBEF-AF43-A596-2EDF3509C7F3}"/>
              </a:ext>
            </a:extLst>
          </p:cNvPr>
          <p:cNvSpPr>
            <a:spLocks noGrp="1"/>
          </p:cNvSpPr>
          <p:nvPr>
            <p:ph type="sldNum" sz="quarter" idx="13"/>
          </p:nvPr>
        </p:nvSpPr>
        <p:spPr>
          <a:xfrm>
            <a:off x="359999" y="6264872"/>
            <a:ext cx="360000" cy="360000"/>
          </a:xfrm>
          <a:prstGeom prst="rect">
            <a:avLst/>
          </a:prstGeom>
        </p:spPr>
        <p:txBody>
          <a:bodyPr/>
          <a:lstStyle>
            <a:lvl1pPr>
              <a:defRPr>
                <a:solidFill>
                  <a:schemeClr val="bg1"/>
                </a:solidFill>
              </a:defRPr>
            </a:lvl1pPr>
          </a:lstStyle>
          <a:p>
            <a:fld id="{52BD4378-72E1-444F-8B73-E4C8D03E6D72}" type="slidenum">
              <a:rPr lang="en-MY" smtClean="0"/>
              <a:t>‹#›</a:t>
            </a:fld>
            <a:endParaRPr lang="en-MY"/>
          </a:p>
        </p:txBody>
      </p:sp>
      <p:sp>
        <p:nvSpPr>
          <p:cNvPr id="11" name="Slide Number Placeholder 5">
            <a:extLst>
              <a:ext uri="{FF2B5EF4-FFF2-40B4-BE49-F238E27FC236}">
                <a16:creationId xmlns:a16="http://schemas.microsoft.com/office/drawing/2014/main" id="{D8CDB758-CEB0-5148-B635-E100D47F31F1}"/>
              </a:ext>
            </a:extLst>
          </p:cNvPr>
          <p:cNvSpPr txBox="1">
            <a:spLocks/>
          </p:cNvSpPr>
          <p:nvPr/>
        </p:nvSpPr>
        <p:spPr>
          <a:xfrm>
            <a:off x="359999" y="6264872"/>
            <a:ext cx="360000" cy="360000"/>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8A41853-EF22-D446-BDBC-A7CF3FE93503}" type="slidenum">
              <a:rPr lang="en-US" smtClean="0">
                <a:solidFill>
                  <a:schemeClr val="bg1"/>
                </a:solidFill>
              </a:rPr>
              <a:pPr/>
              <a:t>‹#›</a:t>
            </a:fld>
            <a:endParaRPr lang="en-US">
              <a:solidFill>
                <a:schemeClr val="bg1"/>
              </a:solidFill>
            </a:endParaRPr>
          </a:p>
        </p:txBody>
      </p:sp>
      <p:sp>
        <p:nvSpPr>
          <p:cNvPr id="6" name="Text Placeholder 5">
            <a:extLst>
              <a:ext uri="{FF2B5EF4-FFF2-40B4-BE49-F238E27FC236}">
                <a16:creationId xmlns:a16="http://schemas.microsoft.com/office/drawing/2014/main" id="{AB988360-6283-4346-BCB3-A904CEACB901}"/>
              </a:ext>
            </a:extLst>
          </p:cNvPr>
          <p:cNvSpPr>
            <a:spLocks noGrp="1"/>
          </p:cNvSpPr>
          <p:nvPr>
            <p:ph type="body" sz="quarter" idx="14" hasCustomPrompt="1"/>
          </p:nvPr>
        </p:nvSpPr>
        <p:spPr>
          <a:xfrm>
            <a:off x="359999" y="1800000"/>
            <a:ext cx="3600000" cy="2635250"/>
          </a:xfrm>
        </p:spPr>
        <p:txBody>
          <a:bodyPr>
            <a:noAutofit/>
          </a:bodyPr>
          <a:lstStyle>
            <a:lvl1pPr marL="0" marR="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sz="1600">
                <a:solidFill>
                  <a:schemeClr val="bg1"/>
                </a:solidFill>
              </a:defRPr>
            </a:lvl1pPr>
            <a:lvl2pPr>
              <a:defRPr sz="1600"/>
            </a:lvl2pPr>
            <a:lvl3pPr>
              <a:defRPr sz="1600"/>
            </a:lvl3pPr>
            <a:lvl4pPr>
              <a:defRPr sz="1600"/>
            </a:lvl4pPr>
            <a:lvl5pPr>
              <a:defRPr sz="1600"/>
            </a:lvl5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err="1"/>
              <a:t>Bodycopy</a:t>
            </a:r>
            <a:r>
              <a:rPr lang="en-GB"/>
              <a:t> to be inserted here and in here. </a:t>
            </a:r>
            <a:r>
              <a:rPr lang="en-GB" err="1"/>
              <a:t>Bodycopy</a:t>
            </a:r>
            <a:r>
              <a:rPr lang="en-GB"/>
              <a:t> to be inserted here and in here. </a:t>
            </a:r>
            <a:r>
              <a:rPr lang="en-GB" err="1"/>
              <a:t>Bodycopy</a:t>
            </a:r>
            <a:r>
              <a:rPr lang="en-GB"/>
              <a:t> to be inserted here and in here. </a:t>
            </a:r>
            <a:r>
              <a:rPr lang="en-GB" err="1"/>
              <a:t>Bodycopy</a:t>
            </a:r>
            <a:r>
              <a:rPr lang="en-GB"/>
              <a:t> to be inserted here and in here. </a:t>
            </a:r>
          </a:p>
        </p:txBody>
      </p:sp>
      <p:sp>
        <p:nvSpPr>
          <p:cNvPr id="14" name="Text Placeholder 5">
            <a:extLst>
              <a:ext uri="{FF2B5EF4-FFF2-40B4-BE49-F238E27FC236}">
                <a16:creationId xmlns:a16="http://schemas.microsoft.com/office/drawing/2014/main" id="{E0F591B9-C0BB-4E4F-BC75-97F20CFE4BE8}"/>
              </a:ext>
            </a:extLst>
          </p:cNvPr>
          <p:cNvSpPr>
            <a:spLocks noGrp="1"/>
          </p:cNvSpPr>
          <p:nvPr>
            <p:ph type="body" sz="quarter" idx="15" hasCustomPrompt="1"/>
          </p:nvPr>
        </p:nvSpPr>
        <p:spPr>
          <a:xfrm>
            <a:off x="4237200" y="1800000"/>
            <a:ext cx="3600000" cy="2635250"/>
          </a:xfrm>
        </p:spPr>
        <p:txBody>
          <a:bodyPr>
            <a:noAutofit/>
          </a:bodyPr>
          <a:lstStyle>
            <a:lvl1pPr marL="0" marR="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sz="1600">
                <a:solidFill>
                  <a:schemeClr val="bg1"/>
                </a:solidFill>
              </a:defRPr>
            </a:lvl1pPr>
            <a:lvl2pPr>
              <a:defRPr sz="1600"/>
            </a:lvl2pPr>
            <a:lvl3pPr>
              <a:defRPr sz="1600"/>
            </a:lvl3pPr>
            <a:lvl4pPr>
              <a:defRPr sz="1600"/>
            </a:lvl4pPr>
            <a:lvl5pPr>
              <a:defRPr sz="1600"/>
            </a:lvl5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GB" err="1"/>
              <a:t>Bodycopy</a:t>
            </a:r>
            <a:r>
              <a:rPr lang="en-GB"/>
              <a:t> to be inserted here and in here. </a:t>
            </a:r>
            <a:r>
              <a:rPr lang="en-GB" err="1"/>
              <a:t>Bodycopy</a:t>
            </a:r>
            <a:r>
              <a:rPr lang="en-GB"/>
              <a:t> to be inserted here and in here. </a:t>
            </a:r>
            <a:r>
              <a:rPr lang="en-GB" err="1"/>
              <a:t>Bodycopy</a:t>
            </a:r>
            <a:r>
              <a:rPr lang="en-GB"/>
              <a:t> to be inserted here and in here. </a:t>
            </a:r>
            <a:r>
              <a:rPr lang="en-GB" err="1"/>
              <a:t>Bodycopy</a:t>
            </a:r>
            <a:r>
              <a:rPr lang="en-GB"/>
              <a:t> to be inserted here and in here. </a:t>
            </a:r>
            <a:endParaRPr lang="en-US"/>
          </a:p>
        </p:txBody>
      </p:sp>
      <p:sp>
        <p:nvSpPr>
          <p:cNvPr id="13" name="TextBox 12">
            <a:extLst>
              <a:ext uri="{FF2B5EF4-FFF2-40B4-BE49-F238E27FC236}">
                <a16:creationId xmlns:a16="http://schemas.microsoft.com/office/drawing/2014/main" id="{DCAF9A47-CB8F-A84F-9AEB-722A7CFB67AE}"/>
              </a:ext>
            </a:extLst>
          </p:cNvPr>
          <p:cNvSpPr txBox="1"/>
          <p:nvPr/>
        </p:nvSpPr>
        <p:spPr>
          <a:xfrm>
            <a:off x="720000" y="6336000"/>
            <a:ext cx="5400000" cy="216000"/>
          </a:xfrm>
          <a:prstGeom prst="rect">
            <a:avLst/>
          </a:prstGeom>
          <a:noFill/>
        </p:spPr>
        <p:txBody>
          <a:bodyPr wrap="square" lIns="90000" rtlCol="0" anchor="ctr" anchorCtr="0">
            <a:spAutoFit/>
          </a:bodyPr>
          <a:lstStyle/>
          <a:p>
            <a:r>
              <a:rPr lang="en-GB" sz="800" b="0" i="0">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endParaRPr lang="en-US" sz="800" b="0" i="0">
              <a:solidFill>
                <a:schemeClr val="bg1"/>
              </a:solidFill>
              <a:latin typeface="Arial" panose="020B0604020202020204" pitchFamily="34" charset="0"/>
              <a:cs typeface="Arial" panose="020B0604020202020204" pitchFamily="34" charset="0"/>
            </a:endParaRPr>
          </a:p>
        </p:txBody>
      </p:sp>
      <p:sp>
        <p:nvSpPr>
          <p:cNvPr id="18" name="Text Placeholder 11">
            <a:extLst>
              <a:ext uri="{FF2B5EF4-FFF2-40B4-BE49-F238E27FC236}">
                <a16:creationId xmlns:a16="http://schemas.microsoft.com/office/drawing/2014/main" id="{23EDBE0F-EF85-154F-8CA6-B929FD6E8AC1}"/>
              </a:ext>
            </a:extLst>
          </p:cNvPr>
          <p:cNvSpPr>
            <a:spLocks noGrp="1"/>
          </p:cNvSpPr>
          <p:nvPr>
            <p:ph type="body" sz="quarter" idx="10" hasCustomPrompt="1"/>
          </p:nvPr>
        </p:nvSpPr>
        <p:spPr>
          <a:xfrm>
            <a:off x="360000" y="540000"/>
            <a:ext cx="11160000" cy="1338676"/>
          </a:xfrm>
          <a:prstGeom prst="rect">
            <a:avLst/>
          </a:prstGeom>
          <a:noFill/>
        </p:spPr>
        <p:txBody>
          <a:bodyPr>
            <a:noAutofit/>
          </a:bodyPr>
          <a:lstStyle>
            <a:lvl1pPr>
              <a:lnSpc>
                <a:spcPts val="3200"/>
              </a:lnSpc>
              <a:defRPr sz="3600">
                <a:solidFill>
                  <a:schemeClr val="bg1"/>
                </a:solidFill>
              </a:defRPr>
            </a:lvl1pPr>
            <a:lvl2pPr marL="457200" indent="0">
              <a:buNone/>
              <a:defRPr/>
            </a:lvl2pPr>
          </a:lstStyle>
          <a:p>
            <a:pPr lvl="0"/>
            <a:r>
              <a:rPr lang="en-US"/>
              <a:t>Headline</a:t>
            </a:r>
          </a:p>
        </p:txBody>
      </p:sp>
      <p:pic>
        <p:nvPicPr>
          <p:cNvPr id="15" name="Graphic 14">
            <a:extLst>
              <a:ext uri="{FF2B5EF4-FFF2-40B4-BE49-F238E27FC236}">
                <a16:creationId xmlns:a16="http://schemas.microsoft.com/office/drawing/2014/main" id="{F9DE488A-F055-9446-AAE2-110561B9F8A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60000" y="5792400"/>
            <a:ext cx="635000" cy="660400"/>
          </a:xfrm>
          <a:prstGeom prst="rect">
            <a:avLst/>
          </a:prstGeom>
        </p:spPr>
      </p:pic>
    </p:spTree>
    <p:extLst>
      <p:ext uri="{BB962C8B-B14F-4D97-AF65-F5344CB8AC3E}">
        <p14:creationId xmlns:p14="http://schemas.microsoft.com/office/powerpoint/2010/main" val="3634472722"/>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753463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9465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207316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9539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77518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119042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977991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25369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354"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551574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927604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224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IA_subheader white">
    <p:spTree>
      <p:nvGrpSpPr>
        <p:cNvPr id="1" name=""/>
        <p:cNvGrpSpPr/>
        <p:nvPr/>
      </p:nvGrpSpPr>
      <p:grpSpPr>
        <a:xfrm>
          <a:off x="0" y="0"/>
          <a:ext cx="0" cy="0"/>
          <a:chOff x="0" y="0"/>
          <a:chExt cx="0" cy="0"/>
        </a:xfrm>
      </p:grpSpPr>
      <p:sp>
        <p:nvSpPr>
          <p:cNvPr id="21" name="Text Placeholder 4"/>
          <p:cNvSpPr>
            <a:spLocks noGrp="1"/>
          </p:cNvSpPr>
          <p:nvPr>
            <p:ph type="body" sz="quarter" idx="15" hasCustomPrompt="1"/>
          </p:nvPr>
        </p:nvSpPr>
        <p:spPr>
          <a:xfrm>
            <a:off x="4237200" y="1800000"/>
            <a:ext cx="3607200" cy="4256262"/>
          </a:xfrm>
          <a:prstGeom prst="rect">
            <a:avLst/>
          </a:prstGeom>
        </p:spPr>
        <p:txBody>
          <a:bodyPr vert="horz">
            <a:noAutofit/>
          </a:bodyPr>
          <a:lstStyle>
            <a:lvl1pPr algn="l">
              <a:lnSpc>
                <a:spcPct val="100000"/>
              </a:lnSpc>
              <a:defRPr sz="1600">
                <a:solidFill>
                  <a:schemeClr val="tx1"/>
                </a:solidFill>
              </a:defRPr>
            </a:lvl1pPr>
            <a:lvl2pPr algn="l">
              <a:defRPr sz="2000">
                <a:solidFill>
                  <a:schemeClr val="accent2"/>
                </a:solidFill>
              </a:defRPr>
            </a:lvl2pPr>
            <a:lvl3pPr algn="l">
              <a:defRPr sz="2000">
                <a:solidFill>
                  <a:schemeClr val="accent2"/>
                </a:solidFill>
              </a:defRPr>
            </a:lvl3pPr>
            <a:lvl4pPr algn="l">
              <a:defRPr sz="2000">
                <a:solidFill>
                  <a:schemeClr val="accent2"/>
                </a:solidFill>
              </a:defRPr>
            </a:lvl4pPr>
            <a:lvl5pPr algn="l">
              <a:defRPr sz="2000">
                <a:solidFill>
                  <a:schemeClr val="accent2"/>
                </a:solidFill>
              </a:defRPr>
            </a:lvl5pPr>
          </a:lstStyle>
          <a:p>
            <a:pPr lvl="0"/>
            <a:r>
              <a:rPr lang="en-GB" err="1"/>
              <a:t>Bodycopy</a:t>
            </a:r>
            <a:r>
              <a:rPr lang="en-GB"/>
              <a:t> in here</a:t>
            </a:r>
            <a:endParaRPr lang="en-US"/>
          </a:p>
        </p:txBody>
      </p:sp>
      <p:sp>
        <p:nvSpPr>
          <p:cNvPr id="22" name="Text Placeholder 4"/>
          <p:cNvSpPr>
            <a:spLocks noGrp="1"/>
          </p:cNvSpPr>
          <p:nvPr>
            <p:ph type="body" sz="quarter" idx="16" hasCustomPrompt="1"/>
          </p:nvPr>
        </p:nvSpPr>
        <p:spPr>
          <a:xfrm>
            <a:off x="360000" y="1800000"/>
            <a:ext cx="3600000" cy="4256262"/>
          </a:xfrm>
          <a:prstGeom prst="rect">
            <a:avLst/>
          </a:prstGeom>
        </p:spPr>
        <p:txBody>
          <a:bodyPr vert="horz">
            <a:noAutofit/>
          </a:bodyPr>
          <a:lstStyle>
            <a:lvl1pPr algn="l">
              <a:lnSpc>
                <a:spcPct val="100000"/>
              </a:lnSpc>
              <a:defRPr sz="1600">
                <a:solidFill>
                  <a:schemeClr val="tx1"/>
                </a:solidFill>
              </a:defRPr>
            </a:lvl1pPr>
            <a:lvl2pPr algn="l">
              <a:defRPr sz="2000">
                <a:solidFill>
                  <a:schemeClr val="accent2"/>
                </a:solidFill>
              </a:defRPr>
            </a:lvl2pPr>
            <a:lvl3pPr algn="l">
              <a:defRPr sz="2000">
                <a:solidFill>
                  <a:schemeClr val="accent2"/>
                </a:solidFill>
              </a:defRPr>
            </a:lvl3pPr>
            <a:lvl4pPr algn="l">
              <a:defRPr sz="2000">
                <a:solidFill>
                  <a:schemeClr val="accent2"/>
                </a:solidFill>
              </a:defRPr>
            </a:lvl4pPr>
            <a:lvl5pPr algn="l">
              <a:defRPr sz="2000">
                <a:solidFill>
                  <a:schemeClr val="accent2"/>
                </a:solidFill>
              </a:defRPr>
            </a:lvl5pPr>
          </a:lstStyle>
          <a:p>
            <a:pPr lvl="0"/>
            <a:r>
              <a:rPr lang="en-GB" err="1"/>
              <a:t>Bodycopy</a:t>
            </a:r>
            <a:r>
              <a:rPr lang="en-GB"/>
              <a:t> in here</a:t>
            </a:r>
            <a:endParaRPr lang="en-US"/>
          </a:p>
        </p:txBody>
      </p:sp>
      <p:sp>
        <p:nvSpPr>
          <p:cNvPr id="7" name="Text Placeholder 11">
            <a:extLst>
              <a:ext uri="{FF2B5EF4-FFF2-40B4-BE49-F238E27FC236}">
                <a16:creationId xmlns:a16="http://schemas.microsoft.com/office/drawing/2014/main" id="{C4B34AF1-3AD0-DE4E-91C8-39A92B566589}"/>
              </a:ext>
            </a:extLst>
          </p:cNvPr>
          <p:cNvSpPr>
            <a:spLocks noGrp="1"/>
          </p:cNvSpPr>
          <p:nvPr>
            <p:ph type="body" sz="quarter" idx="10" hasCustomPrompt="1"/>
          </p:nvPr>
        </p:nvSpPr>
        <p:spPr>
          <a:xfrm>
            <a:off x="360000" y="540000"/>
            <a:ext cx="11160000" cy="1338676"/>
          </a:xfrm>
          <a:prstGeom prst="rect">
            <a:avLst/>
          </a:prstGeom>
          <a:noFill/>
        </p:spPr>
        <p:txBody>
          <a:bodyPr>
            <a:noAutofit/>
          </a:bodyPr>
          <a:lstStyle>
            <a:lvl1pPr>
              <a:lnSpc>
                <a:spcPts val="3200"/>
              </a:lnSpc>
              <a:defRPr sz="3600">
                <a:solidFill>
                  <a:srgbClr val="333D47"/>
                </a:solidFill>
              </a:defRPr>
            </a:lvl1pPr>
            <a:lvl2pPr marL="457200" indent="0">
              <a:buNone/>
              <a:defRPr/>
            </a:lvl2pPr>
          </a:lstStyle>
          <a:p>
            <a:pPr lvl="0"/>
            <a:r>
              <a:rPr lang="en-US"/>
              <a:t>Headline</a:t>
            </a:r>
          </a:p>
        </p:txBody>
      </p:sp>
      <p:sp>
        <p:nvSpPr>
          <p:cNvPr id="10" name="Slide Number Placeholder 5">
            <a:extLst>
              <a:ext uri="{FF2B5EF4-FFF2-40B4-BE49-F238E27FC236}">
                <a16:creationId xmlns:a16="http://schemas.microsoft.com/office/drawing/2014/main" id="{3E493E1F-F28C-FD47-B996-3EBF17D328AE}"/>
              </a:ext>
            </a:extLst>
          </p:cNvPr>
          <p:cNvSpPr>
            <a:spLocks noGrp="1"/>
          </p:cNvSpPr>
          <p:nvPr>
            <p:ph type="sldNum" sz="quarter" idx="4"/>
          </p:nvPr>
        </p:nvSpPr>
        <p:spPr>
          <a:xfrm>
            <a:off x="359999" y="6264872"/>
            <a:ext cx="360000" cy="360000"/>
          </a:xfrm>
          <a:prstGeom prst="rect">
            <a:avLst/>
          </a:prstGeom>
        </p:spPr>
        <p:txBody>
          <a:bodyPr vert="horz" lIns="91440" tIns="45720" rIns="91440" bIns="45720" rtlCol="0" anchor="ctr"/>
          <a:lstStyle>
            <a:lvl1pPr algn="l">
              <a:defRPr sz="800" b="0" i="0">
                <a:solidFill>
                  <a:schemeClr val="tx1"/>
                </a:solidFill>
                <a:latin typeface="Arial" panose="020B0604020202020204" pitchFamily="34" charset="0"/>
                <a:cs typeface="Arial" panose="020B0604020202020204" pitchFamily="34" charset="0"/>
              </a:defRPr>
            </a:lvl1pPr>
          </a:lstStyle>
          <a:p>
            <a:fld id="{52BD4378-72E1-444F-8B73-E4C8D03E6D72}" type="slidenum">
              <a:rPr lang="en-MY" smtClean="0"/>
              <a:t>‹#›</a:t>
            </a:fld>
            <a:endParaRPr lang="en-MY"/>
          </a:p>
        </p:txBody>
      </p:sp>
    </p:spTree>
    <p:extLst>
      <p:ext uri="{BB962C8B-B14F-4D97-AF65-F5344CB8AC3E}">
        <p14:creationId xmlns:p14="http://schemas.microsoft.com/office/powerpoint/2010/main" val="126044029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84062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555436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3868930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3155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98"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049500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445808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54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1650188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92867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57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236489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59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6215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6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2495506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6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1631119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AIA_Content">
    <p:spTree>
      <p:nvGrpSpPr>
        <p:cNvPr id="1" name=""/>
        <p:cNvGrpSpPr/>
        <p:nvPr/>
      </p:nvGrpSpPr>
      <p:grpSpPr>
        <a:xfrm>
          <a:off x="0" y="0"/>
          <a:ext cx="0" cy="0"/>
          <a:chOff x="0" y="0"/>
          <a:chExt cx="0" cy="0"/>
        </a:xfrm>
      </p:grpSpPr>
      <p:sp>
        <p:nvSpPr>
          <p:cNvPr id="7" name="Text Placeholder 4"/>
          <p:cNvSpPr>
            <a:spLocks noGrp="1"/>
          </p:cNvSpPr>
          <p:nvPr>
            <p:ph type="body" sz="quarter" idx="15" hasCustomPrompt="1"/>
          </p:nvPr>
        </p:nvSpPr>
        <p:spPr>
          <a:xfrm>
            <a:off x="4237200" y="1800000"/>
            <a:ext cx="3600000" cy="3518760"/>
          </a:xfrm>
          <a:prstGeom prst="rect">
            <a:avLst/>
          </a:prstGeom>
        </p:spPr>
        <p:txBody>
          <a:bodyPr vert="horz">
            <a:noAutofit/>
          </a:bodyPr>
          <a:lstStyle>
            <a:lvl1pPr algn="l">
              <a:defRPr sz="1600">
                <a:solidFill>
                  <a:srgbClr val="333D47"/>
                </a:solidFill>
              </a:defRPr>
            </a:lvl1pPr>
            <a:lvl2pPr algn="l">
              <a:defRPr sz="2000">
                <a:solidFill>
                  <a:schemeClr val="accent2"/>
                </a:solidFill>
              </a:defRPr>
            </a:lvl2pPr>
            <a:lvl3pPr algn="l">
              <a:defRPr sz="2000">
                <a:solidFill>
                  <a:schemeClr val="accent2"/>
                </a:solidFill>
              </a:defRPr>
            </a:lvl3pPr>
            <a:lvl4pPr algn="l">
              <a:defRPr sz="2000">
                <a:solidFill>
                  <a:schemeClr val="accent2"/>
                </a:solidFill>
              </a:defRPr>
            </a:lvl4pPr>
            <a:lvl5pPr algn="l">
              <a:defRPr sz="2000">
                <a:solidFill>
                  <a:schemeClr val="accent2"/>
                </a:solidFill>
              </a:defRPr>
            </a:lvl5pPr>
          </a:lstStyle>
          <a:p>
            <a:pPr lvl="0"/>
            <a:r>
              <a:rPr lang="en-GB" err="1"/>
              <a:t>Bodycopy</a:t>
            </a:r>
            <a:r>
              <a:rPr lang="en-GB"/>
              <a:t> in here</a:t>
            </a:r>
            <a:endParaRPr lang="en-US"/>
          </a:p>
        </p:txBody>
      </p:sp>
      <p:sp>
        <p:nvSpPr>
          <p:cNvPr id="8" name="Text Placeholder 4"/>
          <p:cNvSpPr>
            <a:spLocks noGrp="1"/>
          </p:cNvSpPr>
          <p:nvPr>
            <p:ph type="body" sz="quarter" idx="16" hasCustomPrompt="1"/>
          </p:nvPr>
        </p:nvSpPr>
        <p:spPr>
          <a:xfrm>
            <a:off x="360000" y="1800000"/>
            <a:ext cx="3600000" cy="3518760"/>
          </a:xfrm>
          <a:prstGeom prst="rect">
            <a:avLst/>
          </a:prstGeom>
        </p:spPr>
        <p:txBody>
          <a:bodyPr vert="horz">
            <a:noAutofit/>
          </a:bodyPr>
          <a:lstStyle>
            <a:lvl1pPr algn="l">
              <a:defRPr sz="1600">
                <a:solidFill>
                  <a:srgbClr val="333D47"/>
                </a:solidFill>
              </a:defRPr>
            </a:lvl1pPr>
            <a:lvl2pPr algn="l">
              <a:defRPr sz="2000">
                <a:solidFill>
                  <a:schemeClr val="accent2"/>
                </a:solidFill>
              </a:defRPr>
            </a:lvl2pPr>
            <a:lvl3pPr algn="l">
              <a:defRPr sz="2000">
                <a:solidFill>
                  <a:schemeClr val="accent2"/>
                </a:solidFill>
              </a:defRPr>
            </a:lvl3pPr>
            <a:lvl4pPr algn="l">
              <a:defRPr sz="2000">
                <a:solidFill>
                  <a:schemeClr val="accent2"/>
                </a:solidFill>
              </a:defRPr>
            </a:lvl4pPr>
            <a:lvl5pPr algn="l">
              <a:defRPr sz="2000">
                <a:solidFill>
                  <a:schemeClr val="accent2"/>
                </a:solidFill>
              </a:defRPr>
            </a:lvl5pPr>
          </a:lstStyle>
          <a:p>
            <a:pPr lvl="0"/>
            <a:r>
              <a:rPr lang="en-GB" err="1"/>
              <a:t>Bodycopy</a:t>
            </a:r>
            <a:r>
              <a:rPr lang="en-GB"/>
              <a:t> in here</a:t>
            </a:r>
            <a:endParaRPr lang="en-US"/>
          </a:p>
        </p:txBody>
      </p:sp>
      <p:sp>
        <p:nvSpPr>
          <p:cNvPr id="9" name="Text Placeholder 4"/>
          <p:cNvSpPr>
            <a:spLocks noGrp="1"/>
          </p:cNvSpPr>
          <p:nvPr>
            <p:ph type="body" sz="quarter" idx="17" hasCustomPrompt="1"/>
          </p:nvPr>
        </p:nvSpPr>
        <p:spPr>
          <a:xfrm>
            <a:off x="8074788" y="1800000"/>
            <a:ext cx="3600000" cy="3518760"/>
          </a:xfrm>
          <a:prstGeom prst="rect">
            <a:avLst/>
          </a:prstGeom>
        </p:spPr>
        <p:txBody>
          <a:bodyPr vert="horz">
            <a:noAutofit/>
          </a:bodyPr>
          <a:lstStyle>
            <a:lvl1pPr algn="l">
              <a:defRPr sz="1600">
                <a:solidFill>
                  <a:srgbClr val="333D47"/>
                </a:solidFill>
              </a:defRPr>
            </a:lvl1pPr>
            <a:lvl2pPr algn="l">
              <a:defRPr sz="2000">
                <a:solidFill>
                  <a:schemeClr val="accent2"/>
                </a:solidFill>
              </a:defRPr>
            </a:lvl2pPr>
            <a:lvl3pPr algn="l">
              <a:defRPr sz="2000">
                <a:solidFill>
                  <a:schemeClr val="accent2"/>
                </a:solidFill>
              </a:defRPr>
            </a:lvl3pPr>
            <a:lvl4pPr algn="l">
              <a:defRPr sz="2000">
                <a:solidFill>
                  <a:schemeClr val="accent2"/>
                </a:solidFill>
              </a:defRPr>
            </a:lvl4pPr>
            <a:lvl5pPr algn="l">
              <a:defRPr sz="2000">
                <a:solidFill>
                  <a:schemeClr val="accent2"/>
                </a:solidFill>
              </a:defRPr>
            </a:lvl5pPr>
          </a:lstStyle>
          <a:p>
            <a:pPr lvl="0"/>
            <a:r>
              <a:rPr lang="en-GB" err="1"/>
              <a:t>Bodycopy</a:t>
            </a:r>
            <a:r>
              <a:rPr lang="en-GB"/>
              <a:t> in here</a:t>
            </a:r>
            <a:endParaRPr lang="en-US"/>
          </a:p>
        </p:txBody>
      </p:sp>
      <p:sp>
        <p:nvSpPr>
          <p:cNvPr id="12" name="Slide Number Placeholder 5">
            <a:extLst>
              <a:ext uri="{FF2B5EF4-FFF2-40B4-BE49-F238E27FC236}">
                <a16:creationId xmlns:a16="http://schemas.microsoft.com/office/drawing/2014/main" id="{AC86FCA0-09A2-DF48-9396-1E7B77D96015}"/>
              </a:ext>
            </a:extLst>
          </p:cNvPr>
          <p:cNvSpPr>
            <a:spLocks noGrp="1"/>
          </p:cNvSpPr>
          <p:nvPr>
            <p:ph type="sldNum" sz="quarter" idx="4"/>
          </p:nvPr>
        </p:nvSpPr>
        <p:spPr>
          <a:xfrm>
            <a:off x="359999" y="6264872"/>
            <a:ext cx="360000" cy="360000"/>
          </a:xfrm>
          <a:prstGeom prst="rect">
            <a:avLst/>
          </a:prstGeom>
        </p:spPr>
        <p:txBody>
          <a:bodyPr vert="horz" lIns="91440" tIns="45720" rIns="91440" bIns="45720" rtlCol="0" anchor="ctr"/>
          <a:lstStyle>
            <a:lvl1pPr algn="l">
              <a:defRPr sz="800" b="0" i="0">
                <a:solidFill>
                  <a:schemeClr val="tx1"/>
                </a:solidFill>
                <a:latin typeface="Arial" panose="020B0604020202020204" pitchFamily="34" charset="0"/>
                <a:cs typeface="Arial" panose="020B0604020202020204" pitchFamily="34" charset="0"/>
              </a:defRPr>
            </a:lvl1pPr>
          </a:lstStyle>
          <a:p>
            <a:fld id="{52BD4378-72E1-444F-8B73-E4C8D03E6D72}" type="slidenum">
              <a:rPr lang="en-MY" smtClean="0"/>
              <a:t>‹#›</a:t>
            </a:fld>
            <a:endParaRPr lang="en-MY"/>
          </a:p>
        </p:txBody>
      </p:sp>
      <p:sp>
        <p:nvSpPr>
          <p:cNvPr id="11" name="Text Placeholder 11">
            <a:extLst>
              <a:ext uri="{FF2B5EF4-FFF2-40B4-BE49-F238E27FC236}">
                <a16:creationId xmlns:a16="http://schemas.microsoft.com/office/drawing/2014/main" id="{CADE9AD9-783B-9A42-96AE-67B95523C284}"/>
              </a:ext>
            </a:extLst>
          </p:cNvPr>
          <p:cNvSpPr>
            <a:spLocks noGrp="1"/>
          </p:cNvSpPr>
          <p:nvPr>
            <p:ph type="body" sz="quarter" idx="10" hasCustomPrompt="1"/>
          </p:nvPr>
        </p:nvSpPr>
        <p:spPr>
          <a:xfrm>
            <a:off x="360000" y="540000"/>
            <a:ext cx="11160000" cy="1338676"/>
          </a:xfrm>
          <a:prstGeom prst="rect">
            <a:avLst/>
          </a:prstGeom>
          <a:noFill/>
        </p:spPr>
        <p:txBody>
          <a:bodyPr>
            <a:noAutofit/>
          </a:bodyPr>
          <a:lstStyle>
            <a:lvl1pPr>
              <a:lnSpc>
                <a:spcPts val="3200"/>
              </a:lnSpc>
              <a:defRPr sz="3600">
                <a:solidFill>
                  <a:srgbClr val="333D47"/>
                </a:solidFill>
              </a:defRPr>
            </a:lvl1pPr>
            <a:lvl2pPr marL="457200" indent="0">
              <a:buNone/>
              <a:defRPr/>
            </a:lvl2pPr>
          </a:lstStyle>
          <a:p>
            <a:pPr lvl="0"/>
            <a:r>
              <a:rPr lang="en-US"/>
              <a:t>Headline</a:t>
            </a:r>
          </a:p>
        </p:txBody>
      </p:sp>
    </p:spTree>
    <p:extLst>
      <p:ext uri="{BB962C8B-B14F-4D97-AF65-F5344CB8AC3E}">
        <p14:creationId xmlns:p14="http://schemas.microsoft.com/office/powerpoint/2010/main" val="1751228391"/>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75645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6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276917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6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8622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7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2120115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7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9446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3_Content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762"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17" name="Group 116">
            <a:extLst>
              <a:ext uri="{FF2B5EF4-FFF2-40B4-BE49-F238E27FC236}">
                <a16:creationId xmlns:a16="http://schemas.microsoft.com/office/drawing/2014/main" id="{78C55BAC-D2A7-4CDC-AC33-87608332CBF2}"/>
              </a:ext>
            </a:extLst>
          </p:cNvPr>
          <p:cNvGrpSpPr/>
          <p:nvPr userDrawn="1"/>
        </p:nvGrpSpPr>
        <p:grpSpPr>
          <a:xfrm>
            <a:off x="699930" y="716437"/>
            <a:ext cx="8389862" cy="5791322"/>
            <a:chOff x="2300130" y="716437"/>
            <a:chExt cx="8389862" cy="5791322"/>
          </a:xfrm>
        </p:grpSpPr>
        <p:sp>
          <p:nvSpPr>
            <p:cNvPr id="7" name="Rectangle 6">
              <a:extLst>
                <a:ext uri="{FF2B5EF4-FFF2-40B4-BE49-F238E27FC236}">
                  <a16:creationId xmlns:a16="http://schemas.microsoft.com/office/drawing/2014/main" id="{6E4B7BE7-D925-441B-8CBE-74A001F63ED8}"/>
                </a:ext>
              </a:extLst>
            </p:cNvPr>
            <p:cNvSpPr/>
            <p:nvPr/>
          </p:nvSpPr>
          <p:spPr bwMode="auto">
            <a:xfrm>
              <a:off x="10134723" y="716438"/>
              <a:ext cx="555269" cy="577828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vert270" wrap="square" lIns="18000" tIns="18000" rIns="72000" bIns="72000" numCol="1" rtlCol="0" anchor="t" anchorCtr="0" compatLnSpc="1">
              <a:prstTxWarp prst="textNoShape">
                <a:avLst/>
              </a:prstTxWarp>
            </a:bodyPr>
            <a:lstStyle/>
            <a:p>
              <a:r>
                <a:rPr lang="en-US" sz="800" b="1">
                  <a:solidFill>
                    <a:schemeClr val="tx1">
                      <a:lumMod val="75000"/>
                      <a:lumOff val="25000"/>
                    </a:schemeClr>
                  </a:solidFill>
                </a:rPr>
                <a:t>Security &amp;  Monitoring</a:t>
              </a:r>
            </a:p>
          </p:txBody>
        </p:sp>
        <p:sp>
          <p:nvSpPr>
            <p:cNvPr id="8" name="Rectangle 7">
              <a:extLst>
                <a:ext uri="{FF2B5EF4-FFF2-40B4-BE49-F238E27FC236}">
                  <a16:creationId xmlns:a16="http://schemas.microsoft.com/office/drawing/2014/main" id="{A46424E0-C3EA-4BE8-A17B-34D64D0CCD2F}"/>
                </a:ext>
              </a:extLst>
            </p:cNvPr>
            <p:cNvSpPr/>
            <p:nvPr/>
          </p:nvSpPr>
          <p:spPr bwMode="auto">
            <a:xfrm>
              <a:off x="2300132" y="6042934"/>
              <a:ext cx="7763033" cy="4648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36000" bIns="36000" numCol="1" rtlCol="0" anchor="t" anchorCtr="0" compatLnSpc="1">
              <a:prstTxWarp prst="textNoShape">
                <a:avLst/>
              </a:prstTxWarp>
            </a:bodyPr>
            <a:lstStyle/>
            <a:p>
              <a:r>
                <a:rPr lang="en-US" sz="800" b="1">
                  <a:solidFill>
                    <a:schemeClr val="tx1">
                      <a:lumMod val="75000"/>
                      <a:lumOff val="25000"/>
                    </a:schemeClr>
                  </a:solidFill>
                </a:rPr>
                <a:t>Infrastructure</a:t>
              </a:r>
            </a:p>
          </p:txBody>
        </p:sp>
        <p:grpSp>
          <p:nvGrpSpPr>
            <p:cNvPr id="111" name="Group 110">
              <a:extLst>
                <a:ext uri="{FF2B5EF4-FFF2-40B4-BE49-F238E27FC236}">
                  <a16:creationId xmlns:a16="http://schemas.microsoft.com/office/drawing/2014/main" id="{14EA603E-8769-4D4D-AED8-158F60C7C4FD}"/>
                </a:ext>
              </a:extLst>
            </p:cNvPr>
            <p:cNvGrpSpPr/>
            <p:nvPr userDrawn="1"/>
          </p:nvGrpSpPr>
          <p:grpSpPr>
            <a:xfrm>
              <a:off x="2300132" y="5118794"/>
              <a:ext cx="7757525" cy="871784"/>
              <a:chOff x="2300132" y="5115863"/>
              <a:chExt cx="7757525" cy="871784"/>
            </a:xfrm>
          </p:grpSpPr>
          <p:sp>
            <p:nvSpPr>
              <p:cNvPr id="9" name="Rectangle 8">
                <a:extLst>
                  <a:ext uri="{FF2B5EF4-FFF2-40B4-BE49-F238E27FC236}">
                    <a16:creationId xmlns:a16="http://schemas.microsoft.com/office/drawing/2014/main" id="{E7B321BD-D494-4042-BAAA-624FDC93E0EF}"/>
                  </a:ext>
                </a:extLst>
              </p:cNvPr>
              <p:cNvSpPr/>
              <p:nvPr/>
            </p:nvSpPr>
            <p:spPr bwMode="auto">
              <a:xfrm>
                <a:off x="2300132" y="5115863"/>
                <a:ext cx="1241657" cy="87178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36000" bIns="36000" numCol="1" rtlCol="0" anchor="t" anchorCtr="0" compatLnSpc="1">
                <a:prstTxWarp prst="textNoShape">
                  <a:avLst/>
                </a:prstTxWarp>
              </a:bodyPr>
              <a:lstStyle/>
              <a:p>
                <a:r>
                  <a:rPr lang="en-US" sz="800" b="1">
                    <a:solidFill>
                      <a:schemeClr val="tx1">
                        <a:lumMod val="75000"/>
                        <a:lumOff val="25000"/>
                      </a:schemeClr>
                    </a:solidFill>
                  </a:rPr>
                  <a:t>HR</a:t>
                </a:r>
              </a:p>
            </p:txBody>
          </p:sp>
          <p:sp>
            <p:nvSpPr>
              <p:cNvPr id="11" name="Rectangle 10">
                <a:extLst>
                  <a:ext uri="{FF2B5EF4-FFF2-40B4-BE49-F238E27FC236}">
                    <a16:creationId xmlns:a16="http://schemas.microsoft.com/office/drawing/2014/main" id="{59A38A97-261D-42B1-96C3-6921FAA4764F}"/>
                  </a:ext>
                </a:extLst>
              </p:cNvPr>
              <p:cNvSpPr/>
              <p:nvPr/>
            </p:nvSpPr>
            <p:spPr bwMode="auto">
              <a:xfrm>
                <a:off x="3603304" y="5115863"/>
                <a:ext cx="1241657" cy="87178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36000" bIns="36000" numCol="1" rtlCol="0" anchor="t" anchorCtr="0" compatLnSpc="1">
                <a:prstTxWarp prst="textNoShape">
                  <a:avLst/>
                </a:prstTxWarp>
              </a:bodyPr>
              <a:lstStyle/>
              <a:p>
                <a:r>
                  <a:rPr lang="en-US" sz="800" b="1">
                    <a:solidFill>
                      <a:schemeClr val="tx1">
                        <a:lumMod val="75000"/>
                        <a:lumOff val="25000"/>
                      </a:schemeClr>
                    </a:solidFill>
                  </a:rPr>
                  <a:t>Finance &amp; </a:t>
                </a:r>
                <a:r>
                  <a:rPr lang="en-US" sz="800" b="1" err="1">
                    <a:solidFill>
                      <a:schemeClr val="tx1">
                        <a:lumMod val="75000"/>
                        <a:lumOff val="25000"/>
                      </a:schemeClr>
                    </a:solidFill>
                  </a:rPr>
                  <a:t>Acturial</a:t>
                </a:r>
                <a:endParaRPr lang="en-US" sz="800" b="1">
                  <a:solidFill>
                    <a:schemeClr val="tx1">
                      <a:lumMod val="75000"/>
                      <a:lumOff val="25000"/>
                    </a:schemeClr>
                  </a:solidFill>
                </a:endParaRPr>
              </a:p>
            </p:txBody>
          </p:sp>
          <p:sp>
            <p:nvSpPr>
              <p:cNvPr id="13" name="Rectangle 12">
                <a:extLst>
                  <a:ext uri="{FF2B5EF4-FFF2-40B4-BE49-F238E27FC236}">
                    <a16:creationId xmlns:a16="http://schemas.microsoft.com/office/drawing/2014/main" id="{1EA1CA7A-B074-4074-B2B6-D51AAED10824}"/>
                  </a:ext>
                </a:extLst>
              </p:cNvPr>
              <p:cNvSpPr/>
              <p:nvPr/>
            </p:nvSpPr>
            <p:spPr bwMode="auto">
              <a:xfrm>
                <a:off x="4906478" y="5115863"/>
                <a:ext cx="1241657" cy="87178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36000" bIns="36000" numCol="1" rtlCol="0" anchor="t" anchorCtr="0" compatLnSpc="1">
                <a:prstTxWarp prst="textNoShape">
                  <a:avLst/>
                </a:prstTxWarp>
              </a:bodyPr>
              <a:lstStyle/>
              <a:p>
                <a:r>
                  <a:rPr lang="en-US" sz="800" b="1">
                    <a:solidFill>
                      <a:schemeClr val="tx1">
                        <a:lumMod val="75000"/>
                        <a:lumOff val="25000"/>
                      </a:schemeClr>
                    </a:solidFill>
                  </a:rPr>
                  <a:t>Investment</a:t>
                </a:r>
              </a:p>
            </p:txBody>
          </p:sp>
          <p:sp>
            <p:nvSpPr>
              <p:cNvPr id="14" name="Rectangle 13">
                <a:extLst>
                  <a:ext uri="{FF2B5EF4-FFF2-40B4-BE49-F238E27FC236}">
                    <a16:creationId xmlns:a16="http://schemas.microsoft.com/office/drawing/2014/main" id="{4D6703B2-5AAE-42BA-A592-2BBD5432D1FD}"/>
                  </a:ext>
                </a:extLst>
              </p:cNvPr>
              <p:cNvSpPr/>
              <p:nvPr/>
            </p:nvSpPr>
            <p:spPr bwMode="auto">
              <a:xfrm>
                <a:off x="6209653" y="5115863"/>
                <a:ext cx="1241657" cy="87178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36000" bIns="36000" numCol="1" rtlCol="0" anchor="t" anchorCtr="0" compatLnSpc="1">
                <a:prstTxWarp prst="textNoShape">
                  <a:avLst/>
                </a:prstTxWarp>
              </a:bodyPr>
              <a:lstStyle/>
              <a:p>
                <a:r>
                  <a:rPr lang="en-US" sz="800" b="1">
                    <a:solidFill>
                      <a:schemeClr val="tx1">
                        <a:lumMod val="75000"/>
                        <a:lumOff val="25000"/>
                      </a:schemeClr>
                    </a:solidFill>
                  </a:rPr>
                  <a:t>Risk Management</a:t>
                </a:r>
              </a:p>
            </p:txBody>
          </p:sp>
          <p:sp>
            <p:nvSpPr>
              <p:cNvPr id="15" name="Rectangle 14">
                <a:extLst>
                  <a:ext uri="{FF2B5EF4-FFF2-40B4-BE49-F238E27FC236}">
                    <a16:creationId xmlns:a16="http://schemas.microsoft.com/office/drawing/2014/main" id="{47726A76-0DB4-4E65-A90C-347FA0C7EB40}"/>
                  </a:ext>
                </a:extLst>
              </p:cNvPr>
              <p:cNvSpPr/>
              <p:nvPr/>
            </p:nvSpPr>
            <p:spPr bwMode="auto">
              <a:xfrm>
                <a:off x="7512825" y="5115863"/>
                <a:ext cx="1241657" cy="87178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36000" numCol="1" rtlCol="0" anchor="t" anchorCtr="0" compatLnSpc="1">
                <a:prstTxWarp prst="textNoShape">
                  <a:avLst/>
                </a:prstTxWarp>
              </a:bodyPr>
              <a:lstStyle/>
              <a:p>
                <a:r>
                  <a:rPr lang="en-US" sz="800" b="1">
                    <a:solidFill>
                      <a:schemeClr val="tx1">
                        <a:lumMod val="75000"/>
                        <a:lumOff val="25000"/>
                      </a:schemeClr>
                    </a:solidFill>
                  </a:rPr>
                  <a:t>Workplace</a:t>
                </a:r>
              </a:p>
            </p:txBody>
          </p:sp>
          <p:sp>
            <p:nvSpPr>
              <p:cNvPr id="16" name="Rectangle 15">
                <a:extLst>
                  <a:ext uri="{FF2B5EF4-FFF2-40B4-BE49-F238E27FC236}">
                    <a16:creationId xmlns:a16="http://schemas.microsoft.com/office/drawing/2014/main" id="{81B03F6B-BBFE-4B57-9238-F690F46D53DC}"/>
                  </a:ext>
                </a:extLst>
              </p:cNvPr>
              <p:cNvSpPr/>
              <p:nvPr/>
            </p:nvSpPr>
            <p:spPr bwMode="auto">
              <a:xfrm>
                <a:off x="8816000" y="5115863"/>
                <a:ext cx="1241657" cy="87178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36000" bIns="36000" numCol="1" rtlCol="0" anchor="t" anchorCtr="0" compatLnSpc="1">
                <a:prstTxWarp prst="textNoShape">
                  <a:avLst/>
                </a:prstTxWarp>
              </a:bodyPr>
              <a:lstStyle/>
              <a:p>
                <a:r>
                  <a:rPr lang="en-US" sz="800" b="1">
                    <a:solidFill>
                      <a:schemeClr val="tx1">
                        <a:lumMod val="75000"/>
                        <a:lumOff val="25000"/>
                      </a:schemeClr>
                    </a:solidFill>
                  </a:rPr>
                  <a:t>IT4IT</a:t>
                </a:r>
              </a:p>
            </p:txBody>
          </p:sp>
        </p:grpSp>
        <p:sp>
          <p:nvSpPr>
            <p:cNvPr id="19" name="Rectangle 18">
              <a:extLst>
                <a:ext uri="{FF2B5EF4-FFF2-40B4-BE49-F238E27FC236}">
                  <a16:creationId xmlns:a16="http://schemas.microsoft.com/office/drawing/2014/main" id="{91BE787D-91DB-4CAD-BCA7-9A4B3AC1F4EB}"/>
                </a:ext>
              </a:extLst>
            </p:cNvPr>
            <p:cNvSpPr/>
            <p:nvPr/>
          </p:nvSpPr>
          <p:spPr bwMode="auto">
            <a:xfrm>
              <a:off x="2300130" y="2927578"/>
              <a:ext cx="7763033" cy="4648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36000" bIns="36000" numCol="1" rtlCol="0" anchor="t" anchorCtr="0" compatLnSpc="1">
              <a:prstTxWarp prst="textNoShape">
                <a:avLst/>
              </a:prstTxWarp>
            </a:bodyPr>
            <a:lstStyle/>
            <a:p>
              <a:r>
                <a:rPr lang="en-US" sz="800" b="1">
                  <a:solidFill>
                    <a:schemeClr val="tx1">
                      <a:lumMod val="75000"/>
                      <a:lumOff val="25000"/>
                    </a:schemeClr>
                  </a:solidFill>
                </a:rPr>
                <a:t>Data and AI</a:t>
              </a:r>
            </a:p>
          </p:txBody>
        </p:sp>
        <p:grpSp>
          <p:nvGrpSpPr>
            <p:cNvPr id="112" name="Group 111">
              <a:extLst>
                <a:ext uri="{FF2B5EF4-FFF2-40B4-BE49-F238E27FC236}">
                  <a16:creationId xmlns:a16="http://schemas.microsoft.com/office/drawing/2014/main" id="{26E39A2C-4C40-480B-BB84-4425A64B273C}"/>
                </a:ext>
              </a:extLst>
            </p:cNvPr>
            <p:cNvGrpSpPr/>
            <p:nvPr userDrawn="1"/>
          </p:nvGrpSpPr>
          <p:grpSpPr>
            <a:xfrm>
              <a:off x="2300132" y="3444758"/>
              <a:ext cx="7757525" cy="1621681"/>
              <a:chOff x="2300132" y="3437144"/>
              <a:chExt cx="7757525" cy="1621681"/>
            </a:xfrm>
          </p:grpSpPr>
          <p:sp>
            <p:nvSpPr>
              <p:cNvPr id="24" name="Rectangle 23">
                <a:extLst>
                  <a:ext uri="{FF2B5EF4-FFF2-40B4-BE49-F238E27FC236}">
                    <a16:creationId xmlns:a16="http://schemas.microsoft.com/office/drawing/2014/main" id="{D70A50DC-55A5-4338-A977-059A04D27165}"/>
                  </a:ext>
                </a:extLst>
              </p:cNvPr>
              <p:cNvSpPr/>
              <p:nvPr/>
            </p:nvSpPr>
            <p:spPr bwMode="auto">
              <a:xfrm>
                <a:off x="8816001" y="3437144"/>
                <a:ext cx="1241656" cy="16216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none" lIns="0" tIns="18000" rIns="0" bIns="0" numCol="1" rtlCol="0" anchor="t" anchorCtr="0" compatLnSpc="1">
                <a:prstTxWarp prst="textNoShape">
                  <a:avLst/>
                </a:prstTxWarp>
              </a:bodyPr>
              <a:lstStyle/>
              <a:p>
                <a:r>
                  <a:rPr lang="en-US" sz="800" b="1">
                    <a:solidFill>
                      <a:schemeClr val="tx1">
                        <a:lumMod val="75000"/>
                        <a:lumOff val="25000"/>
                      </a:schemeClr>
                    </a:solidFill>
                  </a:rPr>
                  <a:t>Communication</a:t>
                </a:r>
                <a:r>
                  <a:rPr lang="en-US" sz="600" b="1">
                    <a:solidFill>
                      <a:schemeClr val="tx1">
                        <a:lumMod val="75000"/>
                        <a:lumOff val="25000"/>
                      </a:schemeClr>
                    </a:solidFill>
                  </a:rPr>
                  <a:t> &amp; </a:t>
                </a:r>
                <a:r>
                  <a:rPr lang="en-US" sz="800" b="1">
                    <a:solidFill>
                      <a:schemeClr val="tx1">
                        <a:lumMod val="75000"/>
                        <a:lumOff val="25000"/>
                      </a:schemeClr>
                    </a:solidFill>
                  </a:rPr>
                  <a:t>Content</a:t>
                </a:r>
              </a:p>
            </p:txBody>
          </p:sp>
          <p:sp>
            <p:nvSpPr>
              <p:cNvPr id="25" name="Rectangle 24">
                <a:extLst>
                  <a:ext uri="{FF2B5EF4-FFF2-40B4-BE49-F238E27FC236}">
                    <a16:creationId xmlns:a16="http://schemas.microsoft.com/office/drawing/2014/main" id="{1D2C0BC4-36D6-486E-842D-BCCB5435398E}"/>
                  </a:ext>
                </a:extLst>
              </p:cNvPr>
              <p:cNvSpPr/>
              <p:nvPr/>
            </p:nvSpPr>
            <p:spPr bwMode="auto">
              <a:xfrm>
                <a:off x="7512826" y="3437144"/>
                <a:ext cx="1241656" cy="16216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Billing and Payment</a:t>
                </a:r>
              </a:p>
            </p:txBody>
          </p:sp>
          <p:sp>
            <p:nvSpPr>
              <p:cNvPr id="26" name="Rectangle 25">
                <a:extLst>
                  <a:ext uri="{FF2B5EF4-FFF2-40B4-BE49-F238E27FC236}">
                    <a16:creationId xmlns:a16="http://schemas.microsoft.com/office/drawing/2014/main" id="{A47A2757-6B7F-4B4A-9C7E-1408BA198A98}"/>
                  </a:ext>
                </a:extLst>
              </p:cNvPr>
              <p:cNvSpPr/>
              <p:nvPr/>
            </p:nvSpPr>
            <p:spPr bwMode="auto">
              <a:xfrm>
                <a:off x="3603305" y="3437144"/>
                <a:ext cx="1241656" cy="16216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Policy Admin</a:t>
                </a:r>
              </a:p>
            </p:txBody>
          </p:sp>
          <p:sp>
            <p:nvSpPr>
              <p:cNvPr id="27" name="Rectangle 26">
                <a:extLst>
                  <a:ext uri="{FF2B5EF4-FFF2-40B4-BE49-F238E27FC236}">
                    <a16:creationId xmlns:a16="http://schemas.microsoft.com/office/drawing/2014/main" id="{581C7FD4-0442-4D37-B718-1EF28FDB732F}"/>
                  </a:ext>
                </a:extLst>
              </p:cNvPr>
              <p:cNvSpPr/>
              <p:nvPr/>
            </p:nvSpPr>
            <p:spPr bwMode="auto">
              <a:xfrm>
                <a:off x="4906479" y="3437144"/>
                <a:ext cx="1241656" cy="16216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Claims</a:t>
                </a:r>
              </a:p>
            </p:txBody>
          </p:sp>
          <p:sp>
            <p:nvSpPr>
              <p:cNvPr id="28" name="Rectangle 27">
                <a:extLst>
                  <a:ext uri="{FF2B5EF4-FFF2-40B4-BE49-F238E27FC236}">
                    <a16:creationId xmlns:a16="http://schemas.microsoft.com/office/drawing/2014/main" id="{92179738-DD65-459D-8CA2-0FABD9888B30}"/>
                  </a:ext>
                </a:extLst>
              </p:cNvPr>
              <p:cNvSpPr/>
              <p:nvPr/>
            </p:nvSpPr>
            <p:spPr bwMode="auto">
              <a:xfrm>
                <a:off x="6209653" y="3437144"/>
                <a:ext cx="1241656" cy="16216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Distribution Support</a:t>
                </a:r>
              </a:p>
            </p:txBody>
          </p:sp>
          <p:sp>
            <p:nvSpPr>
              <p:cNvPr id="29" name="Rectangle 28">
                <a:extLst>
                  <a:ext uri="{FF2B5EF4-FFF2-40B4-BE49-F238E27FC236}">
                    <a16:creationId xmlns:a16="http://schemas.microsoft.com/office/drawing/2014/main" id="{2907D49B-00B1-4418-BBB4-11896E5F7A9D}"/>
                  </a:ext>
                </a:extLst>
              </p:cNvPr>
              <p:cNvSpPr/>
              <p:nvPr/>
            </p:nvSpPr>
            <p:spPr bwMode="auto">
              <a:xfrm>
                <a:off x="2300132" y="3437144"/>
                <a:ext cx="1241656" cy="16216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New Business</a:t>
                </a:r>
              </a:p>
            </p:txBody>
          </p:sp>
        </p:grpSp>
        <p:sp>
          <p:nvSpPr>
            <p:cNvPr id="30" name="Rectangle 29">
              <a:extLst>
                <a:ext uri="{FF2B5EF4-FFF2-40B4-BE49-F238E27FC236}">
                  <a16:creationId xmlns:a16="http://schemas.microsoft.com/office/drawing/2014/main" id="{EE95A977-3CD2-4696-9E6A-3F2A15C7BE7A}"/>
                </a:ext>
              </a:extLst>
            </p:cNvPr>
            <p:cNvSpPr/>
            <p:nvPr/>
          </p:nvSpPr>
          <p:spPr bwMode="auto">
            <a:xfrm>
              <a:off x="2300132" y="2410398"/>
              <a:ext cx="7757524" cy="4648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36000" bIns="36000" numCol="1" rtlCol="0" anchor="t" anchorCtr="0" compatLnSpc="1">
              <a:prstTxWarp prst="textNoShape">
                <a:avLst/>
              </a:prstTxWarp>
            </a:bodyPr>
            <a:lstStyle/>
            <a:p>
              <a:r>
                <a:rPr lang="en-US" sz="800" b="1">
                  <a:solidFill>
                    <a:schemeClr val="tx1">
                      <a:lumMod val="75000"/>
                      <a:lumOff val="25000"/>
                    </a:schemeClr>
                  </a:solidFill>
                </a:rPr>
                <a:t>Integration / </a:t>
              </a:r>
            </a:p>
            <a:p>
              <a:r>
                <a:rPr lang="en-US" sz="800" b="1">
                  <a:solidFill>
                    <a:schemeClr val="tx1">
                      <a:lumMod val="75000"/>
                      <a:lumOff val="25000"/>
                    </a:schemeClr>
                  </a:solidFill>
                </a:rPr>
                <a:t>Process</a:t>
              </a:r>
            </a:p>
          </p:txBody>
        </p:sp>
        <p:grpSp>
          <p:nvGrpSpPr>
            <p:cNvPr id="113" name="Group 112">
              <a:extLst>
                <a:ext uri="{FF2B5EF4-FFF2-40B4-BE49-F238E27FC236}">
                  <a16:creationId xmlns:a16="http://schemas.microsoft.com/office/drawing/2014/main" id="{C24FDAE2-6C41-4EFA-BE9A-A2C1C9485159}"/>
                </a:ext>
              </a:extLst>
            </p:cNvPr>
            <p:cNvGrpSpPr/>
            <p:nvPr userDrawn="1"/>
          </p:nvGrpSpPr>
          <p:grpSpPr>
            <a:xfrm>
              <a:off x="2300131" y="716437"/>
              <a:ext cx="7757525" cy="1641606"/>
              <a:chOff x="2300131" y="716437"/>
              <a:chExt cx="7757525" cy="1641606"/>
            </a:xfrm>
          </p:grpSpPr>
          <p:sp>
            <p:nvSpPr>
              <p:cNvPr id="31" name="Rectangle 30">
                <a:extLst>
                  <a:ext uri="{FF2B5EF4-FFF2-40B4-BE49-F238E27FC236}">
                    <a16:creationId xmlns:a16="http://schemas.microsoft.com/office/drawing/2014/main" id="{DE6560B5-D973-4EBB-9E16-6BD806C9BCCD}"/>
                  </a:ext>
                </a:extLst>
              </p:cNvPr>
              <p:cNvSpPr/>
              <p:nvPr/>
            </p:nvSpPr>
            <p:spPr bwMode="auto">
              <a:xfrm>
                <a:off x="8816000" y="716437"/>
                <a:ext cx="1241656" cy="164160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Provider</a:t>
                </a:r>
              </a:p>
            </p:txBody>
          </p:sp>
          <p:sp>
            <p:nvSpPr>
              <p:cNvPr id="32" name="Rectangle 31">
                <a:extLst>
                  <a:ext uri="{FF2B5EF4-FFF2-40B4-BE49-F238E27FC236}">
                    <a16:creationId xmlns:a16="http://schemas.microsoft.com/office/drawing/2014/main" id="{9E68D316-9767-4998-B6D6-1DA84A4BFC39}"/>
                  </a:ext>
                </a:extLst>
              </p:cNvPr>
              <p:cNvSpPr/>
              <p:nvPr/>
            </p:nvSpPr>
            <p:spPr bwMode="auto">
              <a:xfrm>
                <a:off x="7512825" y="716437"/>
                <a:ext cx="1241656" cy="164160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Marketing</a:t>
                </a:r>
              </a:p>
            </p:txBody>
          </p:sp>
          <p:sp>
            <p:nvSpPr>
              <p:cNvPr id="33" name="Rectangle 32">
                <a:extLst>
                  <a:ext uri="{FF2B5EF4-FFF2-40B4-BE49-F238E27FC236}">
                    <a16:creationId xmlns:a16="http://schemas.microsoft.com/office/drawing/2014/main" id="{285B1EF4-BCDB-4943-BF07-1204F06E736A}"/>
                  </a:ext>
                </a:extLst>
              </p:cNvPr>
              <p:cNvSpPr/>
              <p:nvPr/>
            </p:nvSpPr>
            <p:spPr bwMode="auto">
              <a:xfrm>
                <a:off x="3603304" y="716437"/>
                <a:ext cx="1241656" cy="164160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Agency</a:t>
                </a:r>
              </a:p>
            </p:txBody>
          </p:sp>
          <p:sp>
            <p:nvSpPr>
              <p:cNvPr id="34" name="Rectangle 33">
                <a:extLst>
                  <a:ext uri="{FF2B5EF4-FFF2-40B4-BE49-F238E27FC236}">
                    <a16:creationId xmlns:a16="http://schemas.microsoft.com/office/drawing/2014/main" id="{7925F5BC-B159-4519-AE5D-E7540EA9278F}"/>
                  </a:ext>
                </a:extLst>
              </p:cNvPr>
              <p:cNvSpPr/>
              <p:nvPr/>
            </p:nvSpPr>
            <p:spPr bwMode="auto">
              <a:xfrm>
                <a:off x="4906478" y="716437"/>
                <a:ext cx="1241656" cy="164160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Partnership Distribution</a:t>
                </a:r>
              </a:p>
            </p:txBody>
          </p:sp>
          <p:sp>
            <p:nvSpPr>
              <p:cNvPr id="35" name="Rectangle 34">
                <a:extLst>
                  <a:ext uri="{FF2B5EF4-FFF2-40B4-BE49-F238E27FC236}">
                    <a16:creationId xmlns:a16="http://schemas.microsoft.com/office/drawing/2014/main" id="{D0432148-B906-4BBC-B94B-EB913193CF6D}"/>
                  </a:ext>
                </a:extLst>
              </p:cNvPr>
              <p:cNvSpPr/>
              <p:nvPr/>
            </p:nvSpPr>
            <p:spPr bwMode="auto">
              <a:xfrm>
                <a:off x="6209652" y="716437"/>
                <a:ext cx="1241656" cy="164160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Contact Centre</a:t>
                </a:r>
              </a:p>
            </p:txBody>
          </p:sp>
          <p:sp>
            <p:nvSpPr>
              <p:cNvPr id="36" name="Rectangle 35">
                <a:extLst>
                  <a:ext uri="{FF2B5EF4-FFF2-40B4-BE49-F238E27FC236}">
                    <a16:creationId xmlns:a16="http://schemas.microsoft.com/office/drawing/2014/main" id="{0B24DD80-2299-498F-BBC2-BCB0EADA65B2}"/>
                  </a:ext>
                </a:extLst>
              </p:cNvPr>
              <p:cNvSpPr/>
              <p:nvPr/>
            </p:nvSpPr>
            <p:spPr bwMode="auto">
              <a:xfrm>
                <a:off x="2300131" y="716437"/>
                <a:ext cx="1241656" cy="164160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Customer</a:t>
                </a:r>
              </a:p>
            </p:txBody>
          </p:sp>
        </p:grpSp>
      </p:grpSp>
      <p:sp>
        <p:nvSpPr>
          <p:cNvPr id="17" name="Text Placeholder 16">
            <a:extLst>
              <a:ext uri="{FF2B5EF4-FFF2-40B4-BE49-F238E27FC236}">
                <a16:creationId xmlns:a16="http://schemas.microsoft.com/office/drawing/2014/main" id="{1C887C4D-4D8E-5941-88BE-BECE9C947E6F}"/>
              </a:ext>
            </a:extLst>
          </p:cNvPr>
          <p:cNvSpPr>
            <a:spLocks noGrp="1"/>
          </p:cNvSpPr>
          <p:nvPr userDrawn="1">
            <p:ph type="body" sz="quarter" idx="11" hasCustomPrompt="1"/>
          </p:nvPr>
        </p:nvSpPr>
        <p:spPr>
          <a:xfrm>
            <a:off x="457198" y="266217"/>
            <a:ext cx="10897566" cy="316145"/>
          </a:xfrm>
          <a:prstGeom prst="rect">
            <a:avLst/>
          </a:prstGeom>
        </p:spPr>
        <p:txBody>
          <a:bodyPr lIns="0" tIns="0" rIns="0" bIns="0" anchor="t"/>
          <a:lstStyle>
            <a:lvl1pPr>
              <a:lnSpc>
                <a:spcPts val="2400"/>
              </a:lnSpc>
              <a:defRPr sz="2000">
                <a:solidFill>
                  <a:srgbClr val="29BA74"/>
                </a:solidFill>
              </a:defRPr>
            </a:lvl1pPr>
          </a:lstStyle>
          <a:p>
            <a:pPr lvl="0"/>
            <a:r>
              <a:rPr lang="en-US"/>
              <a:t>Content Title</a:t>
            </a:r>
          </a:p>
        </p:txBody>
      </p:sp>
      <p:sp>
        <p:nvSpPr>
          <p:cNvPr id="37" name="Rectangle: Rounded Corners 36">
            <a:extLst>
              <a:ext uri="{FF2B5EF4-FFF2-40B4-BE49-F238E27FC236}">
                <a16:creationId xmlns:a16="http://schemas.microsoft.com/office/drawing/2014/main" id="{246D3A22-4972-4ADC-A174-CD9E377D7F2C}"/>
              </a:ext>
            </a:extLst>
          </p:cNvPr>
          <p:cNvSpPr/>
          <p:nvPr userDrawn="1"/>
        </p:nvSpPr>
        <p:spPr>
          <a:xfrm>
            <a:off x="7272107" y="903817"/>
            <a:ext cx="1143095" cy="54593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Healthcare</a:t>
            </a:r>
          </a:p>
          <a:p>
            <a:r>
              <a:rPr lang="en-US" sz="600">
                <a:solidFill>
                  <a:schemeClr val="tx1">
                    <a:lumMod val="65000"/>
                    <a:lumOff val="35000"/>
                  </a:schemeClr>
                </a:solidFill>
              </a:rPr>
              <a:t>Provider</a:t>
            </a:r>
          </a:p>
          <a:p>
            <a:r>
              <a:rPr lang="en-US" sz="600">
                <a:solidFill>
                  <a:schemeClr val="tx1">
                    <a:lumMod val="65000"/>
                    <a:lumOff val="35000"/>
                  </a:schemeClr>
                </a:solidFill>
              </a:rPr>
              <a:t>Mgmt.</a:t>
            </a:r>
          </a:p>
        </p:txBody>
      </p:sp>
      <p:sp>
        <p:nvSpPr>
          <p:cNvPr id="38" name="Rectangle: Rounded Corners 37">
            <a:extLst>
              <a:ext uri="{FF2B5EF4-FFF2-40B4-BE49-F238E27FC236}">
                <a16:creationId xmlns:a16="http://schemas.microsoft.com/office/drawing/2014/main" id="{5656C8E7-CB87-44B8-9476-618151061582}"/>
              </a:ext>
            </a:extLst>
          </p:cNvPr>
          <p:cNvSpPr/>
          <p:nvPr userDrawn="1"/>
        </p:nvSpPr>
        <p:spPr>
          <a:xfrm>
            <a:off x="7272107" y="1471653"/>
            <a:ext cx="1143095" cy="543618"/>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Other</a:t>
            </a:r>
          </a:p>
          <a:p>
            <a:r>
              <a:rPr lang="en-US" sz="600">
                <a:solidFill>
                  <a:schemeClr val="tx1">
                    <a:lumMod val="65000"/>
                    <a:lumOff val="35000"/>
                  </a:schemeClr>
                </a:solidFill>
              </a:rPr>
              <a:t>Provider</a:t>
            </a:r>
          </a:p>
          <a:p>
            <a:r>
              <a:rPr lang="en-US" sz="600">
                <a:solidFill>
                  <a:schemeClr val="tx1">
                    <a:lumMod val="65000"/>
                    <a:lumOff val="35000"/>
                  </a:schemeClr>
                </a:solidFill>
              </a:rPr>
              <a:t>Mgmt.</a:t>
            </a:r>
          </a:p>
        </p:txBody>
      </p:sp>
      <p:sp>
        <p:nvSpPr>
          <p:cNvPr id="39" name="Rectangle: Rounded Corners 38">
            <a:extLst>
              <a:ext uri="{FF2B5EF4-FFF2-40B4-BE49-F238E27FC236}">
                <a16:creationId xmlns:a16="http://schemas.microsoft.com/office/drawing/2014/main" id="{2AF7AABC-4AC1-48A2-9752-1B90E62FE737}"/>
              </a:ext>
            </a:extLst>
          </p:cNvPr>
          <p:cNvSpPr/>
          <p:nvPr userDrawn="1"/>
        </p:nvSpPr>
        <p:spPr>
          <a:xfrm>
            <a:off x="5970886" y="903817"/>
            <a:ext cx="1143095" cy="54593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Corporate</a:t>
            </a:r>
          </a:p>
          <a:p>
            <a:r>
              <a:rPr lang="en-US" sz="600">
                <a:solidFill>
                  <a:schemeClr val="tx1">
                    <a:lumMod val="65000"/>
                    <a:lumOff val="35000"/>
                  </a:schemeClr>
                </a:solidFill>
              </a:rPr>
              <a:t>Website</a:t>
            </a:r>
          </a:p>
        </p:txBody>
      </p:sp>
      <p:sp>
        <p:nvSpPr>
          <p:cNvPr id="42" name="Rectangle: Rounded Corners 41">
            <a:extLst>
              <a:ext uri="{FF2B5EF4-FFF2-40B4-BE49-F238E27FC236}">
                <a16:creationId xmlns:a16="http://schemas.microsoft.com/office/drawing/2014/main" id="{A68D61D7-46FA-4279-8384-6E8EC463AC00}"/>
              </a:ext>
            </a:extLst>
          </p:cNvPr>
          <p:cNvSpPr/>
          <p:nvPr userDrawn="1"/>
        </p:nvSpPr>
        <p:spPr>
          <a:xfrm>
            <a:off x="3363475" y="903817"/>
            <a:ext cx="1143095" cy="54593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Sales</a:t>
            </a:r>
          </a:p>
        </p:txBody>
      </p:sp>
      <p:sp>
        <p:nvSpPr>
          <p:cNvPr id="44" name="Rectangle: Rounded Corners 43">
            <a:extLst>
              <a:ext uri="{FF2B5EF4-FFF2-40B4-BE49-F238E27FC236}">
                <a16:creationId xmlns:a16="http://schemas.microsoft.com/office/drawing/2014/main" id="{C8467273-AB1C-4021-B97E-BF6AAA34CC9E}"/>
              </a:ext>
            </a:extLst>
          </p:cNvPr>
          <p:cNvSpPr/>
          <p:nvPr userDrawn="1"/>
        </p:nvSpPr>
        <p:spPr>
          <a:xfrm>
            <a:off x="3363475" y="1471332"/>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Lead </a:t>
            </a:r>
          </a:p>
          <a:p>
            <a:r>
              <a:rPr lang="en-US" sz="600">
                <a:solidFill>
                  <a:schemeClr val="tx1">
                    <a:lumMod val="65000"/>
                    <a:lumOff val="35000"/>
                  </a:schemeClr>
                </a:solidFill>
              </a:rPr>
              <a:t>&amp; Activity</a:t>
            </a:r>
          </a:p>
        </p:txBody>
      </p:sp>
      <p:sp>
        <p:nvSpPr>
          <p:cNvPr id="45" name="Rectangle: Rounded Corners 44">
            <a:extLst>
              <a:ext uri="{FF2B5EF4-FFF2-40B4-BE49-F238E27FC236}">
                <a16:creationId xmlns:a16="http://schemas.microsoft.com/office/drawing/2014/main" id="{17F3526F-26AF-4FB5-A4C4-B1F6340ED0DE}"/>
              </a:ext>
            </a:extLst>
          </p:cNvPr>
          <p:cNvSpPr/>
          <p:nvPr userDrawn="1"/>
        </p:nvSpPr>
        <p:spPr>
          <a:xfrm>
            <a:off x="4666054" y="903817"/>
            <a:ext cx="1143095" cy="54593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Customer</a:t>
            </a:r>
          </a:p>
          <a:p>
            <a:r>
              <a:rPr lang="en-US" sz="600">
                <a:solidFill>
                  <a:schemeClr val="tx1">
                    <a:lumMod val="65000"/>
                    <a:lumOff val="35000"/>
                  </a:schemeClr>
                </a:solidFill>
              </a:rPr>
              <a:t>Servicing</a:t>
            </a:r>
          </a:p>
        </p:txBody>
      </p:sp>
      <p:sp>
        <p:nvSpPr>
          <p:cNvPr id="46" name="Rectangle: Rounded Corners 45">
            <a:extLst>
              <a:ext uri="{FF2B5EF4-FFF2-40B4-BE49-F238E27FC236}">
                <a16:creationId xmlns:a16="http://schemas.microsoft.com/office/drawing/2014/main" id="{26FF7FC0-2EC3-49FE-882F-F0E5095AFE29}"/>
              </a:ext>
            </a:extLst>
          </p:cNvPr>
          <p:cNvSpPr/>
          <p:nvPr userDrawn="1"/>
        </p:nvSpPr>
        <p:spPr>
          <a:xfrm>
            <a:off x="4666054" y="1471332"/>
            <a:ext cx="1143095" cy="54393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Telephony</a:t>
            </a:r>
          </a:p>
        </p:txBody>
      </p:sp>
      <p:sp>
        <p:nvSpPr>
          <p:cNvPr id="47" name="Rectangle: Rounded Corners 46">
            <a:extLst>
              <a:ext uri="{FF2B5EF4-FFF2-40B4-BE49-F238E27FC236}">
                <a16:creationId xmlns:a16="http://schemas.microsoft.com/office/drawing/2014/main" id="{611A6A3C-8C69-47E5-BB93-D46B87F184DD}"/>
              </a:ext>
            </a:extLst>
          </p:cNvPr>
          <p:cNvSpPr/>
          <p:nvPr userDrawn="1"/>
        </p:nvSpPr>
        <p:spPr>
          <a:xfrm>
            <a:off x="766014" y="903817"/>
            <a:ext cx="1143095" cy="830178"/>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Omni-Channel</a:t>
            </a:r>
          </a:p>
          <a:p>
            <a:r>
              <a:rPr lang="en-US" sz="600">
                <a:solidFill>
                  <a:schemeClr val="tx1">
                    <a:lumMod val="65000"/>
                    <a:lumOff val="35000"/>
                  </a:schemeClr>
                </a:solidFill>
              </a:rPr>
              <a:t>Customer </a:t>
            </a:r>
          </a:p>
          <a:p>
            <a:r>
              <a:rPr lang="en-US" sz="600">
                <a:solidFill>
                  <a:schemeClr val="tx1">
                    <a:lumMod val="65000"/>
                    <a:lumOff val="35000"/>
                  </a:schemeClr>
                </a:solidFill>
              </a:rPr>
              <a:t>Digital</a:t>
            </a:r>
          </a:p>
        </p:txBody>
      </p:sp>
      <p:sp>
        <p:nvSpPr>
          <p:cNvPr id="49" name="Rectangle: Rounded Corners 48">
            <a:extLst>
              <a:ext uri="{FF2B5EF4-FFF2-40B4-BE49-F238E27FC236}">
                <a16:creationId xmlns:a16="http://schemas.microsoft.com/office/drawing/2014/main" id="{1FBD9C3D-36D7-448F-A4B3-001A1652C8A7}"/>
              </a:ext>
            </a:extLst>
          </p:cNvPr>
          <p:cNvSpPr/>
          <p:nvPr userDrawn="1"/>
        </p:nvSpPr>
        <p:spPr>
          <a:xfrm>
            <a:off x="2056295" y="1472828"/>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Lead </a:t>
            </a:r>
          </a:p>
          <a:p>
            <a:r>
              <a:rPr lang="en-US" sz="600">
                <a:solidFill>
                  <a:schemeClr val="tx1">
                    <a:lumMod val="65000"/>
                    <a:lumOff val="35000"/>
                  </a:schemeClr>
                </a:solidFill>
              </a:rPr>
              <a:t>&amp; Activity</a:t>
            </a:r>
          </a:p>
        </p:txBody>
      </p:sp>
      <p:sp>
        <p:nvSpPr>
          <p:cNvPr id="50" name="Rectangle: Rounded Corners 49">
            <a:extLst>
              <a:ext uri="{FF2B5EF4-FFF2-40B4-BE49-F238E27FC236}">
                <a16:creationId xmlns:a16="http://schemas.microsoft.com/office/drawing/2014/main" id="{CA6B7940-D5DD-407D-9304-093A212519AB}"/>
              </a:ext>
            </a:extLst>
          </p:cNvPr>
          <p:cNvSpPr/>
          <p:nvPr userDrawn="1"/>
        </p:nvSpPr>
        <p:spPr>
          <a:xfrm>
            <a:off x="2057124" y="6134587"/>
            <a:ext cx="244936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Public</a:t>
            </a:r>
          </a:p>
          <a:p>
            <a:r>
              <a:rPr lang="en-US" sz="600">
                <a:solidFill>
                  <a:schemeClr val="tx1">
                    <a:lumMod val="65000"/>
                    <a:lumOff val="35000"/>
                  </a:schemeClr>
                </a:solidFill>
              </a:rPr>
              <a:t>Cloud</a:t>
            </a:r>
          </a:p>
        </p:txBody>
      </p:sp>
      <p:sp>
        <p:nvSpPr>
          <p:cNvPr id="52" name="Rectangle: Rounded Corners 51">
            <a:extLst>
              <a:ext uri="{FF2B5EF4-FFF2-40B4-BE49-F238E27FC236}">
                <a16:creationId xmlns:a16="http://schemas.microsoft.com/office/drawing/2014/main" id="{CC62E456-6DDA-4585-BF83-2F8046D292ED}"/>
              </a:ext>
            </a:extLst>
          </p:cNvPr>
          <p:cNvSpPr/>
          <p:nvPr userDrawn="1"/>
        </p:nvSpPr>
        <p:spPr>
          <a:xfrm>
            <a:off x="2056295" y="2516727"/>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API</a:t>
            </a:r>
          </a:p>
        </p:txBody>
      </p:sp>
      <p:sp>
        <p:nvSpPr>
          <p:cNvPr id="53" name="Rectangle: Rounded Corners 52">
            <a:extLst>
              <a:ext uri="{FF2B5EF4-FFF2-40B4-BE49-F238E27FC236}">
                <a16:creationId xmlns:a16="http://schemas.microsoft.com/office/drawing/2014/main" id="{84D09440-536F-4788-9A52-2C5EC3CC5BA9}"/>
              </a:ext>
            </a:extLst>
          </p:cNvPr>
          <p:cNvSpPr/>
          <p:nvPr userDrawn="1"/>
        </p:nvSpPr>
        <p:spPr>
          <a:xfrm>
            <a:off x="3360248" y="2516727"/>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Business </a:t>
            </a:r>
          </a:p>
          <a:p>
            <a:r>
              <a:rPr lang="en-US" sz="600">
                <a:solidFill>
                  <a:schemeClr val="tx1">
                    <a:lumMod val="65000"/>
                    <a:lumOff val="35000"/>
                  </a:schemeClr>
                </a:solidFill>
              </a:rPr>
              <a:t>Process</a:t>
            </a:r>
          </a:p>
        </p:txBody>
      </p:sp>
      <p:sp>
        <p:nvSpPr>
          <p:cNvPr id="54" name="Rectangle: Rounded Corners 53">
            <a:extLst>
              <a:ext uri="{FF2B5EF4-FFF2-40B4-BE49-F238E27FC236}">
                <a16:creationId xmlns:a16="http://schemas.microsoft.com/office/drawing/2014/main" id="{F29D99A0-9E3B-4726-A892-ECF82D8258FC}"/>
              </a:ext>
            </a:extLst>
          </p:cNvPr>
          <p:cNvSpPr/>
          <p:nvPr userDrawn="1"/>
        </p:nvSpPr>
        <p:spPr>
          <a:xfrm>
            <a:off x="4664201" y="2516727"/>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Robotics</a:t>
            </a:r>
          </a:p>
          <a:p>
            <a:r>
              <a:rPr lang="en-US" sz="600">
                <a:solidFill>
                  <a:schemeClr val="tx1">
                    <a:lumMod val="65000"/>
                    <a:lumOff val="35000"/>
                  </a:schemeClr>
                </a:solidFill>
              </a:rPr>
              <a:t>Process</a:t>
            </a:r>
          </a:p>
          <a:p>
            <a:r>
              <a:rPr lang="en-US" sz="600">
                <a:solidFill>
                  <a:schemeClr val="tx1">
                    <a:lumMod val="65000"/>
                    <a:lumOff val="35000"/>
                  </a:schemeClr>
                </a:solidFill>
              </a:rPr>
              <a:t>Automation</a:t>
            </a:r>
          </a:p>
        </p:txBody>
      </p:sp>
      <p:sp>
        <p:nvSpPr>
          <p:cNvPr id="55" name="Rectangle: Rounded Corners 54">
            <a:extLst>
              <a:ext uri="{FF2B5EF4-FFF2-40B4-BE49-F238E27FC236}">
                <a16:creationId xmlns:a16="http://schemas.microsoft.com/office/drawing/2014/main" id="{0D5F7184-6FD5-4E1D-896A-4364E39461C4}"/>
              </a:ext>
            </a:extLst>
          </p:cNvPr>
          <p:cNvSpPr/>
          <p:nvPr userDrawn="1"/>
        </p:nvSpPr>
        <p:spPr>
          <a:xfrm>
            <a:off x="2056295" y="3041455"/>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Customer</a:t>
            </a:r>
          </a:p>
          <a:p>
            <a:r>
              <a:rPr lang="en-US" sz="600">
                <a:solidFill>
                  <a:schemeClr val="tx1">
                    <a:lumMod val="65000"/>
                    <a:lumOff val="35000"/>
                  </a:schemeClr>
                </a:solidFill>
              </a:rPr>
              <a:t>Data</a:t>
            </a:r>
          </a:p>
        </p:txBody>
      </p:sp>
      <p:sp>
        <p:nvSpPr>
          <p:cNvPr id="57" name="Rectangle: Rounded Corners 56">
            <a:extLst>
              <a:ext uri="{FF2B5EF4-FFF2-40B4-BE49-F238E27FC236}">
                <a16:creationId xmlns:a16="http://schemas.microsoft.com/office/drawing/2014/main" id="{C30AA7CD-EA9F-4CB8-8045-346CCD8F5F99}"/>
              </a:ext>
            </a:extLst>
          </p:cNvPr>
          <p:cNvSpPr/>
          <p:nvPr userDrawn="1"/>
        </p:nvSpPr>
        <p:spPr>
          <a:xfrm>
            <a:off x="766014" y="1755571"/>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Health &amp;</a:t>
            </a:r>
          </a:p>
          <a:p>
            <a:r>
              <a:rPr lang="en-US" sz="600">
                <a:solidFill>
                  <a:schemeClr val="tx1">
                    <a:lumMod val="65000"/>
                    <a:lumOff val="35000"/>
                  </a:schemeClr>
                </a:solidFill>
              </a:rPr>
              <a:t>Wellness</a:t>
            </a:r>
          </a:p>
        </p:txBody>
      </p:sp>
      <p:sp>
        <p:nvSpPr>
          <p:cNvPr id="60" name="Rectangle: Rounded Corners 59">
            <a:extLst>
              <a:ext uri="{FF2B5EF4-FFF2-40B4-BE49-F238E27FC236}">
                <a16:creationId xmlns:a16="http://schemas.microsoft.com/office/drawing/2014/main" id="{63E7FF01-0A63-4568-9D6C-5CD6301422E7}"/>
              </a:ext>
            </a:extLst>
          </p:cNvPr>
          <p:cNvSpPr/>
          <p:nvPr userDrawn="1"/>
        </p:nvSpPr>
        <p:spPr>
          <a:xfrm>
            <a:off x="5970886" y="1471653"/>
            <a:ext cx="1143095" cy="543618"/>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Campaign</a:t>
            </a:r>
          </a:p>
          <a:p>
            <a:r>
              <a:rPr lang="en-US" sz="600">
                <a:solidFill>
                  <a:schemeClr val="tx1">
                    <a:lumMod val="65000"/>
                    <a:lumOff val="35000"/>
                  </a:schemeClr>
                </a:solidFill>
              </a:rPr>
              <a:t>Mgmt.</a:t>
            </a:r>
          </a:p>
        </p:txBody>
      </p:sp>
      <p:sp>
        <p:nvSpPr>
          <p:cNvPr id="63" name="Rectangle: Rounded Corners 62">
            <a:extLst>
              <a:ext uri="{FF2B5EF4-FFF2-40B4-BE49-F238E27FC236}">
                <a16:creationId xmlns:a16="http://schemas.microsoft.com/office/drawing/2014/main" id="{0E4AC6A2-C5A2-45C6-A7B0-9038CE280EDE}"/>
              </a:ext>
            </a:extLst>
          </p:cNvPr>
          <p:cNvSpPr/>
          <p:nvPr userDrawn="1"/>
        </p:nvSpPr>
        <p:spPr>
          <a:xfrm>
            <a:off x="759926" y="3612164"/>
            <a:ext cx="1143095" cy="55362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UW </a:t>
            </a:r>
          </a:p>
          <a:p>
            <a:r>
              <a:rPr lang="en-US" sz="600">
                <a:solidFill>
                  <a:schemeClr val="tx1">
                    <a:lumMod val="65000"/>
                    <a:lumOff val="35000"/>
                  </a:schemeClr>
                </a:solidFill>
              </a:rPr>
              <a:t>Front-End</a:t>
            </a:r>
          </a:p>
        </p:txBody>
      </p:sp>
      <p:sp>
        <p:nvSpPr>
          <p:cNvPr id="64" name="Rectangle: Rounded Corners 63">
            <a:extLst>
              <a:ext uri="{FF2B5EF4-FFF2-40B4-BE49-F238E27FC236}">
                <a16:creationId xmlns:a16="http://schemas.microsoft.com/office/drawing/2014/main" id="{E7DFFE50-C2AA-4EE8-BAAC-F23F1E807323}"/>
              </a:ext>
            </a:extLst>
          </p:cNvPr>
          <p:cNvSpPr/>
          <p:nvPr userDrawn="1"/>
        </p:nvSpPr>
        <p:spPr>
          <a:xfrm>
            <a:off x="759926" y="4187369"/>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UW </a:t>
            </a:r>
          </a:p>
          <a:p>
            <a:r>
              <a:rPr lang="en-US" sz="600">
                <a:solidFill>
                  <a:schemeClr val="tx1">
                    <a:lumMod val="65000"/>
                    <a:lumOff val="35000"/>
                  </a:schemeClr>
                </a:solidFill>
              </a:rPr>
              <a:t>Rules</a:t>
            </a:r>
          </a:p>
        </p:txBody>
      </p:sp>
      <p:sp>
        <p:nvSpPr>
          <p:cNvPr id="65" name="Rectangle: Rounded Corners 64">
            <a:extLst>
              <a:ext uri="{FF2B5EF4-FFF2-40B4-BE49-F238E27FC236}">
                <a16:creationId xmlns:a16="http://schemas.microsoft.com/office/drawing/2014/main" id="{027DD4B3-B39A-4EE2-8E6A-9B4AD1A01307}"/>
              </a:ext>
            </a:extLst>
          </p:cNvPr>
          <p:cNvSpPr/>
          <p:nvPr userDrawn="1"/>
        </p:nvSpPr>
        <p:spPr>
          <a:xfrm>
            <a:off x="759926" y="4474971"/>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Others</a:t>
            </a:r>
          </a:p>
        </p:txBody>
      </p:sp>
      <p:sp>
        <p:nvSpPr>
          <p:cNvPr id="66" name="Rectangle: Rounded Corners 65">
            <a:extLst>
              <a:ext uri="{FF2B5EF4-FFF2-40B4-BE49-F238E27FC236}">
                <a16:creationId xmlns:a16="http://schemas.microsoft.com/office/drawing/2014/main" id="{F1AB9617-8180-4608-A3D1-F24FD16B670F}"/>
              </a:ext>
            </a:extLst>
          </p:cNvPr>
          <p:cNvSpPr/>
          <p:nvPr userDrawn="1"/>
        </p:nvSpPr>
        <p:spPr>
          <a:xfrm>
            <a:off x="2061660" y="3612164"/>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Individual</a:t>
            </a:r>
          </a:p>
          <a:p>
            <a:r>
              <a:rPr lang="en-US" sz="600">
                <a:solidFill>
                  <a:schemeClr val="tx1">
                    <a:lumMod val="65000"/>
                    <a:lumOff val="35000"/>
                  </a:schemeClr>
                </a:solidFill>
              </a:rPr>
              <a:t>Life</a:t>
            </a:r>
          </a:p>
        </p:txBody>
      </p:sp>
      <p:sp>
        <p:nvSpPr>
          <p:cNvPr id="67" name="Rectangle: Rounded Corners 66">
            <a:extLst>
              <a:ext uri="{FF2B5EF4-FFF2-40B4-BE49-F238E27FC236}">
                <a16:creationId xmlns:a16="http://schemas.microsoft.com/office/drawing/2014/main" id="{47278C93-390C-46CE-99B6-31BD2329ABEC}"/>
              </a:ext>
            </a:extLst>
          </p:cNvPr>
          <p:cNvSpPr/>
          <p:nvPr userDrawn="1"/>
        </p:nvSpPr>
        <p:spPr>
          <a:xfrm>
            <a:off x="2061660" y="3899767"/>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Corporate</a:t>
            </a:r>
          </a:p>
          <a:p>
            <a:r>
              <a:rPr lang="en-US" sz="600">
                <a:solidFill>
                  <a:schemeClr val="tx1">
                    <a:lumMod val="65000"/>
                    <a:lumOff val="35000"/>
                  </a:schemeClr>
                </a:solidFill>
              </a:rPr>
              <a:t>Solutions</a:t>
            </a:r>
          </a:p>
        </p:txBody>
      </p:sp>
      <p:sp>
        <p:nvSpPr>
          <p:cNvPr id="68" name="Rectangle: Rounded Corners 67">
            <a:extLst>
              <a:ext uri="{FF2B5EF4-FFF2-40B4-BE49-F238E27FC236}">
                <a16:creationId xmlns:a16="http://schemas.microsoft.com/office/drawing/2014/main" id="{1AD2B419-5A1E-497A-9795-836413DBF0C3}"/>
              </a:ext>
            </a:extLst>
          </p:cNvPr>
          <p:cNvSpPr/>
          <p:nvPr userDrawn="1"/>
        </p:nvSpPr>
        <p:spPr>
          <a:xfrm>
            <a:off x="2061660" y="4187369"/>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Other</a:t>
            </a:r>
          </a:p>
          <a:p>
            <a:r>
              <a:rPr lang="en-US" sz="600">
                <a:solidFill>
                  <a:schemeClr val="tx1">
                    <a:lumMod val="65000"/>
                    <a:lumOff val="35000"/>
                  </a:schemeClr>
                </a:solidFill>
              </a:rPr>
              <a:t>LOB</a:t>
            </a:r>
          </a:p>
        </p:txBody>
      </p:sp>
      <p:sp>
        <p:nvSpPr>
          <p:cNvPr id="69" name="Rectangle: Rounded Corners 68">
            <a:extLst>
              <a:ext uri="{FF2B5EF4-FFF2-40B4-BE49-F238E27FC236}">
                <a16:creationId xmlns:a16="http://schemas.microsoft.com/office/drawing/2014/main" id="{A48A830F-326D-4DA3-AF5E-15B3D0562592}"/>
              </a:ext>
            </a:extLst>
          </p:cNvPr>
          <p:cNvSpPr/>
          <p:nvPr userDrawn="1"/>
        </p:nvSpPr>
        <p:spPr>
          <a:xfrm>
            <a:off x="2061660" y="4474971"/>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POS Front-End </a:t>
            </a:r>
          </a:p>
          <a:p>
            <a:r>
              <a:rPr lang="en-US" sz="600">
                <a:solidFill>
                  <a:schemeClr val="tx1">
                    <a:lumMod val="65000"/>
                    <a:lumOff val="35000"/>
                  </a:schemeClr>
                </a:solidFill>
              </a:rPr>
              <a:t>&amp; Rules</a:t>
            </a:r>
          </a:p>
        </p:txBody>
      </p:sp>
      <p:sp>
        <p:nvSpPr>
          <p:cNvPr id="70" name="Rectangle: Rounded Corners 69">
            <a:extLst>
              <a:ext uri="{FF2B5EF4-FFF2-40B4-BE49-F238E27FC236}">
                <a16:creationId xmlns:a16="http://schemas.microsoft.com/office/drawing/2014/main" id="{988516E1-6C59-44F6-BD7B-D4DA389D8CD6}"/>
              </a:ext>
            </a:extLst>
          </p:cNvPr>
          <p:cNvSpPr/>
          <p:nvPr userDrawn="1"/>
        </p:nvSpPr>
        <p:spPr>
          <a:xfrm>
            <a:off x="2061660" y="4762574"/>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Others</a:t>
            </a:r>
          </a:p>
        </p:txBody>
      </p:sp>
      <p:sp>
        <p:nvSpPr>
          <p:cNvPr id="71" name="Rectangle: Rounded Corners 70">
            <a:extLst>
              <a:ext uri="{FF2B5EF4-FFF2-40B4-BE49-F238E27FC236}">
                <a16:creationId xmlns:a16="http://schemas.microsoft.com/office/drawing/2014/main" id="{AD7C65D7-DFCF-424F-9507-295EC6204176}"/>
              </a:ext>
            </a:extLst>
          </p:cNvPr>
          <p:cNvSpPr/>
          <p:nvPr userDrawn="1"/>
        </p:nvSpPr>
        <p:spPr>
          <a:xfrm>
            <a:off x="3363394" y="3612164"/>
            <a:ext cx="1143095" cy="544981"/>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Claims</a:t>
            </a:r>
          </a:p>
          <a:p>
            <a:r>
              <a:rPr lang="en-US" sz="600">
                <a:solidFill>
                  <a:schemeClr val="tx1">
                    <a:lumMod val="65000"/>
                    <a:lumOff val="35000"/>
                  </a:schemeClr>
                </a:solidFill>
              </a:rPr>
              <a:t>Front-End</a:t>
            </a:r>
          </a:p>
        </p:txBody>
      </p:sp>
      <p:sp>
        <p:nvSpPr>
          <p:cNvPr id="72" name="Rectangle: Rounded Corners 71">
            <a:extLst>
              <a:ext uri="{FF2B5EF4-FFF2-40B4-BE49-F238E27FC236}">
                <a16:creationId xmlns:a16="http://schemas.microsoft.com/office/drawing/2014/main" id="{F2FFFC66-CD98-4A9F-961E-9B92D2785DBD}"/>
              </a:ext>
            </a:extLst>
          </p:cNvPr>
          <p:cNvSpPr/>
          <p:nvPr userDrawn="1"/>
        </p:nvSpPr>
        <p:spPr>
          <a:xfrm>
            <a:off x="3363394" y="4187369"/>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Claims</a:t>
            </a:r>
          </a:p>
          <a:p>
            <a:r>
              <a:rPr lang="en-US" sz="600">
                <a:solidFill>
                  <a:schemeClr val="tx1">
                    <a:lumMod val="65000"/>
                    <a:lumOff val="35000"/>
                  </a:schemeClr>
                </a:solidFill>
              </a:rPr>
              <a:t>Rules</a:t>
            </a:r>
          </a:p>
        </p:txBody>
      </p:sp>
      <p:sp>
        <p:nvSpPr>
          <p:cNvPr id="73" name="Rectangle: Rounded Corners 72">
            <a:extLst>
              <a:ext uri="{FF2B5EF4-FFF2-40B4-BE49-F238E27FC236}">
                <a16:creationId xmlns:a16="http://schemas.microsoft.com/office/drawing/2014/main" id="{EC2DD1F6-CBD5-49F5-BB46-2EAC25498EA6}"/>
              </a:ext>
            </a:extLst>
          </p:cNvPr>
          <p:cNvSpPr/>
          <p:nvPr userDrawn="1"/>
        </p:nvSpPr>
        <p:spPr>
          <a:xfrm>
            <a:off x="3363394" y="4474971"/>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Fraud</a:t>
            </a:r>
          </a:p>
          <a:p>
            <a:r>
              <a:rPr lang="en-US" sz="600">
                <a:solidFill>
                  <a:schemeClr val="tx1">
                    <a:lumMod val="65000"/>
                    <a:lumOff val="35000"/>
                  </a:schemeClr>
                </a:solidFill>
              </a:rPr>
              <a:t>Detection</a:t>
            </a:r>
          </a:p>
        </p:txBody>
      </p:sp>
      <p:sp>
        <p:nvSpPr>
          <p:cNvPr id="74" name="Rectangle: Rounded Corners 73">
            <a:extLst>
              <a:ext uri="{FF2B5EF4-FFF2-40B4-BE49-F238E27FC236}">
                <a16:creationId xmlns:a16="http://schemas.microsoft.com/office/drawing/2014/main" id="{6A482572-1457-4572-BF74-6C1D6DDD0E1C}"/>
              </a:ext>
            </a:extLst>
          </p:cNvPr>
          <p:cNvSpPr/>
          <p:nvPr userDrawn="1"/>
        </p:nvSpPr>
        <p:spPr>
          <a:xfrm>
            <a:off x="3363394" y="4762574"/>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Others</a:t>
            </a:r>
          </a:p>
        </p:txBody>
      </p:sp>
      <p:sp>
        <p:nvSpPr>
          <p:cNvPr id="75" name="Rectangle: Rounded Corners 74">
            <a:extLst>
              <a:ext uri="{FF2B5EF4-FFF2-40B4-BE49-F238E27FC236}">
                <a16:creationId xmlns:a16="http://schemas.microsoft.com/office/drawing/2014/main" id="{0F2299C1-99C8-4702-806B-D2A4FBBAD611}"/>
              </a:ext>
            </a:extLst>
          </p:cNvPr>
          <p:cNvSpPr/>
          <p:nvPr userDrawn="1"/>
        </p:nvSpPr>
        <p:spPr>
          <a:xfrm>
            <a:off x="4665128" y="3612164"/>
            <a:ext cx="1143095" cy="544981"/>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Commission</a:t>
            </a:r>
          </a:p>
          <a:p>
            <a:r>
              <a:rPr lang="en-US" sz="600">
                <a:solidFill>
                  <a:schemeClr val="tx1">
                    <a:lumMod val="65000"/>
                    <a:lumOff val="35000"/>
                  </a:schemeClr>
                </a:solidFill>
              </a:rPr>
              <a:t>Mgmt.</a:t>
            </a:r>
          </a:p>
        </p:txBody>
      </p:sp>
      <p:sp>
        <p:nvSpPr>
          <p:cNvPr id="76" name="Rectangle: Rounded Corners 75">
            <a:extLst>
              <a:ext uri="{FF2B5EF4-FFF2-40B4-BE49-F238E27FC236}">
                <a16:creationId xmlns:a16="http://schemas.microsoft.com/office/drawing/2014/main" id="{5A20F75D-4C21-46B3-A9B3-D1F0B313A5D8}"/>
              </a:ext>
            </a:extLst>
          </p:cNvPr>
          <p:cNvSpPr/>
          <p:nvPr userDrawn="1"/>
        </p:nvSpPr>
        <p:spPr>
          <a:xfrm>
            <a:off x="4665128" y="4187369"/>
            <a:ext cx="1143095" cy="553628"/>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Distribution</a:t>
            </a:r>
          </a:p>
          <a:p>
            <a:r>
              <a:rPr lang="en-US" sz="600">
                <a:solidFill>
                  <a:schemeClr val="tx1">
                    <a:lumMod val="65000"/>
                    <a:lumOff val="35000"/>
                  </a:schemeClr>
                </a:solidFill>
              </a:rPr>
              <a:t>Mgmt.</a:t>
            </a:r>
          </a:p>
        </p:txBody>
      </p:sp>
      <p:sp>
        <p:nvSpPr>
          <p:cNvPr id="78" name="Rectangle: Rounded Corners 77">
            <a:extLst>
              <a:ext uri="{FF2B5EF4-FFF2-40B4-BE49-F238E27FC236}">
                <a16:creationId xmlns:a16="http://schemas.microsoft.com/office/drawing/2014/main" id="{3A8642F1-FDC5-49A7-84DC-DAAE4046633A}"/>
              </a:ext>
            </a:extLst>
          </p:cNvPr>
          <p:cNvSpPr/>
          <p:nvPr userDrawn="1"/>
        </p:nvSpPr>
        <p:spPr>
          <a:xfrm>
            <a:off x="5971332" y="3612164"/>
            <a:ext cx="1143095" cy="55362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Billing</a:t>
            </a:r>
          </a:p>
        </p:txBody>
      </p:sp>
      <p:sp>
        <p:nvSpPr>
          <p:cNvPr id="79" name="Rectangle: Rounded Corners 78">
            <a:extLst>
              <a:ext uri="{FF2B5EF4-FFF2-40B4-BE49-F238E27FC236}">
                <a16:creationId xmlns:a16="http://schemas.microsoft.com/office/drawing/2014/main" id="{C57B93D3-98AF-4DE9-84DA-F66DFE8C3B36}"/>
              </a:ext>
            </a:extLst>
          </p:cNvPr>
          <p:cNvSpPr/>
          <p:nvPr userDrawn="1"/>
        </p:nvSpPr>
        <p:spPr>
          <a:xfrm>
            <a:off x="5971332" y="4187369"/>
            <a:ext cx="1143095" cy="55362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Payment</a:t>
            </a:r>
          </a:p>
        </p:txBody>
      </p:sp>
      <p:sp>
        <p:nvSpPr>
          <p:cNvPr id="80" name="Rectangle: Rounded Corners 79">
            <a:extLst>
              <a:ext uri="{FF2B5EF4-FFF2-40B4-BE49-F238E27FC236}">
                <a16:creationId xmlns:a16="http://schemas.microsoft.com/office/drawing/2014/main" id="{E21B34BA-0EB4-4AAB-981A-418207741C37}"/>
              </a:ext>
            </a:extLst>
          </p:cNvPr>
          <p:cNvSpPr/>
          <p:nvPr userDrawn="1"/>
        </p:nvSpPr>
        <p:spPr>
          <a:xfrm>
            <a:off x="7268597" y="3612164"/>
            <a:ext cx="1143095" cy="55362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Content</a:t>
            </a:r>
          </a:p>
          <a:p>
            <a:r>
              <a:rPr lang="en-US" sz="600">
                <a:solidFill>
                  <a:schemeClr val="tx1">
                    <a:lumMod val="65000"/>
                    <a:lumOff val="35000"/>
                  </a:schemeClr>
                </a:solidFill>
              </a:rPr>
              <a:t>Mgmt.</a:t>
            </a:r>
          </a:p>
        </p:txBody>
      </p:sp>
      <p:sp>
        <p:nvSpPr>
          <p:cNvPr id="81" name="Rectangle: Rounded Corners 80">
            <a:extLst>
              <a:ext uri="{FF2B5EF4-FFF2-40B4-BE49-F238E27FC236}">
                <a16:creationId xmlns:a16="http://schemas.microsoft.com/office/drawing/2014/main" id="{4092E159-BFB6-42AA-8335-992F8358C37D}"/>
              </a:ext>
            </a:extLst>
          </p:cNvPr>
          <p:cNvSpPr/>
          <p:nvPr userDrawn="1"/>
        </p:nvSpPr>
        <p:spPr>
          <a:xfrm>
            <a:off x="7268597" y="4187369"/>
            <a:ext cx="1143095" cy="55362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Communication</a:t>
            </a:r>
          </a:p>
          <a:p>
            <a:r>
              <a:rPr lang="en-US" sz="600">
                <a:solidFill>
                  <a:schemeClr val="tx1">
                    <a:lumMod val="65000"/>
                    <a:lumOff val="35000"/>
                  </a:schemeClr>
                </a:solidFill>
              </a:rPr>
              <a:t>Mgmt.</a:t>
            </a:r>
          </a:p>
        </p:txBody>
      </p:sp>
      <p:sp>
        <p:nvSpPr>
          <p:cNvPr id="83" name="Rectangle: Rounded Corners 82">
            <a:extLst>
              <a:ext uri="{FF2B5EF4-FFF2-40B4-BE49-F238E27FC236}">
                <a16:creationId xmlns:a16="http://schemas.microsoft.com/office/drawing/2014/main" id="{EA217EE9-D09F-4A69-8D47-51C3BC895E3A}"/>
              </a:ext>
            </a:extLst>
          </p:cNvPr>
          <p:cNvSpPr/>
          <p:nvPr userDrawn="1"/>
        </p:nvSpPr>
        <p:spPr>
          <a:xfrm>
            <a:off x="766014" y="2041839"/>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Direct Sales</a:t>
            </a:r>
          </a:p>
        </p:txBody>
      </p:sp>
      <p:sp>
        <p:nvSpPr>
          <p:cNvPr id="103" name="Rectangle: Rounded Corners 102">
            <a:extLst>
              <a:ext uri="{FF2B5EF4-FFF2-40B4-BE49-F238E27FC236}">
                <a16:creationId xmlns:a16="http://schemas.microsoft.com/office/drawing/2014/main" id="{790C225F-3C89-4A6E-8AC4-FFCE9DDCF8C8}"/>
              </a:ext>
            </a:extLst>
          </p:cNvPr>
          <p:cNvSpPr/>
          <p:nvPr userDrawn="1"/>
        </p:nvSpPr>
        <p:spPr>
          <a:xfrm>
            <a:off x="2056295" y="903817"/>
            <a:ext cx="1143095" cy="54593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Sales</a:t>
            </a:r>
          </a:p>
        </p:txBody>
      </p:sp>
      <p:sp>
        <p:nvSpPr>
          <p:cNvPr id="20" name="Rectangle: Rounded Corners 19">
            <a:extLst>
              <a:ext uri="{FF2B5EF4-FFF2-40B4-BE49-F238E27FC236}">
                <a16:creationId xmlns:a16="http://schemas.microsoft.com/office/drawing/2014/main" id="{03DD2493-2081-4A07-9F17-F223D196F97A}"/>
              </a:ext>
            </a:extLst>
          </p:cNvPr>
          <p:cNvSpPr/>
          <p:nvPr userDrawn="1"/>
        </p:nvSpPr>
        <p:spPr>
          <a:xfrm>
            <a:off x="3363475" y="3041455"/>
            <a:ext cx="114614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Big Data</a:t>
            </a:r>
          </a:p>
        </p:txBody>
      </p:sp>
      <p:sp>
        <p:nvSpPr>
          <p:cNvPr id="21" name="Rectangle: Rounded Corners 20">
            <a:extLst>
              <a:ext uri="{FF2B5EF4-FFF2-40B4-BE49-F238E27FC236}">
                <a16:creationId xmlns:a16="http://schemas.microsoft.com/office/drawing/2014/main" id="{1ABF71C1-5404-4E3F-8154-083567141491}"/>
              </a:ext>
            </a:extLst>
          </p:cNvPr>
          <p:cNvSpPr/>
          <p:nvPr userDrawn="1"/>
        </p:nvSpPr>
        <p:spPr>
          <a:xfrm>
            <a:off x="7269057" y="3030900"/>
            <a:ext cx="114614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Analytics</a:t>
            </a:r>
          </a:p>
        </p:txBody>
      </p:sp>
      <p:sp>
        <p:nvSpPr>
          <p:cNvPr id="22" name="Rectangle: Rounded Corners 21">
            <a:extLst>
              <a:ext uri="{FF2B5EF4-FFF2-40B4-BE49-F238E27FC236}">
                <a16:creationId xmlns:a16="http://schemas.microsoft.com/office/drawing/2014/main" id="{883901E6-A674-4399-872E-C9BB95B80443}"/>
              </a:ext>
            </a:extLst>
          </p:cNvPr>
          <p:cNvSpPr/>
          <p:nvPr userDrawn="1"/>
        </p:nvSpPr>
        <p:spPr>
          <a:xfrm>
            <a:off x="4666054" y="3041455"/>
            <a:ext cx="114614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Machine </a:t>
            </a:r>
          </a:p>
          <a:p>
            <a:r>
              <a:rPr lang="en-US" sz="600">
                <a:solidFill>
                  <a:schemeClr val="tx1">
                    <a:lumMod val="65000"/>
                    <a:lumOff val="35000"/>
                  </a:schemeClr>
                </a:solidFill>
              </a:rPr>
              <a:t>Learning</a:t>
            </a:r>
          </a:p>
        </p:txBody>
      </p:sp>
      <p:sp>
        <p:nvSpPr>
          <p:cNvPr id="23" name="Rectangle: Rounded Corners 22">
            <a:extLst>
              <a:ext uri="{FF2B5EF4-FFF2-40B4-BE49-F238E27FC236}">
                <a16:creationId xmlns:a16="http://schemas.microsoft.com/office/drawing/2014/main" id="{C26FE0EF-E802-4B35-9861-5EAD59FACED2}"/>
              </a:ext>
            </a:extLst>
          </p:cNvPr>
          <p:cNvSpPr/>
          <p:nvPr userDrawn="1"/>
        </p:nvSpPr>
        <p:spPr>
          <a:xfrm>
            <a:off x="5966241" y="3036407"/>
            <a:ext cx="114614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Vision,  </a:t>
            </a:r>
          </a:p>
          <a:p>
            <a:r>
              <a:rPr lang="en-US" sz="600">
                <a:solidFill>
                  <a:schemeClr val="tx1">
                    <a:lumMod val="65000"/>
                    <a:lumOff val="35000"/>
                  </a:schemeClr>
                </a:solidFill>
              </a:rPr>
              <a:t>Voice &amp; NLP</a:t>
            </a:r>
          </a:p>
        </p:txBody>
      </p:sp>
      <p:sp>
        <p:nvSpPr>
          <p:cNvPr id="107" name="Rectangle: Rounded Corners 106">
            <a:extLst>
              <a:ext uri="{FF2B5EF4-FFF2-40B4-BE49-F238E27FC236}">
                <a16:creationId xmlns:a16="http://schemas.microsoft.com/office/drawing/2014/main" id="{EDC162B5-39A9-4225-9D95-9EA0C79CFB52}"/>
              </a:ext>
            </a:extLst>
          </p:cNvPr>
          <p:cNvSpPr/>
          <p:nvPr userDrawn="1"/>
        </p:nvSpPr>
        <p:spPr>
          <a:xfrm>
            <a:off x="2054774" y="1755571"/>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Recruitment </a:t>
            </a:r>
          </a:p>
          <a:p>
            <a:r>
              <a:rPr lang="en-US" sz="600">
                <a:solidFill>
                  <a:schemeClr val="tx1">
                    <a:lumMod val="65000"/>
                    <a:lumOff val="35000"/>
                  </a:schemeClr>
                </a:solidFill>
              </a:rPr>
              <a:t>&amp; Learning</a:t>
            </a:r>
          </a:p>
        </p:txBody>
      </p:sp>
      <p:sp>
        <p:nvSpPr>
          <p:cNvPr id="108" name="Rectangle: Rounded Corners 107">
            <a:extLst>
              <a:ext uri="{FF2B5EF4-FFF2-40B4-BE49-F238E27FC236}">
                <a16:creationId xmlns:a16="http://schemas.microsoft.com/office/drawing/2014/main" id="{42549386-A055-438C-BE0B-4A298AB46BB9}"/>
              </a:ext>
            </a:extLst>
          </p:cNvPr>
          <p:cNvSpPr/>
          <p:nvPr userDrawn="1"/>
        </p:nvSpPr>
        <p:spPr>
          <a:xfrm>
            <a:off x="2054774" y="2041839"/>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Servicing </a:t>
            </a:r>
          </a:p>
          <a:p>
            <a:r>
              <a:rPr lang="en-US" sz="600">
                <a:solidFill>
                  <a:schemeClr val="tx1">
                    <a:lumMod val="65000"/>
                    <a:lumOff val="35000"/>
                  </a:schemeClr>
                </a:solidFill>
              </a:rPr>
              <a:t>&amp; Portal</a:t>
            </a:r>
          </a:p>
        </p:txBody>
      </p:sp>
      <p:sp>
        <p:nvSpPr>
          <p:cNvPr id="109" name="Rectangle: Rounded Corners 108">
            <a:extLst>
              <a:ext uri="{FF2B5EF4-FFF2-40B4-BE49-F238E27FC236}">
                <a16:creationId xmlns:a16="http://schemas.microsoft.com/office/drawing/2014/main" id="{87D4FF49-9387-45A2-9527-ABF40BECBB42}"/>
              </a:ext>
            </a:extLst>
          </p:cNvPr>
          <p:cNvSpPr/>
          <p:nvPr userDrawn="1"/>
        </p:nvSpPr>
        <p:spPr>
          <a:xfrm>
            <a:off x="3363394" y="1752810"/>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Recruitment </a:t>
            </a:r>
          </a:p>
          <a:p>
            <a:r>
              <a:rPr lang="en-US" sz="600">
                <a:solidFill>
                  <a:schemeClr val="tx1">
                    <a:lumMod val="65000"/>
                    <a:lumOff val="35000"/>
                  </a:schemeClr>
                </a:solidFill>
              </a:rPr>
              <a:t>&amp; Learning</a:t>
            </a:r>
          </a:p>
        </p:txBody>
      </p:sp>
      <p:sp>
        <p:nvSpPr>
          <p:cNvPr id="110" name="Rectangle: Rounded Corners 109">
            <a:extLst>
              <a:ext uri="{FF2B5EF4-FFF2-40B4-BE49-F238E27FC236}">
                <a16:creationId xmlns:a16="http://schemas.microsoft.com/office/drawing/2014/main" id="{623A3F0D-51B3-4FB7-8ECE-D6AC81D34036}"/>
              </a:ext>
            </a:extLst>
          </p:cNvPr>
          <p:cNvSpPr/>
          <p:nvPr userDrawn="1"/>
        </p:nvSpPr>
        <p:spPr>
          <a:xfrm>
            <a:off x="3363394" y="2039078"/>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Servicing </a:t>
            </a:r>
          </a:p>
          <a:p>
            <a:r>
              <a:rPr lang="en-US" sz="600">
                <a:solidFill>
                  <a:schemeClr val="tx1">
                    <a:lumMod val="65000"/>
                    <a:lumOff val="35000"/>
                  </a:schemeClr>
                </a:solidFill>
              </a:rPr>
              <a:t>&amp; Portal</a:t>
            </a:r>
          </a:p>
        </p:txBody>
      </p:sp>
      <p:sp>
        <p:nvSpPr>
          <p:cNvPr id="114" name="Rectangle: Top Corners Rounded 113">
            <a:extLst>
              <a:ext uri="{FF2B5EF4-FFF2-40B4-BE49-F238E27FC236}">
                <a16:creationId xmlns:a16="http://schemas.microsoft.com/office/drawing/2014/main" id="{E3423E05-A44B-4712-8F8E-920EF7693392}"/>
              </a:ext>
            </a:extLst>
          </p:cNvPr>
          <p:cNvSpPr/>
          <p:nvPr userDrawn="1"/>
        </p:nvSpPr>
        <p:spPr>
          <a:xfrm rot="16200000">
            <a:off x="-264764" y="1450832"/>
            <a:ext cx="1638457" cy="175963"/>
          </a:xfrm>
          <a:prstGeom prst="round2SameRect">
            <a:avLst>
              <a:gd name="adj1" fmla="val 33989"/>
              <a:gd name="adj2" fmla="val 0"/>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r>
              <a:rPr lang="en-US" sz="800" b="0">
                <a:solidFill>
                  <a:schemeClr val="bg1"/>
                </a:solidFill>
              </a:rPr>
              <a:t>Front Office</a:t>
            </a:r>
          </a:p>
        </p:txBody>
      </p:sp>
      <p:sp>
        <p:nvSpPr>
          <p:cNvPr id="115" name="Rectangle: Top Corners Rounded 114">
            <a:extLst>
              <a:ext uri="{FF2B5EF4-FFF2-40B4-BE49-F238E27FC236}">
                <a16:creationId xmlns:a16="http://schemas.microsoft.com/office/drawing/2014/main" id="{32FAC37E-AA7A-4C00-B94B-D73C8DA30B19}"/>
              </a:ext>
            </a:extLst>
          </p:cNvPr>
          <p:cNvSpPr/>
          <p:nvPr userDrawn="1"/>
        </p:nvSpPr>
        <p:spPr>
          <a:xfrm rot="16200000">
            <a:off x="-263229" y="4159229"/>
            <a:ext cx="1638457" cy="175963"/>
          </a:xfrm>
          <a:prstGeom prst="round2SameRect">
            <a:avLst>
              <a:gd name="adj1" fmla="val 36876"/>
              <a:gd name="adj2" fmla="val 0"/>
            </a:avLst>
          </a:prstGeom>
          <a:solidFill>
            <a:schemeClr val="bg1">
              <a:lumMod val="65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lvl="0" algn="ctr"/>
            <a:r>
              <a:rPr lang="en-US" sz="800" b="0">
                <a:solidFill>
                  <a:schemeClr val="bg1"/>
                </a:solidFill>
              </a:rPr>
              <a:t>Middle Office</a:t>
            </a:r>
          </a:p>
        </p:txBody>
      </p:sp>
      <p:sp>
        <p:nvSpPr>
          <p:cNvPr id="116" name="Rectangle: Top Corners Rounded 115">
            <a:extLst>
              <a:ext uri="{FF2B5EF4-FFF2-40B4-BE49-F238E27FC236}">
                <a16:creationId xmlns:a16="http://schemas.microsoft.com/office/drawing/2014/main" id="{2A78E9D9-73CD-4D64-BF95-13E295892692}"/>
              </a:ext>
            </a:extLst>
          </p:cNvPr>
          <p:cNvSpPr/>
          <p:nvPr userDrawn="1"/>
        </p:nvSpPr>
        <p:spPr>
          <a:xfrm rot="16200000">
            <a:off x="114541" y="5466703"/>
            <a:ext cx="871784" cy="175963"/>
          </a:xfrm>
          <a:prstGeom prst="round2SameRect">
            <a:avLst>
              <a:gd name="adj1" fmla="val 28215"/>
              <a:gd name="adj2" fmla="val 0"/>
            </a:avLst>
          </a:prstGeom>
          <a:solidFill>
            <a:schemeClr val="bg1">
              <a:lumMod val="65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lvl="0" algn="ctr"/>
            <a:r>
              <a:rPr lang="en-US" sz="800" b="0">
                <a:solidFill>
                  <a:schemeClr val="bg1"/>
                </a:solidFill>
              </a:rPr>
              <a:t>Back Office</a:t>
            </a:r>
          </a:p>
        </p:txBody>
      </p:sp>
      <p:sp>
        <p:nvSpPr>
          <p:cNvPr id="118" name="Rectangle: Rounded Corners 117">
            <a:extLst>
              <a:ext uri="{FF2B5EF4-FFF2-40B4-BE49-F238E27FC236}">
                <a16:creationId xmlns:a16="http://schemas.microsoft.com/office/drawing/2014/main" id="{1FDB4CBA-EB9E-4DDB-9559-96A51C51C583}"/>
              </a:ext>
            </a:extLst>
          </p:cNvPr>
          <p:cNvSpPr/>
          <p:nvPr userDrawn="1"/>
        </p:nvSpPr>
        <p:spPr>
          <a:xfrm>
            <a:off x="5968154" y="2516727"/>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Data</a:t>
            </a:r>
          </a:p>
          <a:p>
            <a:r>
              <a:rPr lang="en-US" sz="600">
                <a:solidFill>
                  <a:schemeClr val="tx1">
                    <a:lumMod val="65000"/>
                    <a:lumOff val="35000"/>
                  </a:schemeClr>
                </a:solidFill>
              </a:rPr>
              <a:t>Integration</a:t>
            </a:r>
          </a:p>
        </p:txBody>
      </p:sp>
      <p:sp>
        <p:nvSpPr>
          <p:cNvPr id="119" name="Rectangle: Rounded Corners 118">
            <a:extLst>
              <a:ext uri="{FF2B5EF4-FFF2-40B4-BE49-F238E27FC236}">
                <a16:creationId xmlns:a16="http://schemas.microsoft.com/office/drawing/2014/main" id="{6AECC901-4A12-413B-B3AE-75081C4C5B79}"/>
              </a:ext>
            </a:extLst>
          </p:cNvPr>
          <p:cNvSpPr/>
          <p:nvPr userDrawn="1"/>
        </p:nvSpPr>
        <p:spPr>
          <a:xfrm>
            <a:off x="7272106" y="2516727"/>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err="1">
                <a:solidFill>
                  <a:schemeClr val="tx1">
                    <a:lumMod val="65000"/>
                    <a:lumOff val="35000"/>
                  </a:schemeClr>
                </a:solidFill>
              </a:rPr>
              <a:t>ESB</a:t>
            </a:r>
            <a:r>
              <a:rPr lang="en-US" sz="600">
                <a:solidFill>
                  <a:schemeClr val="tx1">
                    <a:lumMod val="65000"/>
                    <a:lumOff val="35000"/>
                  </a:schemeClr>
                </a:solidFill>
              </a:rPr>
              <a:t> and </a:t>
            </a:r>
          </a:p>
          <a:p>
            <a:r>
              <a:rPr lang="en-US" sz="600">
                <a:solidFill>
                  <a:schemeClr val="tx1">
                    <a:lumMod val="65000"/>
                    <a:lumOff val="35000"/>
                  </a:schemeClr>
                </a:solidFill>
              </a:rPr>
              <a:t>Event Mgmt.</a:t>
            </a:r>
          </a:p>
        </p:txBody>
      </p:sp>
      <p:sp>
        <p:nvSpPr>
          <p:cNvPr id="93" name="Rectangle: Rounded Corners 50">
            <a:extLst>
              <a:ext uri="{FF2B5EF4-FFF2-40B4-BE49-F238E27FC236}">
                <a16:creationId xmlns:a16="http://schemas.microsoft.com/office/drawing/2014/main" id="{817B90A2-B602-40D7-A8EF-DBC4B4EE7AD7}"/>
              </a:ext>
            </a:extLst>
          </p:cNvPr>
          <p:cNvSpPr/>
          <p:nvPr userDrawn="1"/>
        </p:nvSpPr>
        <p:spPr>
          <a:xfrm>
            <a:off x="4675446" y="6134587"/>
            <a:ext cx="2434511"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600">
                <a:solidFill>
                  <a:schemeClr val="tx1">
                    <a:lumMod val="65000"/>
                    <a:lumOff val="35000"/>
                  </a:schemeClr>
                </a:solidFill>
              </a:rPr>
              <a:t>Private </a:t>
            </a:r>
          </a:p>
          <a:p>
            <a:r>
              <a:rPr lang="en-GB" sz="600">
                <a:solidFill>
                  <a:schemeClr val="tx1">
                    <a:lumMod val="65000"/>
                    <a:lumOff val="35000"/>
                  </a:schemeClr>
                </a:solidFill>
              </a:rPr>
              <a:t>Cloud</a:t>
            </a:r>
          </a:p>
        </p:txBody>
      </p:sp>
    </p:spTree>
    <p:extLst>
      <p:ext uri="{BB962C8B-B14F-4D97-AF65-F5344CB8AC3E}">
        <p14:creationId xmlns:p14="http://schemas.microsoft.com/office/powerpoint/2010/main" val="834693850"/>
      </p:ext>
    </p:extLst>
  </p:cSld>
  <p:clrMapOvr>
    <a:masterClrMapping/>
  </p:clrMapOvr>
  <p:extLst>
    <p:ext uri="{DCECCB84-F9BA-43D5-87BE-67443E8EF086}">
      <p15:sldGuideLst xmlns:p15="http://schemas.microsoft.com/office/powerpoint/2012/main">
        <p15:guide id="1" pos="279">
          <p15:clr>
            <a:srgbClr val="FBAE40"/>
          </p15:clr>
        </p15:guide>
        <p15:guide id="2" pos="7151">
          <p15:clr>
            <a:srgbClr val="FBAE40"/>
          </p15:clr>
        </p15:guide>
        <p15:guide id="3" orient="horz" pos="3906">
          <p15:clr>
            <a:srgbClr val="FBAE40"/>
          </p15:clr>
        </p15:guide>
        <p15:guide id="4" orient="horz" pos="640">
          <p15:clr>
            <a:srgbClr val="FBAE40"/>
          </p15:clr>
        </p15:guide>
        <p15:guide id="5" orient="horz" pos="164">
          <p15:clr>
            <a:srgbClr val="FBAE40"/>
          </p15:clr>
        </p15:guide>
        <p15:guide id="6" orient="horz" pos="686">
          <p15:clr>
            <a:srgbClr val="FBAE40"/>
          </p15:clr>
        </p15:guide>
        <p15:guide id="7" orient="horz" pos="4042">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3820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810"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158787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974331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207724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4104233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91837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IA_Agenda">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C4ED79B-B077-274E-90C5-5A5E365E5535}"/>
              </a:ext>
            </a:extLst>
          </p:cNvPr>
          <p:cNvGrpSpPr/>
          <p:nvPr/>
        </p:nvGrpSpPr>
        <p:grpSpPr>
          <a:xfrm>
            <a:off x="5106938" y="-11628"/>
            <a:ext cx="7088670" cy="6870279"/>
            <a:chOff x="5106938" y="-11628"/>
            <a:chExt cx="7088670" cy="6870279"/>
          </a:xfrm>
        </p:grpSpPr>
        <p:sp>
          <p:nvSpPr>
            <p:cNvPr id="15" name="Manual Input 7">
              <a:extLst>
                <a:ext uri="{FF2B5EF4-FFF2-40B4-BE49-F238E27FC236}">
                  <a16:creationId xmlns:a16="http://schemas.microsoft.com/office/drawing/2014/main" id="{D4C6001D-CEDA-F845-AE0C-B7E6212CC974}"/>
                </a:ext>
              </a:extLst>
            </p:cNvPr>
            <p:cNvSpPr/>
            <p:nvPr userDrawn="1"/>
          </p:nvSpPr>
          <p:spPr>
            <a:xfrm>
              <a:off x="5129811" y="-1"/>
              <a:ext cx="7065797" cy="685801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4419 h 12419"/>
                <a:gd name="connsiteX1" fmla="*/ 4692 w 10000"/>
                <a:gd name="connsiteY1" fmla="*/ 0 h 12419"/>
                <a:gd name="connsiteX2" fmla="*/ 10000 w 10000"/>
                <a:gd name="connsiteY2" fmla="*/ 12419 h 12419"/>
                <a:gd name="connsiteX3" fmla="*/ 0 w 10000"/>
                <a:gd name="connsiteY3" fmla="*/ 12419 h 12419"/>
                <a:gd name="connsiteX4" fmla="*/ 0 w 10000"/>
                <a:gd name="connsiteY4" fmla="*/ 4419 h 12419"/>
                <a:gd name="connsiteX0" fmla="*/ 0 w 12463"/>
                <a:gd name="connsiteY0" fmla="*/ 4419 h 12419"/>
                <a:gd name="connsiteX1" fmla="*/ 4692 w 12463"/>
                <a:gd name="connsiteY1" fmla="*/ 0 h 12419"/>
                <a:gd name="connsiteX2" fmla="*/ 12463 w 12463"/>
                <a:gd name="connsiteY2" fmla="*/ 109 h 12419"/>
                <a:gd name="connsiteX3" fmla="*/ 0 w 12463"/>
                <a:gd name="connsiteY3" fmla="*/ 12419 h 12419"/>
                <a:gd name="connsiteX4" fmla="*/ 0 w 12463"/>
                <a:gd name="connsiteY4" fmla="*/ 4419 h 12419"/>
                <a:gd name="connsiteX0" fmla="*/ 0 w 12463"/>
                <a:gd name="connsiteY0" fmla="*/ 4419 h 12419"/>
                <a:gd name="connsiteX1" fmla="*/ 4692 w 12463"/>
                <a:gd name="connsiteY1" fmla="*/ 0 h 12419"/>
                <a:gd name="connsiteX2" fmla="*/ 12463 w 12463"/>
                <a:gd name="connsiteY2" fmla="*/ 109 h 12419"/>
                <a:gd name="connsiteX3" fmla="*/ 11261 w 12463"/>
                <a:gd name="connsiteY3" fmla="*/ 1300 h 12419"/>
                <a:gd name="connsiteX4" fmla="*/ 0 w 12463"/>
                <a:gd name="connsiteY4" fmla="*/ 12419 h 12419"/>
                <a:gd name="connsiteX5" fmla="*/ 0 w 12463"/>
                <a:gd name="connsiteY5" fmla="*/ 4419 h 12419"/>
                <a:gd name="connsiteX0" fmla="*/ 0 w 12463"/>
                <a:gd name="connsiteY0" fmla="*/ 4419 h 12419"/>
                <a:gd name="connsiteX1" fmla="*/ 4692 w 12463"/>
                <a:gd name="connsiteY1" fmla="*/ 0 h 12419"/>
                <a:gd name="connsiteX2" fmla="*/ 12463 w 12463"/>
                <a:gd name="connsiteY2" fmla="*/ 109 h 12419"/>
                <a:gd name="connsiteX3" fmla="*/ 12405 w 12463"/>
                <a:gd name="connsiteY3" fmla="*/ 1083 h 12419"/>
                <a:gd name="connsiteX4" fmla="*/ 0 w 12463"/>
                <a:gd name="connsiteY4" fmla="*/ 12419 h 12419"/>
                <a:gd name="connsiteX5" fmla="*/ 0 w 12463"/>
                <a:gd name="connsiteY5" fmla="*/ 4419 h 12419"/>
                <a:gd name="connsiteX0" fmla="*/ 0 w 17771"/>
                <a:gd name="connsiteY0" fmla="*/ 7849 h 12419"/>
                <a:gd name="connsiteX1" fmla="*/ 10000 w 17771"/>
                <a:gd name="connsiteY1" fmla="*/ 0 h 12419"/>
                <a:gd name="connsiteX2" fmla="*/ 17771 w 17771"/>
                <a:gd name="connsiteY2" fmla="*/ 109 h 12419"/>
                <a:gd name="connsiteX3" fmla="*/ 17713 w 17771"/>
                <a:gd name="connsiteY3" fmla="*/ 1083 h 12419"/>
                <a:gd name="connsiteX4" fmla="*/ 5308 w 17771"/>
                <a:gd name="connsiteY4" fmla="*/ 12419 h 12419"/>
                <a:gd name="connsiteX5" fmla="*/ 0 w 17771"/>
                <a:gd name="connsiteY5" fmla="*/ 7849 h 12419"/>
                <a:gd name="connsiteX0" fmla="*/ 0 w 17771"/>
                <a:gd name="connsiteY0" fmla="*/ 7849 h 21444"/>
                <a:gd name="connsiteX1" fmla="*/ 10000 w 17771"/>
                <a:gd name="connsiteY1" fmla="*/ 0 h 21444"/>
                <a:gd name="connsiteX2" fmla="*/ 17771 w 17771"/>
                <a:gd name="connsiteY2" fmla="*/ 109 h 21444"/>
                <a:gd name="connsiteX3" fmla="*/ 17713 w 17771"/>
                <a:gd name="connsiteY3" fmla="*/ 1083 h 21444"/>
                <a:gd name="connsiteX4" fmla="*/ 10645 w 17771"/>
                <a:gd name="connsiteY4" fmla="*/ 21444 h 21444"/>
                <a:gd name="connsiteX5" fmla="*/ 0 w 17771"/>
                <a:gd name="connsiteY5" fmla="*/ 7849 h 21444"/>
                <a:gd name="connsiteX0" fmla="*/ 0 w 17771"/>
                <a:gd name="connsiteY0" fmla="*/ 7849 h 21444"/>
                <a:gd name="connsiteX1" fmla="*/ 10000 w 17771"/>
                <a:gd name="connsiteY1" fmla="*/ 0 h 21444"/>
                <a:gd name="connsiteX2" fmla="*/ 17771 w 17771"/>
                <a:gd name="connsiteY2" fmla="*/ 109 h 21444"/>
                <a:gd name="connsiteX3" fmla="*/ 17713 w 17771"/>
                <a:gd name="connsiteY3" fmla="*/ 1083 h 21444"/>
                <a:gd name="connsiteX4" fmla="*/ 11906 w 17771"/>
                <a:gd name="connsiteY4" fmla="*/ 17726 h 21444"/>
                <a:gd name="connsiteX5" fmla="*/ 10645 w 17771"/>
                <a:gd name="connsiteY5" fmla="*/ 21444 h 21444"/>
                <a:gd name="connsiteX6" fmla="*/ 0 w 17771"/>
                <a:gd name="connsiteY6" fmla="*/ 7849 h 21444"/>
                <a:gd name="connsiteX0" fmla="*/ 0 w 17771"/>
                <a:gd name="connsiteY0" fmla="*/ 7849 h 21444"/>
                <a:gd name="connsiteX1" fmla="*/ 10000 w 17771"/>
                <a:gd name="connsiteY1" fmla="*/ 0 h 21444"/>
                <a:gd name="connsiteX2" fmla="*/ 17771 w 17771"/>
                <a:gd name="connsiteY2" fmla="*/ 109 h 21444"/>
                <a:gd name="connsiteX3" fmla="*/ 17713 w 17771"/>
                <a:gd name="connsiteY3" fmla="*/ 1083 h 21444"/>
                <a:gd name="connsiteX4" fmla="*/ 12463 w 17771"/>
                <a:gd name="connsiteY4" fmla="*/ 21192 h 21444"/>
                <a:gd name="connsiteX5" fmla="*/ 10645 w 17771"/>
                <a:gd name="connsiteY5" fmla="*/ 21444 h 21444"/>
                <a:gd name="connsiteX6" fmla="*/ 0 w 17771"/>
                <a:gd name="connsiteY6" fmla="*/ 7849 h 21444"/>
                <a:gd name="connsiteX0" fmla="*/ 0 w 17771"/>
                <a:gd name="connsiteY0" fmla="*/ 7849 h 21192"/>
                <a:gd name="connsiteX1" fmla="*/ 10000 w 17771"/>
                <a:gd name="connsiteY1" fmla="*/ 0 h 21192"/>
                <a:gd name="connsiteX2" fmla="*/ 17771 w 17771"/>
                <a:gd name="connsiteY2" fmla="*/ 109 h 21192"/>
                <a:gd name="connsiteX3" fmla="*/ 17713 w 17771"/>
                <a:gd name="connsiteY3" fmla="*/ 1083 h 21192"/>
                <a:gd name="connsiteX4" fmla="*/ 12463 w 17771"/>
                <a:gd name="connsiteY4" fmla="*/ 21192 h 21192"/>
                <a:gd name="connsiteX5" fmla="*/ 10469 w 17771"/>
                <a:gd name="connsiteY5" fmla="*/ 21191 h 21192"/>
                <a:gd name="connsiteX6" fmla="*/ 0 w 17771"/>
                <a:gd name="connsiteY6" fmla="*/ 7849 h 21192"/>
                <a:gd name="connsiteX0" fmla="*/ 0 w 17771"/>
                <a:gd name="connsiteY0" fmla="*/ 7849 h 21192"/>
                <a:gd name="connsiteX1" fmla="*/ 10000 w 17771"/>
                <a:gd name="connsiteY1" fmla="*/ 0 h 21192"/>
                <a:gd name="connsiteX2" fmla="*/ 17771 w 17771"/>
                <a:gd name="connsiteY2" fmla="*/ 109 h 21192"/>
                <a:gd name="connsiteX3" fmla="*/ 17684 w 17771"/>
                <a:gd name="connsiteY3" fmla="*/ 11227 h 21192"/>
                <a:gd name="connsiteX4" fmla="*/ 12463 w 17771"/>
                <a:gd name="connsiteY4" fmla="*/ 21192 h 21192"/>
                <a:gd name="connsiteX5" fmla="*/ 10469 w 17771"/>
                <a:gd name="connsiteY5" fmla="*/ 21191 h 21192"/>
                <a:gd name="connsiteX6" fmla="*/ 0 w 17771"/>
                <a:gd name="connsiteY6" fmla="*/ 7849 h 21192"/>
                <a:gd name="connsiteX0" fmla="*/ 0 w 17712"/>
                <a:gd name="connsiteY0" fmla="*/ 8174 h 21192"/>
                <a:gd name="connsiteX1" fmla="*/ 9941 w 17712"/>
                <a:gd name="connsiteY1" fmla="*/ 0 h 21192"/>
                <a:gd name="connsiteX2" fmla="*/ 17712 w 17712"/>
                <a:gd name="connsiteY2" fmla="*/ 109 h 21192"/>
                <a:gd name="connsiteX3" fmla="*/ 17625 w 17712"/>
                <a:gd name="connsiteY3" fmla="*/ 11227 h 21192"/>
                <a:gd name="connsiteX4" fmla="*/ 12404 w 17712"/>
                <a:gd name="connsiteY4" fmla="*/ 21192 h 21192"/>
                <a:gd name="connsiteX5" fmla="*/ 10410 w 17712"/>
                <a:gd name="connsiteY5" fmla="*/ 21191 h 21192"/>
                <a:gd name="connsiteX6" fmla="*/ 0 w 17712"/>
                <a:gd name="connsiteY6" fmla="*/ 8174 h 21192"/>
                <a:gd name="connsiteX0" fmla="*/ 0 w 17712"/>
                <a:gd name="connsiteY0" fmla="*/ 8174 h 21192"/>
                <a:gd name="connsiteX1" fmla="*/ 394 w 17712"/>
                <a:gd name="connsiteY1" fmla="*/ 7814 h 21192"/>
                <a:gd name="connsiteX2" fmla="*/ 9941 w 17712"/>
                <a:gd name="connsiteY2" fmla="*/ 0 h 21192"/>
                <a:gd name="connsiteX3" fmla="*/ 17712 w 17712"/>
                <a:gd name="connsiteY3" fmla="*/ 109 h 21192"/>
                <a:gd name="connsiteX4" fmla="*/ 17625 w 17712"/>
                <a:gd name="connsiteY4" fmla="*/ 11227 h 21192"/>
                <a:gd name="connsiteX5" fmla="*/ 12404 w 17712"/>
                <a:gd name="connsiteY5" fmla="*/ 21192 h 21192"/>
                <a:gd name="connsiteX6" fmla="*/ 10410 w 17712"/>
                <a:gd name="connsiteY6" fmla="*/ 21191 h 21192"/>
                <a:gd name="connsiteX7" fmla="*/ 0 w 17712"/>
                <a:gd name="connsiteY7" fmla="*/ 8174 h 21192"/>
                <a:gd name="connsiteX0" fmla="*/ 0 w 17712"/>
                <a:gd name="connsiteY0" fmla="*/ 8174 h 21192"/>
                <a:gd name="connsiteX1" fmla="*/ 211 w 17712"/>
                <a:gd name="connsiteY1" fmla="*/ 7708 h 21192"/>
                <a:gd name="connsiteX2" fmla="*/ 9941 w 17712"/>
                <a:gd name="connsiteY2" fmla="*/ 0 h 21192"/>
                <a:gd name="connsiteX3" fmla="*/ 17712 w 17712"/>
                <a:gd name="connsiteY3" fmla="*/ 109 h 21192"/>
                <a:gd name="connsiteX4" fmla="*/ 17625 w 17712"/>
                <a:gd name="connsiteY4" fmla="*/ 11227 h 21192"/>
                <a:gd name="connsiteX5" fmla="*/ 12404 w 17712"/>
                <a:gd name="connsiteY5" fmla="*/ 21192 h 21192"/>
                <a:gd name="connsiteX6" fmla="*/ 10410 w 17712"/>
                <a:gd name="connsiteY6" fmla="*/ 21191 h 21192"/>
                <a:gd name="connsiteX7" fmla="*/ 0 w 17712"/>
                <a:gd name="connsiteY7" fmla="*/ 8174 h 21192"/>
                <a:gd name="connsiteX0" fmla="*/ 7 w 17719"/>
                <a:gd name="connsiteY0" fmla="*/ 8174 h 21192"/>
                <a:gd name="connsiteX1" fmla="*/ 218 w 17719"/>
                <a:gd name="connsiteY1" fmla="*/ 7708 h 21192"/>
                <a:gd name="connsiteX2" fmla="*/ 9948 w 17719"/>
                <a:gd name="connsiteY2" fmla="*/ 0 h 21192"/>
                <a:gd name="connsiteX3" fmla="*/ 17719 w 17719"/>
                <a:gd name="connsiteY3" fmla="*/ 109 h 21192"/>
                <a:gd name="connsiteX4" fmla="*/ 17632 w 17719"/>
                <a:gd name="connsiteY4" fmla="*/ 11227 h 21192"/>
                <a:gd name="connsiteX5" fmla="*/ 12411 w 17719"/>
                <a:gd name="connsiteY5" fmla="*/ 21192 h 21192"/>
                <a:gd name="connsiteX6" fmla="*/ 10417 w 17719"/>
                <a:gd name="connsiteY6" fmla="*/ 21191 h 21192"/>
                <a:gd name="connsiteX7" fmla="*/ 7 w 17719"/>
                <a:gd name="connsiteY7" fmla="*/ 8174 h 21192"/>
                <a:gd name="connsiteX0" fmla="*/ 51 w 17763"/>
                <a:gd name="connsiteY0" fmla="*/ 8174 h 21192"/>
                <a:gd name="connsiteX1" fmla="*/ 262 w 17763"/>
                <a:gd name="connsiteY1" fmla="*/ 7708 h 21192"/>
                <a:gd name="connsiteX2" fmla="*/ 9992 w 17763"/>
                <a:gd name="connsiteY2" fmla="*/ 0 h 21192"/>
                <a:gd name="connsiteX3" fmla="*/ 17763 w 17763"/>
                <a:gd name="connsiteY3" fmla="*/ 109 h 21192"/>
                <a:gd name="connsiteX4" fmla="*/ 17676 w 17763"/>
                <a:gd name="connsiteY4" fmla="*/ 11227 h 21192"/>
                <a:gd name="connsiteX5" fmla="*/ 12455 w 17763"/>
                <a:gd name="connsiteY5" fmla="*/ 21192 h 21192"/>
                <a:gd name="connsiteX6" fmla="*/ 10461 w 17763"/>
                <a:gd name="connsiteY6" fmla="*/ 21191 h 21192"/>
                <a:gd name="connsiteX7" fmla="*/ 51 w 17763"/>
                <a:gd name="connsiteY7" fmla="*/ 8174 h 21192"/>
                <a:gd name="connsiteX0" fmla="*/ 104 w 17713"/>
                <a:gd name="connsiteY0" fmla="*/ 8301 h 21192"/>
                <a:gd name="connsiteX1" fmla="*/ 212 w 17713"/>
                <a:gd name="connsiteY1" fmla="*/ 7708 h 21192"/>
                <a:gd name="connsiteX2" fmla="*/ 9942 w 17713"/>
                <a:gd name="connsiteY2" fmla="*/ 0 h 21192"/>
                <a:gd name="connsiteX3" fmla="*/ 17713 w 17713"/>
                <a:gd name="connsiteY3" fmla="*/ 109 h 21192"/>
                <a:gd name="connsiteX4" fmla="*/ 17626 w 17713"/>
                <a:gd name="connsiteY4" fmla="*/ 11227 h 21192"/>
                <a:gd name="connsiteX5" fmla="*/ 12405 w 17713"/>
                <a:gd name="connsiteY5" fmla="*/ 21192 h 21192"/>
                <a:gd name="connsiteX6" fmla="*/ 10411 w 17713"/>
                <a:gd name="connsiteY6" fmla="*/ 21191 h 21192"/>
                <a:gd name="connsiteX7" fmla="*/ 104 w 17713"/>
                <a:gd name="connsiteY7" fmla="*/ 8301 h 21192"/>
                <a:gd name="connsiteX0" fmla="*/ 136 w 17745"/>
                <a:gd name="connsiteY0" fmla="*/ 8301 h 21192"/>
                <a:gd name="connsiteX1" fmla="*/ 244 w 17745"/>
                <a:gd name="connsiteY1" fmla="*/ 7708 h 21192"/>
                <a:gd name="connsiteX2" fmla="*/ 9974 w 17745"/>
                <a:gd name="connsiteY2" fmla="*/ 0 h 21192"/>
                <a:gd name="connsiteX3" fmla="*/ 17745 w 17745"/>
                <a:gd name="connsiteY3" fmla="*/ 109 h 21192"/>
                <a:gd name="connsiteX4" fmla="*/ 17658 w 17745"/>
                <a:gd name="connsiteY4" fmla="*/ 11227 h 21192"/>
                <a:gd name="connsiteX5" fmla="*/ 12437 w 17745"/>
                <a:gd name="connsiteY5" fmla="*/ 21192 h 21192"/>
                <a:gd name="connsiteX6" fmla="*/ 10443 w 17745"/>
                <a:gd name="connsiteY6" fmla="*/ 21191 h 21192"/>
                <a:gd name="connsiteX7" fmla="*/ 136 w 17745"/>
                <a:gd name="connsiteY7" fmla="*/ 8301 h 21192"/>
                <a:gd name="connsiteX0" fmla="*/ 136 w 17745"/>
                <a:gd name="connsiteY0" fmla="*/ 8301 h 21192"/>
                <a:gd name="connsiteX1" fmla="*/ 244 w 17745"/>
                <a:gd name="connsiteY1" fmla="*/ 7708 h 21192"/>
                <a:gd name="connsiteX2" fmla="*/ 9974 w 17745"/>
                <a:gd name="connsiteY2" fmla="*/ 0 h 21192"/>
                <a:gd name="connsiteX3" fmla="*/ 17745 w 17745"/>
                <a:gd name="connsiteY3" fmla="*/ 109 h 21192"/>
                <a:gd name="connsiteX4" fmla="*/ 17658 w 17745"/>
                <a:gd name="connsiteY4" fmla="*/ 11227 h 21192"/>
                <a:gd name="connsiteX5" fmla="*/ 12437 w 17745"/>
                <a:gd name="connsiteY5" fmla="*/ 21192 h 21192"/>
                <a:gd name="connsiteX6" fmla="*/ 10372 w 17745"/>
                <a:gd name="connsiteY6" fmla="*/ 21191 h 21192"/>
                <a:gd name="connsiteX7" fmla="*/ 136 w 17745"/>
                <a:gd name="connsiteY7" fmla="*/ 8301 h 21192"/>
                <a:gd name="connsiteX0" fmla="*/ 136 w 17745"/>
                <a:gd name="connsiteY0" fmla="*/ 8301 h 21192"/>
                <a:gd name="connsiteX1" fmla="*/ 244 w 17745"/>
                <a:gd name="connsiteY1" fmla="*/ 7708 h 21192"/>
                <a:gd name="connsiteX2" fmla="*/ 9974 w 17745"/>
                <a:gd name="connsiteY2" fmla="*/ 0 h 21192"/>
                <a:gd name="connsiteX3" fmla="*/ 17745 w 17745"/>
                <a:gd name="connsiteY3" fmla="*/ 109 h 21192"/>
                <a:gd name="connsiteX4" fmla="*/ 17595 w 17745"/>
                <a:gd name="connsiteY4" fmla="*/ 11549 h 21192"/>
                <a:gd name="connsiteX5" fmla="*/ 12437 w 17745"/>
                <a:gd name="connsiteY5" fmla="*/ 21192 h 21192"/>
                <a:gd name="connsiteX6" fmla="*/ 10372 w 17745"/>
                <a:gd name="connsiteY6" fmla="*/ 21191 h 21192"/>
                <a:gd name="connsiteX7" fmla="*/ 136 w 17745"/>
                <a:gd name="connsiteY7" fmla="*/ 8301 h 21192"/>
                <a:gd name="connsiteX0" fmla="*/ 136 w 17600"/>
                <a:gd name="connsiteY0" fmla="*/ 8301 h 21192"/>
                <a:gd name="connsiteX1" fmla="*/ 244 w 17600"/>
                <a:gd name="connsiteY1" fmla="*/ 7708 h 21192"/>
                <a:gd name="connsiteX2" fmla="*/ 9974 w 17600"/>
                <a:gd name="connsiteY2" fmla="*/ 0 h 21192"/>
                <a:gd name="connsiteX3" fmla="*/ 17595 w 17600"/>
                <a:gd name="connsiteY3" fmla="*/ 128 h 21192"/>
                <a:gd name="connsiteX4" fmla="*/ 17595 w 17600"/>
                <a:gd name="connsiteY4" fmla="*/ 11549 h 21192"/>
                <a:gd name="connsiteX5" fmla="*/ 12437 w 17600"/>
                <a:gd name="connsiteY5" fmla="*/ 21192 h 21192"/>
                <a:gd name="connsiteX6" fmla="*/ 10372 w 17600"/>
                <a:gd name="connsiteY6" fmla="*/ 21191 h 21192"/>
                <a:gd name="connsiteX7" fmla="*/ 136 w 17600"/>
                <a:gd name="connsiteY7" fmla="*/ 8301 h 21192"/>
                <a:gd name="connsiteX0" fmla="*/ 136 w 17596"/>
                <a:gd name="connsiteY0" fmla="*/ 8301 h 21192"/>
                <a:gd name="connsiteX1" fmla="*/ 244 w 17596"/>
                <a:gd name="connsiteY1" fmla="*/ 7708 h 21192"/>
                <a:gd name="connsiteX2" fmla="*/ 9974 w 17596"/>
                <a:gd name="connsiteY2" fmla="*/ 0 h 21192"/>
                <a:gd name="connsiteX3" fmla="*/ 17445 w 17596"/>
                <a:gd name="connsiteY3" fmla="*/ 206 h 21192"/>
                <a:gd name="connsiteX4" fmla="*/ 17595 w 17596"/>
                <a:gd name="connsiteY4" fmla="*/ 11549 h 21192"/>
                <a:gd name="connsiteX5" fmla="*/ 12437 w 17596"/>
                <a:gd name="connsiteY5" fmla="*/ 21192 h 21192"/>
                <a:gd name="connsiteX6" fmla="*/ 10372 w 17596"/>
                <a:gd name="connsiteY6" fmla="*/ 21191 h 21192"/>
                <a:gd name="connsiteX7" fmla="*/ 136 w 17596"/>
                <a:gd name="connsiteY7" fmla="*/ 8301 h 21192"/>
                <a:gd name="connsiteX0" fmla="*/ 136 w 17611"/>
                <a:gd name="connsiteY0" fmla="*/ 8301 h 21192"/>
                <a:gd name="connsiteX1" fmla="*/ 244 w 17611"/>
                <a:gd name="connsiteY1" fmla="*/ 7708 h 21192"/>
                <a:gd name="connsiteX2" fmla="*/ 9974 w 17611"/>
                <a:gd name="connsiteY2" fmla="*/ 0 h 21192"/>
                <a:gd name="connsiteX3" fmla="*/ 17611 w 17611"/>
                <a:gd name="connsiteY3" fmla="*/ 128 h 21192"/>
                <a:gd name="connsiteX4" fmla="*/ 17595 w 17611"/>
                <a:gd name="connsiteY4" fmla="*/ 11549 h 21192"/>
                <a:gd name="connsiteX5" fmla="*/ 12437 w 17611"/>
                <a:gd name="connsiteY5" fmla="*/ 21192 h 21192"/>
                <a:gd name="connsiteX6" fmla="*/ 10372 w 17611"/>
                <a:gd name="connsiteY6" fmla="*/ 21191 h 21192"/>
                <a:gd name="connsiteX7" fmla="*/ 136 w 17611"/>
                <a:gd name="connsiteY7" fmla="*/ 8301 h 21192"/>
                <a:gd name="connsiteX0" fmla="*/ 136 w 17611"/>
                <a:gd name="connsiteY0" fmla="*/ 8204 h 21095"/>
                <a:gd name="connsiteX1" fmla="*/ 244 w 17611"/>
                <a:gd name="connsiteY1" fmla="*/ 7611 h 21095"/>
                <a:gd name="connsiteX2" fmla="*/ 9855 w 17611"/>
                <a:gd name="connsiteY2" fmla="*/ 0 h 21095"/>
                <a:gd name="connsiteX3" fmla="*/ 17611 w 17611"/>
                <a:gd name="connsiteY3" fmla="*/ 31 h 21095"/>
                <a:gd name="connsiteX4" fmla="*/ 17595 w 17611"/>
                <a:gd name="connsiteY4" fmla="*/ 11452 h 21095"/>
                <a:gd name="connsiteX5" fmla="*/ 12437 w 17611"/>
                <a:gd name="connsiteY5" fmla="*/ 21095 h 21095"/>
                <a:gd name="connsiteX6" fmla="*/ 10372 w 17611"/>
                <a:gd name="connsiteY6" fmla="*/ 21094 h 21095"/>
                <a:gd name="connsiteX7" fmla="*/ 136 w 17611"/>
                <a:gd name="connsiteY7" fmla="*/ 8204 h 21095"/>
                <a:gd name="connsiteX0" fmla="*/ 136 w 17600"/>
                <a:gd name="connsiteY0" fmla="*/ 8204 h 21095"/>
                <a:gd name="connsiteX1" fmla="*/ 244 w 17600"/>
                <a:gd name="connsiteY1" fmla="*/ 7611 h 21095"/>
                <a:gd name="connsiteX2" fmla="*/ 9855 w 17600"/>
                <a:gd name="connsiteY2" fmla="*/ 0 h 21095"/>
                <a:gd name="connsiteX3" fmla="*/ 17595 w 17600"/>
                <a:gd name="connsiteY3" fmla="*/ 21 h 21095"/>
                <a:gd name="connsiteX4" fmla="*/ 17595 w 17600"/>
                <a:gd name="connsiteY4" fmla="*/ 11452 h 21095"/>
                <a:gd name="connsiteX5" fmla="*/ 12437 w 17600"/>
                <a:gd name="connsiteY5" fmla="*/ 21095 h 21095"/>
                <a:gd name="connsiteX6" fmla="*/ 10372 w 17600"/>
                <a:gd name="connsiteY6" fmla="*/ 21094 h 21095"/>
                <a:gd name="connsiteX7" fmla="*/ 136 w 17600"/>
                <a:gd name="connsiteY7" fmla="*/ 8204 h 21095"/>
                <a:gd name="connsiteX0" fmla="*/ 136 w 17610"/>
                <a:gd name="connsiteY0" fmla="*/ 8204 h 21095"/>
                <a:gd name="connsiteX1" fmla="*/ 244 w 17610"/>
                <a:gd name="connsiteY1" fmla="*/ 7611 h 21095"/>
                <a:gd name="connsiteX2" fmla="*/ 9855 w 17610"/>
                <a:gd name="connsiteY2" fmla="*/ 0 h 21095"/>
                <a:gd name="connsiteX3" fmla="*/ 17595 w 17610"/>
                <a:gd name="connsiteY3" fmla="*/ 21 h 21095"/>
                <a:gd name="connsiteX4" fmla="*/ 17595 w 17610"/>
                <a:gd name="connsiteY4" fmla="*/ 11452 h 21095"/>
                <a:gd name="connsiteX5" fmla="*/ 12437 w 17610"/>
                <a:gd name="connsiteY5" fmla="*/ 21095 h 21095"/>
                <a:gd name="connsiteX6" fmla="*/ 10372 w 17610"/>
                <a:gd name="connsiteY6" fmla="*/ 21094 h 21095"/>
                <a:gd name="connsiteX7" fmla="*/ 136 w 17610"/>
                <a:gd name="connsiteY7" fmla="*/ 8204 h 21095"/>
                <a:gd name="connsiteX0" fmla="*/ 136 w 17601"/>
                <a:gd name="connsiteY0" fmla="*/ 8204 h 21095"/>
                <a:gd name="connsiteX1" fmla="*/ 244 w 17601"/>
                <a:gd name="connsiteY1" fmla="*/ 7611 h 21095"/>
                <a:gd name="connsiteX2" fmla="*/ 9855 w 17601"/>
                <a:gd name="connsiteY2" fmla="*/ 0 h 21095"/>
                <a:gd name="connsiteX3" fmla="*/ 17595 w 17601"/>
                <a:gd name="connsiteY3" fmla="*/ 21 h 21095"/>
                <a:gd name="connsiteX4" fmla="*/ 17595 w 17601"/>
                <a:gd name="connsiteY4" fmla="*/ 11452 h 21095"/>
                <a:gd name="connsiteX5" fmla="*/ 12437 w 17601"/>
                <a:gd name="connsiteY5" fmla="*/ 21095 h 21095"/>
                <a:gd name="connsiteX6" fmla="*/ 10372 w 17601"/>
                <a:gd name="connsiteY6" fmla="*/ 21094 h 21095"/>
                <a:gd name="connsiteX7" fmla="*/ 136 w 17601"/>
                <a:gd name="connsiteY7" fmla="*/ 8204 h 21095"/>
                <a:gd name="connsiteX0" fmla="*/ 136 w 17610"/>
                <a:gd name="connsiteY0" fmla="*/ 8204 h 21095"/>
                <a:gd name="connsiteX1" fmla="*/ 244 w 17610"/>
                <a:gd name="connsiteY1" fmla="*/ 7611 h 21095"/>
                <a:gd name="connsiteX2" fmla="*/ 9855 w 17610"/>
                <a:gd name="connsiteY2" fmla="*/ 0 h 21095"/>
                <a:gd name="connsiteX3" fmla="*/ 17595 w 17610"/>
                <a:gd name="connsiteY3" fmla="*/ 21 h 21095"/>
                <a:gd name="connsiteX4" fmla="*/ 17595 w 17610"/>
                <a:gd name="connsiteY4" fmla="*/ 11452 h 21095"/>
                <a:gd name="connsiteX5" fmla="*/ 12437 w 17610"/>
                <a:gd name="connsiteY5" fmla="*/ 21095 h 21095"/>
                <a:gd name="connsiteX6" fmla="*/ 10372 w 17610"/>
                <a:gd name="connsiteY6" fmla="*/ 21094 h 21095"/>
                <a:gd name="connsiteX7" fmla="*/ 136 w 17610"/>
                <a:gd name="connsiteY7" fmla="*/ 8204 h 21095"/>
                <a:gd name="connsiteX0" fmla="*/ 136 w 17620"/>
                <a:gd name="connsiteY0" fmla="*/ 8204 h 21095"/>
                <a:gd name="connsiteX1" fmla="*/ 244 w 17620"/>
                <a:gd name="connsiteY1" fmla="*/ 7611 h 21095"/>
                <a:gd name="connsiteX2" fmla="*/ 9855 w 17620"/>
                <a:gd name="connsiteY2" fmla="*/ 0 h 21095"/>
                <a:gd name="connsiteX3" fmla="*/ 17611 w 17620"/>
                <a:gd name="connsiteY3" fmla="*/ 11 h 21095"/>
                <a:gd name="connsiteX4" fmla="*/ 17595 w 17620"/>
                <a:gd name="connsiteY4" fmla="*/ 11452 h 21095"/>
                <a:gd name="connsiteX5" fmla="*/ 12437 w 17620"/>
                <a:gd name="connsiteY5" fmla="*/ 21095 h 21095"/>
                <a:gd name="connsiteX6" fmla="*/ 10372 w 17620"/>
                <a:gd name="connsiteY6" fmla="*/ 21094 h 21095"/>
                <a:gd name="connsiteX7" fmla="*/ 136 w 17620"/>
                <a:gd name="connsiteY7" fmla="*/ 8204 h 21095"/>
                <a:gd name="connsiteX0" fmla="*/ 136 w 17620"/>
                <a:gd name="connsiteY0" fmla="*/ 8204 h 21094"/>
                <a:gd name="connsiteX1" fmla="*/ 244 w 17620"/>
                <a:gd name="connsiteY1" fmla="*/ 7611 h 21094"/>
                <a:gd name="connsiteX2" fmla="*/ 9855 w 17620"/>
                <a:gd name="connsiteY2" fmla="*/ 0 h 21094"/>
                <a:gd name="connsiteX3" fmla="*/ 17611 w 17620"/>
                <a:gd name="connsiteY3" fmla="*/ 11 h 21094"/>
                <a:gd name="connsiteX4" fmla="*/ 17595 w 17620"/>
                <a:gd name="connsiteY4" fmla="*/ 11452 h 21094"/>
                <a:gd name="connsiteX5" fmla="*/ 12413 w 17620"/>
                <a:gd name="connsiteY5" fmla="*/ 21056 h 21094"/>
                <a:gd name="connsiteX6" fmla="*/ 10372 w 17620"/>
                <a:gd name="connsiteY6" fmla="*/ 21094 h 21094"/>
                <a:gd name="connsiteX7" fmla="*/ 136 w 17620"/>
                <a:gd name="connsiteY7" fmla="*/ 8204 h 21094"/>
                <a:gd name="connsiteX0" fmla="*/ 136 w 17620"/>
                <a:gd name="connsiteY0" fmla="*/ 8204 h 21056"/>
                <a:gd name="connsiteX1" fmla="*/ 244 w 17620"/>
                <a:gd name="connsiteY1" fmla="*/ 7611 h 21056"/>
                <a:gd name="connsiteX2" fmla="*/ 9855 w 17620"/>
                <a:gd name="connsiteY2" fmla="*/ 0 h 21056"/>
                <a:gd name="connsiteX3" fmla="*/ 17611 w 17620"/>
                <a:gd name="connsiteY3" fmla="*/ 11 h 21056"/>
                <a:gd name="connsiteX4" fmla="*/ 17595 w 17620"/>
                <a:gd name="connsiteY4" fmla="*/ 11452 h 21056"/>
                <a:gd name="connsiteX5" fmla="*/ 12413 w 17620"/>
                <a:gd name="connsiteY5" fmla="*/ 21056 h 21056"/>
                <a:gd name="connsiteX6" fmla="*/ 10388 w 17620"/>
                <a:gd name="connsiteY6" fmla="*/ 21055 h 21056"/>
                <a:gd name="connsiteX7" fmla="*/ 136 w 17620"/>
                <a:gd name="connsiteY7" fmla="*/ 8204 h 21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20" h="21056">
                  <a:moveTo>
                    <a:pt x="136" y="8204"/>
                  </a:moveTo>
                  <a:cubicBezTo>
                    <a:pt x="0" y="7971"/>
                    <a:pt x="-128" y="7925"/>
                    <a:pt x="244" y="7611"/>
                  </a:cubicBezTo>
                  <a:lnTo>
                    <a:pt x="9855" y="0"/>
                  </a:lnTo>
                  <a:lnTo>
                    <a:pt x="17611" y="11"/>
                  </a:lnTo>
                  <a:cubicBezTo>
                    <a:pt x="17632" y="355"/>
                    <a:pt x="17614" y="11127"/>
                    <a:pt x="17595" y="11452"/>
                  </a:cubicBezTo>
                  <a:lnTo>
                    <a:pt x="12413" y="21056"/>
                  </a:lnTo>
                  <a:lnTo>
                    <a:pt x="10388" y="21055"/>
                  </a:lnTo>
                  <a:lnTo>
                    <a:pt x="136" y="8204"/>
                  </a:lnTo>
                  <a:close/>
                </a:path>
              </a:pathLst>
            </a:cu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Manual Input 6">
              <a:extLst>
                <a:ext uri="{FF2B5EF4-FFF2-40B4-BE49-F238E27FC236}">
                  <a16:creationId xmlns:a16="http://schemas.microsoft.com/office/drawing/2014/main" id="{D9E2BE0D-BF1E-C44D-B0E0-F93886FB7544}"/>
                </a:ext>
              </a:extLst>
            </p:cNvPr>
            <p:cNvSpPr/>
            <p:nvPr userDrawn="1"/>
          </p:nvSpPr>
          <p:spPr>
            <a:xfrm>
              <a:off x="5106938" y="-11628"/>
              <a:ext cx="7085532" cy="6870279"/>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600 w 10000"/>
                <a:gd name="connsiteY0" fmla="*/ 0 h 10951"/>
                <a:gd name="connsiteX1" fmla="*/ 10000 w 10000"/>
                <a:gd name="connsiteY1" fmla="*/ 951 h 10951"/>
                <a:gd name="connsiteX2" fmla="*/ 10000 w 10000"/>
                <a:gd name="connsiteY2" fmla="*/ 10951 h 10951"/>
                <a:gd name="connsiteX3" fmla="*/ 0 w 10000"/>
                <a:gd name="connsiteY3" fmla="*/ 10951 h 10951"/>
                <a:gd name="connsiteX4" fmla="*/ 600 w 10000"/>
                <a:gd name="connsiteY4" fmla="*/ 0 h 10951"/>
                <a:gd name="connsiteX0" fmla="*/ 600 w 10933"/>
                <a:gd name="connsiteY0" fmla="*/ 0 h 10951"/>
                <a:gd name="connsiteX1" fmla="*/ 10933 w 10933"/>
                <a:gd name="connsiteY1" fmla="*/ 3694 h 10951"/>
                <a:gd name="connsiteX2" fmla="*/ 10000 w 10933"/>
                <a:gd name="connsiteY2" fmla="*/ 10951 h 10951"/>
                <a:gd name="connsiteX3" fmla="*/ 0 w 10933"/>
                <a:gd name="connsiteY3" fmla="*/ 10951 h 10951"/>
                <a:gd name="connsiteX4" fmla="*/ 600 w 10933"/>
                <a:gd name="connsiteY4" fmla="*/ 0 h 10951"/>
                <a:gd name="connsiteX0" fmla="*/ 600 w 20533"/>
                <a:gd name="connsiteY0" fmla="*/ 0 h 10951"/>
                <a:gd name="connsiteX1" fmla="*/ 20533 w 20533"/>
                <a:gd name="connsiteY1" fmla="*/ 7132 h 10951"/>
                <a:gd name="connsiteX2" fmla="*/ 10000 w 20533"/>
                <a:gd name="connsiteY2" fmla="*/ 10951 h 10951"/>
                <a:gd name="connsiteX3" fmla="*/ 0 w 20533"/>
                <a:gd name="connsiteY3" fmla="*/ 10951 h 10951"/>
                <a:gd name="connsiteX4" fmla="*/ 600 w 20533"/>
                <a:gd name="connsiteY4" fmla="*/ 0 h 10951"/>
                <a:gd name="connsiteX0" fmla="*/ 600 w 20533"/>
                <a:gd name="connsiteY0" fmla="*/ 0 h 20569"/>
                <a:gd name="connsiteX1" fmla="*/ 20533 w 20533"/>
                <a:gd name="connsiteY1" fmla="*/ 7132 h 20569"/>
                <a:gd name="connsiteX2" fmla="*/ 13100 w 20533"/>
                <a:gd name="connsiteY2" fmla="*/ 20569 h 20569"/>
                <a:gd name="connsiteX3" fmla="*/ 0 w 20533"/>
                <a:gd name="connsiteY3" fmla="*/ 10951 h 20569"/>
                <a:gd name="connsiteX4" fmla="*/ 600 w 20533"/>
                <a:gd name="connsiteY4" fmla="*/ 0 h 20569"/>
                <a:gd name="connsiteX0" fmla="*/ 600 w 20533"/>
                <a:gd name="connsiteY0" fmla="*/ 0 h 20569"/>
                <a:gd name="connsiteX1" fmla="*/ 20533 w 20533"/>
                <a:gd name="connsiteY1" fmla="*/ 7132 h 20569"/>
                <a:gd name="connsiteX2" fmla="*/ 19400 w 20533"/>
                <a:gd name="connsiteY2" fmla="*/ 9076 h 20569"/>
                <a:gd name="connsiteX3" fmla="*/ 13100 w 20533"/>
                <a:gd name="connsiteY3" fmla="*/ 20569 h 20569"/>
                <a:gd name="connsiteX4" fmla="*/ 0 w 20533"/>
                <a:gd name="connsiteY4" fmla="*/ 10951 h 20569"/>
                <a:gd name="connsiteX5" fmla="*/ 600 w 20533"/>
                <a:gd name="connsiteY5" fmla="*/ 0 h 20569"/>
                <a:gd name="connsiteX0" fmla="*/ 600 w 20533"/>
                <a:gd name="connsiteY0" fmla="*/ 0 h 20569"/>
                <a:gd name="connsiteX1" fmla="*/ 20533 w 20533"/>
                <a:gd name="connsiteY1" fmla="*/ 7132 h 20569"/>
                <a:gd name="connsiteX2" fmla="*/ 19233 w 20533"/>
                <a:gd name="connsiteY2" fmla="*/ 10847 h 20569"/>
                <a:gd name="connsiteX3" fmla="*/ 13100 w 20533"/>
                <a:gd name="connsiteY3" fmla="*/ 20569 h 20569"/>
                <a:gd name="connsiteX4" fmla="*/ 0 w 20533"/>
                <a:gd name="connsiteY4" fmla="*/ 10951 h 20569"/>
                <a:gd name="connsiteX5" fmla="*/ 600 w 20533"/>
                <a:gd name="connsiteY5" fmla="*/ 0 h 20569"/>
                <a:gd name="connsiteX0" fmla="*/ 600 w 19266"/>
                <a:gd name="connsiteY0" fmla="*/ 0 h 20569"/>
                <a:gd name="connsiteX1" fmla="*/ 19266 w 19266"/>
                <a:gd name="connsiteY1" fmla="*/ 6750 h 20569"/>
                <a:gd name="connsiteX2" fmla="*/ 19233 w 19266"/>
                <a:gd name="connsiteY2" fmla="*/ 10847 h 20569"/>
                <a:gd name="connsiteX3" fmla="*/ 13100 w 19266"/>
                <a:gd name="connsiteY3" fmla="*/ 20569 h 20569"/>
                <a:gd name="connsiteX4" fmla="*/ 0 w 19266"/>
                <a:gd name="connsiteY4" fmla="*/ 10951 h 20569"/>
                <a:gd name="connsiteX5" fmla="*/ 600 w 19266"/>
                <a:gd name="connsiteY5" fmla="*/ 0 h 20569"/>
                <a:gd name="connsiteX0" fmla="*/ 600 w 19234"/>
                <a:gd name="connsiteY0" fmla="*/ 0 h 20569"/>
                <a:gd name="connsiteX1" fmla="*/ 19199 w 19234"/>
                <a:gd name="connsiteY1" fmla="*/ 6646 h 20569"/>
                <a:gd name="connsiteX2" fmla="*/ 19233 w 19234"/>
                <a:gd name="connsiteY2" fmla="*/ 10847 h 20569"/>
                <a:gd name="connsiteX3" fmla="*/ 13100 w 19234"/>
                <a:gd name="connsiteY3" fmla="*/ 20569 h 20569"/>
                <a:gd name="connsiteX4" fmla="*/ 0 w 19234"/>
                <a:gd name="connsiteY4" fmla="*/ 10951 h 20569"/>
                <a:gd name="connsiteX5" fmla="*/ 600 w 19234"/>
                <a:gd name="connsiteY5" fmla="*/ 0 h 20569"/>
                <a:gd name="connsiteX0" fmla="*/ 600 w 19236"/>
                <a:gd name="connsiteY0" fmla="*/ 0 h 20569"/>
                <a:gd name="connsiteX1" fmla="*/ 19232 w 19236"/>
                <a:gd name="connsiteY1" fmla="*/ 6681 h 20569"/>
                <a:gd name="connsiteX2" fmla="*/ 19233 w 19236"/>
                <a:gd name="connsiteY2" fmla="*/ 10847 h 20569"/>
                <a:gd name="connsiteX3" fmla="*/ 13100 w 19236"/>
                <a:gd name="connsiteY3" fmla="*/ 20569 h 20569"/>
                <a:gd name="connsiteX4" fmla="*/ 0 w 19236"/>
                <a:gd name="connsiteY4" fmla="*/ 10951 h 20569"/>
                <a:gd name="connsiteX5" fmla="*/ 600 w 19236"/>
                <a:gd name="connsiteY5" fmla="*/ 0 h 20569"/>
                <a:gd name="connsiteX0" fmla="*/ 600 w 19236"/>
                <a:gd name="connsiteY0" fmla="*/ 0 h 20569"/>
                <a:gd name="connsiteX1" fmla="*/ 19232 w 19236"/>
                <a:gd name="connsiteY1" fmla="*/ 6681 h 20569"/>
                <a:gd name="connsiteX2" fmla="*/ 19233 w 19236"/>
                <a:gd name="connsiteY2" fmla="*/ 10847 h 20569"/>
                <a:gd name="connsiteX3" fmla="*/ 13100 w 19236"/>
                <a:gd name="connsiteY3" fmla="*/ 20569 h 20569"/>
                <a:gd name="connsiteX4" fmla="*/ 9800 w 19236"/>
                <a:gd name="connsiteY4" fmla="*/ 18104 h 20569"/>
                <a:gd name="connsiteX5" fmla="*/ 0 w 19236"/>
                <a:gd name="connsiteY5" fmla="*/ 10951 h 20569"/>
                <a:gd name="connsiteX6" fmla="*/ 600 w 19236"/>
                <a:gd name="connsiteY6" fmla="*/ 0 h 20569"/>
                <a:gd name="connsiteX0" fmla="*/ 600 w 19236"/>
                <a:gd name="connsiteY0" fmla="*/ 0 h 20569"/>
                <a:gd name="connsiteX1" fmla="*/ 19232 w 19236"/>
                <a:gd name="connsiteY1" fmla="*/ 6681 h 20569"/>
                <a:gd name="connsiteX2" fmla="*/ 19233 w 19236"/>
                <a:gd name="connsiteY2" fmla="*/ 10847 h 20569"/>
                <a:gd name="connsiteX3" fmla="*/ 13100 w 19236"/>
                <a:gd name="connsiteY3" fmla="*/ 20569 h 20569"/>
                <a:gd name="connsiteX4" fmla="*/ 11033 w 19236"/>
                <a:gd name="connsiteY4" fmla="*/ 20153 h 20569"/>
                <a:gd name="connsiteX5" fmla="*/ 0 w 19236"/>
                <a:gd name="connsiteY5" fmla="*/ 10951 h 20569"/>
                <a:gd name="connsiteX6" fmla="*/ 600 w 19236"/>
                <a:gd name="connsiteY6" fmla="*/ 0 h 20569"/>
                <a:gd name="connsiteX0" fmla="*/ 600 w 19236"/>
                <a:gd name="connsiteY0" fmla="*/ 0 h 20222"/>
                <a:gd name="connsiteX1" fmla="*/ 19232 w 19236"/>
                <a:gd name="connsiteY1" fmla="*/ 6681 h 20222"/>
                <a:gd name="connsiteX2" fmla="*/ 19233 w 19236"/>
                <a:gd name="connsiteY2" fmla="*/ 10847 h 20222"/>
                <a:gd name="connsiteX3" fmla="*/ 13267 w 19236"/>
                <a:gd name="connsiteY3" fmla="*/ 20222 h 20222"/>
                <a:gd name="connsiteX4" fmla="*/ 11033 w 19236"/>
                <a:gd name="connsiteY4" fmla="*/ 20153 h 20222"/>
                <a:gd name="connsiteX5" fmla="*/ 0 w 19236"/>
                <a:gd name="connsiteY5" fmla="*/ 10951 h 20222"/>
                <a:gd name="connsiteX6" fmla="*/ 600 w 19236"/>
                <a:gd name="connsiteY6" fmla="*/ 0 h 20222"/>
                <a:gd name="connsiteX0" fmla="*/ 600 w 19236"/>
                <a:gd name="connsiteY0" fmla="*/ 0 h 20222"/>
                <a:gd name="connsiteX1" fmla="*/ 19232 w 19236"/>
                <a:gd name="connsiteY1" fmla="*/ 6681 h 20222"/>
                <a:gd name="connsiteX2" fmla="*/ 19233 w 19236"/>
                <a:gd name="connsiteY2" fmla="*/ 10847 h 20222"/>
                <a:gd name="connsiteX3" fmla="*/ 13267 w 19236"/>
                <a:gd name="connsiteY3" fmla="*/ 20222 h 20222"/>
                <a:gd name="connsiteX4" fmla="*/ 11433 w 19236"/>
                <a:gd name="connsiteY4" fmla="*/ 20153 h 20222"/>
                <a:gd name="connsiteX5" fmla="*/ 0 w 19236"/>
                <a:gd name="connsiteY5" fmla="*/ 10951 h 20222"/>
                <a:gd name="connsiteX6" fmla="*/ 600 w 19236"/>
                <a:gd name="connsiteY6" fmla="*/ 0 h 20222"/>
                <a:gd name="connsiteX0" fmla="*/ 600 w 19236"/>
                <a:gd name="connsiteY0" fmla="*/ 0 h 20222"/>
                <a:gd name="connsiteX1" fmla="*/ 19232 w 19236"/>
                <a:gd name="connsiteY1" fmla="*/ 6681 h 20222"/>
                <a:gd name="connsiteX2" fmla="*/ 19233 w 19236"/>
                <a:gd name="connsiteY2" fmla="*/ 10847 h 20222"/>
                <a:gd name="connsiteX3" fmla="*/ 13267 w 19236"/>
                <a:gd name="connsiteY3" fmla="*/ 20222 h 20222"/>
                <a:gd name="connsiteX4" fmla="*/ 11133 w 19236"/>
                <a:gd name="connsiteY4" fmla="*/ 20222 h 20222"/>
                <a:gd name="connsiteX5" fmla="*/ 0 w 19236"/>
                <a:gd name="connsiteY5" fmla="*/ 10951 h 20222"/>
                <a:gd name="connsiteX6" fmla="*/ 600 w 19236"/>
                <a:gd name="connsiteY6" fmla="*/ 0 h 20222"/>
                <a:gd name="connsiteX0" fmla="*/ 733 w 19369"/>
                <a:gd name="connsiteY0" fmla="*/ 0 h 20222"/>
                <a:gd name="connsiteX1" fmla="*/ 19365 w 19369"/>
                <a:gd name="connsiteY1" fmla="*/ 6681 h 20222"/>
                <a:gd name="connsiteX2" fmla="*/ 19366 w 19369"/>
                <a:gd name="connsiteY2" fmla="*/ 10847 h 20222"/>
                <a:gd name="connsiteX3" fmla="*/ 13400 w 19369"/>
                <a:gd name="connsiteY3" fmla="*/ 20222 h 20222"/>
                <a:gd name="connsiteX4" fmla="*/ 11266 w 19369"/>
                <a:gd name="connsiteY4" fmla="*/ 20222 h 20222"/>
                <a:gd name="connsiteX5" fmla="*/ 0 w 19369"/>
                <a:gd name="connsiteY5" fmla="*/ 8312 h 20222"/>
                <a:gd name="connsiteX6" fmla="*/ 733 w 19369"/>
                <a:gd name="connsiteY6" fmla="*/ 0 h 20222"/>
                <a:gd name="connsiteX0" fmla="*/ 733 w 19369"/>
                <a:gd name="connsiteY0" fmla="*/ 0 h 20222"/>
                <a:gd name="connsiteX1" fmla="*/ 1966 w 19369"/>
                <a:gd name="connsiteY1" fmla="*/ 465 h 20222"/>
                <a:gd name="connsiteX2" fmla="*/ 19365 w 19369"/>
                <a:gd name="connsiteY2" fmla="*/ 6681 h 20222"/>
                <a:gd name="connsiteX3" fmla="*/ 19366 w 19369"/>
                <a:gd name="connsiteY3" fmla="*/ 10847 h 20222"/>
                <a:gd name="connsiteX4" fmla="*/ 13400 w 19369"/>
                <a:gd name="connsiteY4" fmla="*/ 20222 h 20222"/>
                <a:gd name="connsiteX5" fmla="*/ 11266 w 19369"/>
                <a:gd name="connsiteY5" fmla="*/ 20222 h 20222"/>
                <a:gd name="connsiteX6" fmla="*/ 0 w 19369"/>
                <a:gd name="connsiteY6" fmla="*/ 8312 h 20222"/>
                <a:gd name="connsiteX7" fmla="*/ 733 w 19369"/>
                <a:gd name="connsiteY7" fmla="*/ 0 h 20222"/>
                <a:gd name="connsiteX0" fmla="*/ 733 w 19369"/>
                <a:gd name="connsiteY0" fmla="*/ 125 h 20347"/>
                <a:gd name="connsiteX1" fmla="*/ 1966 w 19369"/>
                <a:gd name="connsiteY1" fmla="*/ 590 h 20347"/>
                <a:gd name="connsiteX2" fmla="*/ 1466 w 19369"/>
                <a:gd name="connsiteY2" fmla="*/ 0 h 20347"/>
                <a:gd name="connsiteX3" fmla="*/ 19365 w 19369"/>
                <a:gd name="connsiteY3" fmla="*/ 6806 h 20347"/>
                <a:gd name="connsiteX4" fmla="*/ 19366 w 19369"/>
                <a:gd name="connsiteY4" fmla="*/ 10972 h 20347"/>
                <a:gd name="connsiteX5" fmla="*/ 13400 w 19369"/>
                <a:gd name="connsiteY5" fmla="*/ 20347 h 20347"/>
                <a:gd name="connsiteX6" fmla="*/ 11266 w 19369"/>
                <a:gd name="connsiteY6" fmla="*/ 20347 h 20347"/>
                <a:gd name="connsiteX7" fmla="*/ 0 w 19369"/>
                <a:gd name="connsiteY7" fmla="*/ 8437 h 20347"/>
                <a:gd name="connsiteX8" fmla="*/ 733 w 19369"/>
                <a:gd name="connsiteY8" fmla="*/ 125 h 20347"/>
                <a:gd name="connsiteX0" fmla="*/ 733 w 19369"/>
                <a:gd name="connsiteY0" fmla="*/ 125 h 20347"/>
                <a:gd name="connsiteX1" fmla="*/ 1466 w 19369"/>
                <a:gd name="connsiteY1" fmla="*/ 0 h 20347"/>
                <a:gd name="connsiteX2" fmla="*/ 19365 w 19369"/>
                <a:gd name="connsiteY2" fmla="*/ 6806 h 20347"/>
                <a:gd name="connsiteX3" fmla="*/ 19366 w 19369"/>
                <a:gd name="connsiteY3" fmla="*/ 10972 h 20347"/>
                <a:gd name="connsiteX4" fmla="*/ 13400 w 19369"/>
                <a:gd name="connsiteY4" fmla="*/ 20347 h 20347"/>
                <a:gd name="connsiteX5" fmla="*/ 11266 w 19369"/>
                <a:gd name="connsiteY5" fmla="*/ 20347 h 20347"/>
                <a:gd name="connsiteX6" fmla="*/ 0 w 19369"/>
                <a:gd name="connsiteY6" fmla="*/ 8437 h 20347"/>
                <a:gd name="connsiteX7" fmla="*/ 733 w 19369"/>
                <a:gd name="connsiteY7" fmla="*/ 125 h 20347"/>
                <a:gd name="connsiteX0" fmla="*/ 666 w 19369"/>
                <a:gd name="connsiteY0" fmla="*/ 0 h 20361"/>
                <a:gd name="connsiteX1" fmla="*/ 1466 w 19369"/>
                <a:gd name="connsiteY1" fmla="*/ 14 h 20361"/>
                <a:gd name="connsiteX2" fmla="*/ 19365 w 19369"/>
                <a:gd name="connsiteY2" fmla="*/ 6820 h 20361"/>
                <a:gd name="connsiteX3" fmla="*/ 19366 w 19369"/>
                <a:gd name="connsiteY3" fmla="*/ 10986 h 20361"/>
                <a:gd name="connsiteX4" fmla="*/ 13400 w 19369"/>
                <a:gd name="connsiteY4" fmla="*/ 20361 h 20361"/>
                <a:gd name="connsiteX5" fmla="*/ 11266 w 19369"/>
                <a:gd name="connsiteY5" fmla="*/ 20361 h 20361"/>
                <a:gd name="connsiteX6" fmla="*/ 0 w 19369"/>
                <a:gd name="connsiteY6" fmla="*/ 8451 h 20361"/>
                <a:gd name="connsiteX7" fmla="*/ 666 w 19369"/>
                <a:gd name="connsiteY7" fmla="*/ 0 h 20361"/>
                <a:gd name="connsiteX0" fmla="*/ 1466 w 20169"/>
                <a:gd name="connsiteY0" fmla="*/ 0 h 20361"/>
                <a:gd name="connsiteX1" fmla="*/ 2266 w 20169"/>
                <a:gd name="connsiteY1" fmla="*/ 14 h 20361"/>
                <a:gd name="connsiteX2" fmla="*/ 20165 w 20169"/>
                <a:gd name="connsiteY2" fmla="*/ 6820 h 20361"/>
                <a:gd name="connsiteX3" fmla="*/ 20166 w 20169"/>
                <a:gd name="connsiteY3" fmla="*/ 10986 h 20361"/>
                <a:gd name="connsiteX4" fmla="*/ 14200 w 20169"/>
                <a:gd name="connsiteY4" fmla="*/ 20361 h 20361"/>
                <a:gd name="connsiteX5" fmla="*/ 12066 w 20169"/>
                <a:gd name="connsiteY5" fmla="*/ 20361 h 20361"/>
                <a:gd name="connsiteX6" fmla="*/ 0 w 20169"/>
                <a:gd name="connsiteY6" fmla="*/ 7652 h 20361"/>
                <a:gd name="connsiteX7" fmla="*/ 1466 w 20169"/>
                <a:gd name="connsiteY7" fmla="*/ 0 h 20361"/>
                <a:gd name="connsiteX0" fmla="*/ 1166 w 19869"/>
                <a:gd name="connsiteY0" fmla="*/ 0 h 20361"/>
                <a:gd name="connsiteX1" fmla="*/ 1966 w 19869"/>
                <a:gd name="connsiteY1" fmla="*/ 14 h 20361"/>
                <a:gd name="connsiteX2" fmla="*/ 19865 w 19869"/>
                <a:gd name="connsiteY2" fmla="*/ 6820 h 20361"/>
                <a:gd name="connsiteX3" fmla="*/ 19866 w 19869"/>
                <a:gd name="connsiteY3" fmla="*/ 10986 h 20361"/>
                <a:gd name="connsiteX4" fmla="*/ 13900 w 19869"/>
                <a:gd name="connsiteY4" fmla="*/ 20361 h 20361"/>
                <a:gd name="connsiteX5" fmla="*/ 11766 w 19869"/>
                <a:gd name="connsiteY5" fmla="*/ 20361 h 20361"/>
                <a:gd name="connsiteX6" fmla="*/ 0 w 19869"/>
                <a:gd name="connsiteY6" fmla="*/ 7860 h 20361"/>
                <a:gd name="connsiteX7" fmla="*/ 1166 w 19869"/>
                <a:gd name="connsiteY7" fmla="*/ 0 h 20361"/>
                <a:gd name="connsiteX0" fmla="*/ 1196 w 19899"/>
                <a:gd name="connsiteY0" fmla="*/ 0 h 20361"/>
                <a:gd name="connsiteX1" fmla="*/ 1996 w 19899"/>
                <a:gd name="connsiteY1" fmla="*/ 14 h 20361"/>
                <a:gd name="connsiteX2" fmla="*/ 19895 w 19899"/>
                <a:gd name="connsiteY2" fmla="*/ 6820 h 20361"/>
                <a:gd name="connsiteX3" fmla="*/ 19896 w 19899"/>
                <a:gd name="connsiteY3" fmla="*/ 10986 h 20361"/>
                <a:gd name="connsiteX4" fmla="*/ 13930 w 19899"/>
                <a:gd name="connsiteY4" fmla="*/ 20361 h 20361"/>
                <a:gd name="connsiteX5" fmla="*/ 11796 w 19899"/>
                <a:gd name="connsiteY5" fmla="*/ 20361 h 20361"/>
                <a:gd name="connsiteX6" fmla="*/ 0 w 19899"/>
                <a:gd name="connsiteY6" fmla="*/ 7954 h 20361"/>
                <a:gd name="connsiteX7" fmla="*/ 1196 w 19899"/>
                <a:gd name="connsiteY7" fmla="*/ 0 h 20361"/>
                <a:gd name="connsiteX0" fmla="*/ 1196 w 19899"/>
                <a:gd name="connsiteY0" fmla="*/ 0 h 20377"/>
                <a:gd name="connsiteX1" fmla="*/ 1996 w 19899"/>
                <a:gd name="connsiteY1" fmla="*/ 14 h 20377"/>
                <a:gd name="connsiteX2" fmla="*/ 19895 w 19899"/>
                <a:gd name="connsiteY2" fmla="*/ 6820 h 20377"/>
                <a:gd name="connsiteX3" fmla="*/ 19896 w 19899"/>
                <a:gd name="connsiteY3" fmla="*/ 10986 h 20377"/>
                <a:gd name="connsiteX4" fmla="*/ 13930 w 19899"/>
                <a:gd name="connsiteY4" fmla="*/ 20361 h 20377"/>
                <a:gd name="connsiteX5" fmla="*/ 11721 w 19899"/>
                <a:gd name="connsiteY5" fmla="*/ 20377 h 20377"/>
                <a:gd name="connsiteX6" fmla="*/ 0 w 19899"/>
                <a:gd name="connsiteY6" fmla="*/ 7954 h 20377"/>
                <a:gd name="connsiteX7" fmla="*/ 1196 w 19899"/>
                <a:gd name="connsiteY7" fmla="*/ 0 h 20377"/>
                <a:gd name="connsiteX0" fmla="*/ 1181 w 19899"/>
                <a:gd name="connsiteY0" fmla="*/ 17 h 20363"/>
                <a:gd name="connsiteX1" fmla="*/ 1996 w 19899"/>
                <a:gd name="connsiteY1" fmla="*/ 0 h 20363"/>
                <a:gd name="connsiteX2" fmla="*/ 19895 w 19899"/>
                <a:gd name="connsiteY2" fmla="*/ 6806 h 20363"/>
                <a:gd name="connsiteX3" fmla="*/ 19896 w 19899"/>
                <a:gd name="connsiteY3" fmla="*/ 10972 h 20363"/>
                <a:gd name="connsiteX4" fmla="*/ 13930 w 19899"/>
                <a:gd name="connsiteY4" fmla="*/ 20347 h 20363"/>
                <a:gd name="connsiteX5" fmla="*/ 11721 w 19899"/>
                <a:gd name="connsiteY5" fmla="*/ 20363 h 20363"/>
                <a:gd name="connsiteX6" fmla="*/ 0 w 19899"/>
                <a:gd name="connsiteY6" fmla="*/ 7940 h 20363"/>
                <a:gd name="connsiteX7" fmla="*/ 1181 w 19899"/>
                <a:gd name="connsiteY7" fmla="*/ 17 h 20363"/>
                <a:gd name="connsiteX0" fmla="*/ 1271 w 19899"/>
                <a:gd name="connsiteY0" fmla="*/ 17 h 20363"/>
                <a:gd name="connsiteX1" fmla="*/ 1996 w 19899"/>
                <a:gd name="connsiteY1" fmla="*/ 0 h 20363"/>
                <a:gd name="connsiteX2" fmla="*/ 19895 w 19899"/>
                <a:gd name="connsiteY2" fmla="*/ 6806 h 20363"/>
                <a:gd name="connsiteX3" fmla="*/ 19896 w 19899"/>
                <a:gd name="connsiteY3" fmla="*/ 10972 h 20363"/>
                <a:gd name="connsiteX4" fmla="*/ 13930 w 19899"/>
                <a:gd name="connsiteY4" fmla="*/ 20347 h 20363"/>
                <a:gd name="connsiteX5" fmla="*/ 11721 w 19899"/>
                <a:gd name="connsiteY5" fmla="*/ 20363 h 20363"/>
                <a:gd name="connsiteX6" fmla="*/ 0 w 19899"/>
                <a:gd name="connsiteY6" fmla="*/ 7940 h 20363"/>
                <a:gd name="connsiteX7" fmla="*/ 1271 w 19899"/>
                <a:gd name="connsiteY7" fmla="*/ 17 h 20363"/>
                <a:gd name="connsiteX0" fmla="*/ 1271 w 19899"/>
                <a:gd name="connsiteY0" fmla="*/ 17 h 20363"/>
                <a:gd name="connsiteX1" fmla="*/ 1996 w 19899"/>
                <a:gd name="connsiteY1" fmla="*/ 0 h 20363"/>
                <a:gd name="connsiteX2" fmla="*/ 19895 w 19899"/>
                <a:gd name="connsiteY2" fmla="*/ 6806 h 20363"/>
                <a:gd name="connsiteX3" fmla="*/ 19896 w 19899"/>
                <a:gd name="connsiteY3" fmla="*/ 10972 h 20363"/>
                <a:gd name="connsiteX4" fmla="*/ 13930 w 19899"/>
                <a:gd name="connsiteY4" fmla="*/ 20347 h 20363"/>
                <a:gd name="connsiteX5" fmla="*/ 11721 w 19899"/>
                <a:gd name="connsiteY5" fmla="*/ 20363 h 20363"/>
                <a:gd name="connsiteX6" fmla="*/ 0 w 19899"/>
                <a:gd name="connsiteY6" fmla="*/ 7940 h 20363"/>
                <a:gd name="connsiteX7" fmla="*/ 1271 w 19899"/>
                <a:gd name="connsiteY7" fmla="*/ 17 h 20363"/>
                <a:gd name="connsiteX0" fmla="*/ 2132 w 20760"/>
                <a:gd name="connsiteY0" fmla="*/ 17 h 20363"/>
                <a:gd name="connsiteX1" fmla="*/ 2857 w 20760"/>
                <a:gd name="connsiteY1" fmla="*/ 0 h 20363"/>
                <a:gd name="connsiteX2" fmla="*/ 20756 w 20760"/>
                <a:gd name="connsiteY2" fmla="*/ 6806 h 20363"/>
                <a:gd name="connsiteX3" fmla="*/ 20757 w 20760"/>
                <a:gd name="connsiteY3" fmla="*/ 10972 h 20363"/>
                <a:gd name="connsiteX4" fmla="*/ 14791 w 20760"/>
                <a:gd name="connsiteY4" fmla="*/ 20347 h 20363"/>
                <a:gd name="connsiteX5" fmla="*/ 12582 w 20760"/>
                <a:gd name="connsiteY5" fmla="*/ 20363 h 20363"/>
                <a:gd name="connsiteX6" fmla="*/ 861 w 20760"/>
                <a:gd name="connsiteY6" fmla="*/ 7940 h 20363"/>
                <a:gd name="connsiteX7" fmla="*/ 1022 w 20760"/>
                <a:gd name="connsiteY7" fmla="*/ 6379 h 20363"/>
                <a:gd name="connsiteX8" fmla="*/ 2132 w 20760"/>
                <a:gd name="connsiteY8" fmla="*/ 17 h 20363"/>
                <a:gd name="connsiteX0" fmla="*/ 2132 w 20760"/>
                <a:gd name="connsiteY0" fmla="*/ 17 h 20363"/>
                <a:gd name="connsiteX1" fmla="*/ 2857 w 20760"/>
                <a:gd name="connsiteY1" fmla="*/ 0 h 20363"/>
                <a:gd name="connsiteX2" fmla="*/ 20756 w 20760"/>
                <a:gd name="connsiteY2" fmla="*/ 6806 h 20363"/>
                <a:gd name="connsiteX3" fmla="*/ 20757 w 20760"/>
                <a:gd name="connsiteY3" fmla="*/ 10972 h 20363"/>
                <a:gd name="connsiteX4" fmla="*/ 14791 w 20760"/>
                <a:gd name="connsiteY4" fmla="*/ 20347 h 20363"/>
                <a:gd name="connsiteX5" fmla="*/ 12582 w 20760"/>
                <a:gd name="connsiteY5" fmla="*/ 20363 h 20363"/>
                <a:gd name="connsiteX6" fmla="*/ 861 w 20760"/>
                <a:gd name="connsiteY6" fmla="*/ 7940 h 20363"/>
                <a:gd name="connsiteX7" fmla="*/ 1022 w 20760"/>
                <a:gd name="connsiteY7" fmla="*/ 6379 h 20363"/>
                <a:gd name="connsiteX8" fmla="*/ 2132 w 20760"/>
                <a:gd name="connsiteY8" fmla="*/ 17 h 20363"/>
                <a:gd name="connsiteX0" fmla="*/ 2186 w 20814"/>
                <a:gd name="connsiteY0" fmla="*/ 17 h 20363"/>
                <a:gd name="connsiteX1" fmla="*/ 2911 w 20814"/>
                <a:gd name="connsiteY1" fmla="*/ 0 h 20363"/>
                <a:gd name="connsiteX2" fmla="*/ 20810 w 20814"/>
                <a:gd name="connsiteY2" fmla="*/ 6806 h 20363"/>
                <a:gd name="connsiteX3" fmla="*/ 20811 w 20814"/>
                <a:gd name="connsiteY3" fmla="*/ 10972 h 20363"/>
                <a:gd name="connsiteX4" fmla="*/ 14845 w 20814"/>
                <a:gd name="connsiteY4" fmla="*/ 20347 h 20363"/>
                <a:gd name="connsiteX5" fmla="*/ 12636 w 20814"/>
                <a:gd name="connsiteY5" fmla="*/ 20363 h 20363"/>
                <a:gd name="connsiteX6" fmla="*/ 915 w 20814"/>
                <a:gd name="connsiteY6" fmla="*/ 7940 h 20363"/>
                <a:gd name="connsiteX7" fmla="*/ 881 w 20814"/>
                <a:gd name="connsiteY7" fmla="*/ 6191 h 20363"/>
                <a:gd name="connsiteX8" fmla="*/ 2186 w 20814"/>
                <a:gd name="connsiteY8" fmla="*/ 17 h 20363"/>
                <a:gd name="connsiteX0" fmla="*/ 2228 w 20856"/>
                <a:gd name="connsiteY0" fmla="*/ 17 h 20363"/>
                <a:gd name="connsiteX1" fmla="*/ 2953 w 20856"/>
                <a:gd name="connsiteY1" fmla="*/ 0 h 20363"/>
                <a:gd name="connsiteX2" fmla="*/ 20852 w 20856"/>
                <a:gd name="connsiteY2" fmla="*/ 6806 h 20363"/>
                <a:gd name="connsiteX3" fmla="*/ 20853 w 20856"/>
                <a:gd name="connsiteY3" fmla="*/ 10972 h 20363"/>
                <a:gd name="connsiteX4" fmla="*/ 14887 w 20856"/>
                <a:gd name="connsiteY4" fmla="*/ 20347 h 20363"/>
                <a:gd name="connsiteX5" fmla="*/ 12678 w 20856"/>
                <a:gd name="connsiteY5" fmla="*/ 20363 h 20363"/>
                <a:gd name="connsiteX6" fmla="*/ 957 w 20856"/>
                <a:gd name="connsiteY6" fmla="*/ 7940 h 20363"/>
                <a:gd name="connsiteX7" fmla="*/ 923 w 20856"/>
                <a:gd name="connsiteY7" fmla="*/ 6191 h 20363"/>
                <a:gd name="connsiteX8" fmla="*/ 2228 w 20856"/>
                <a:gd name="connsiteY8" fmla="*/ 17 h 20363"/>
                <a:gd name="connsiteX0" fmla="*/ 2179 w 20807"/>
                <a:gd name="connsiteY0" fmla="*/ 17 h 20363"/>
                <a:gd name="connsiteX1" fmla="*/ 2904 w 20807"/>
                <a:gd name="connsiteY1" fmla="*/ 0 h 20363"/>
                <a:gd name="connsiteX2" fmla="*/ 20803 w 20807"/>
                <a:gd name="connsiteY2" fmla="*/ 6806 h 20363"/>
                <a:gd name="connsiteX3" fmla="*/ 20804 w 20807"/>
                <a:gd name="connsiteY3" fmla="*/ 10972 h 20363"/>
                <a:gd name="connsiteX4" fmla="*/ 14838 w 20807"/>
                <a:gd name="connsiteY4" fmla="*/ 20347 h 20363"/>
                <a:gd name="connsiteX5" fmla="*/ 12629 w 20807"/>
                <a:gd name="connsiteY5" fmla="*/ 20363 h 20363"/>
                <a:gd name="connsiteX6" fmla="*/ 908 w 20807"/>
                <a:gd name="connsiteY6" fmla="*/ 7940 h 20363"/>
                <a:gd name="connsiteX7" fmla="*/ 874 w 20807"/>
                <a:gd name="connsiteY7" fmla="*/ 6191 h 20363"/>
                <a:gd name="connsiteX8" fmla="*/ 2179 w 20807"/>
                <a:gd name="connsiteY8" fmla="*/ 17 h 20363"/>
                <a:gd name="connsiteX0" fmla="*/ 1540 w 20168"/>
                <a:gd name="connsiteY0" fmla="*/ 17 h 20363"/>
                <a:gd name="connsiteX1" fmla="*/ 2265 w 20168"/>
                <a:gd name="connsiteY1" fmla="*/ 0 h 20363"/>
                <a:gd name="connsiteX2" fmla="*/ 20164 w 20168"/>
                <a:gd name="connsiteY2" fmla="*/ 6806 h 20363"/>
                <a:gd name="connsiteX3" fmla="*/ 20165 w 20168"/>
                <a:gd name="connsiteY3" fmla="*/ 10972 h 20363"/>
                <a:gd name="connsiteX4" fmla="*/ 14199 w 20168"/>
                <a:gd name="connsiteY4" fmla="*/ 20347 h 20363"/>
                <a:gd name="connsiteX5" fmla="*/ 11990 w 20168"/>
                <a:gd name="connsiteY5" fmla="*/ 20363 h 20363"/>
                <a:gd name="connsiteX6" fmla="*/ 269 w 20168"/>
                <a:gd name="connsiteY6" fmla="*/ 7940 h 20363"/>
                <a:gd name="connsiteX7" fmla="*/ 235 w 20168"/>
                <a:gd name="connsiteY7" fmla="*/ 6191 h 20363"/>
                <a:gd name="connsiteX8" fmla="*/ 1540 w 20168"/>
                <a:gd name="connsiteY8" fmla="*/ 17 h 20363"/>
                <a:gd name="connsiteX0" fmla="*/ 1418 w 20046"/>
                <a:gd name="connsiteY0" fmla="*/ 17 h 20363"/>
                <a:gd name="connsiteX1" fmla="*/ 2143 w 20046"/>
                <a:gd name="connsiteY1" fmla="*/ 0 h 20363"/>
                <a:gd name="connsiteX2" fmla="*/ 20042 w 20046"/>
                <a:gd name="connsiteY2" fmla="*/ 6806 h 20363"/>
                <a:gd name="connsiteX3" fmla="*/ 20043 w 20046"/>
                <a:gd name="connsiteY3" fmla="*/ 10972 h 20363"/>
                <a:gd name="connsiteX4" fmla="*/ 14077 w 20046"/>
                <a:gd name="connsiteY4" fmla="*/ 20347 h 20363"/>
                <a:gd name="connsiteX5" fmla="*/ 11868 w 20046"/>
                <a:gd name="connsiteY5" fmla="*/ 20363 h 20363"/>
                <a:gd name="connsiteX6" fmla="*/ 147 w 20046"/>
                <a:gd name="connsiteY6" fmla="*/ 7940 h 20363"/>
                <a:gd name="connsiteX7" fmla="*/ 113 w 20046"/>
                <a:gd name="connsiteY7" fmla="*/ 6191 h 20363"/>
                <a:gd name="connsiteX8" fmla="*/ 1418 w 20046"/>
                <a:gd name="connsiteY8" fmla="*/ 17 h 20363"/>
                <a:gd name="connsiteX0" fmla="*/ 1471 w 20099"/>
                <a:gd name="connsiteY0" fmla="*/ 17 h 20363"/>
                <a:gd name="connsiteX1" fmla="*/ 2196 w 20099"/>
                <a:gd name="connsiteY1" fmla="*/ 0 h 20363"/>
                <a:gd name="connsiteX2" fmla="*/ 20095 w 20099"/>
                <a:gd name="connsiteY2" fmla="*/ 6806 h 20363"/>
                <a:gd name="connsiteX3" fmla="*/ 20096 w 20099"/>
                <a:gd name="connsiteY3" fmla="*/ 10972 h 20363"/>
                <a:gd name="connsiteX4" fmla="*/ 14130 w 20099"/>
                <a:gd name="connsiteY4" fmla="*/ 20347 h 20363"/>
                <a:gd name="connsiteX5" fmla="*/ 11921 w 20099"/>
                <a:gd name="connsiteY5" fmla="*/ 20363 h 20363"/>
                <a:gd name="connsiteX6" fmla="*/ 200 w 20099"/>
                <a:gd name="connsiteY6" fmla="*/ 7940 h 20363"/>
                <a:gd name="connsiteX7" fmla="*/ 166 w 20099"/>
                <a:gd name="connsiteY7" fmla="*/ 6191 h 20363"/>
                <a:gd name="connsiteX8" fmla="*/ 1471 w 20099"/>
                <a:gd name="connsiteY8" fmla="*/ 17 h 20363"/>
                <a:gd name="connsiteX0" fmla="*/ 1486 w 20114"/>
                <a:gd name="connsiteY0" fmla="*/ 17 h 20363"/>
                <a:gd name="connsiteX1" fmla="*/ 2211 w 20114"/>
                <a:gd name="connsiteY1" fmla="*/ 0 h 20363"/>
                <a:gd name="connsiteX2" fmla="*/ 20110 w 20114"/>
                <a:gd name="connsiteY2" fmla="*/ 6806 h 20363"/>
                <a:gd name="connsiteX3" fmla="*/ 20111 w 20114"/>
                <a:gd name="connsiteY3" fmla="*/ 10972 h 20363"/>
                <a:gd name="connsiteX4" fmla="*/ 14145 w 20114"/>
                <a:gd name="connsiteY4" fmla="*/ 20347 h 20363"/>
                <a:gd name="connsiteX5" fmla="*/ 11936 w 20114"/>
                <a:gd name="connsiteY5" fmla="*/ 20363 h 20363"/>
                <a:gd name="connsiteX6" fmla="*/ 215 w 20114"/>
                <a:gd name="connsiteY6" fmla="*/ 7940 h 20363"/>
                <a:gd name="connsiteX7" fmla="*/ 151 w 20114"/>
                <a:gd name="connsiteY7" fmla="*/ 6363 h 20363"/>
                <a:gd name="connsiteX8" fmla="*/ 1486 w 20114"/>
                <a:gd name="connsiteY8" fmla="*/ 17 h 20363"/>
                <a:gd name="connsiteX0" fmla="*/ 1476 w 20104"/>
                <a:gd name="connsiteY0" fmla="*/ 17 h 20363"/>
                <a:gd name="connsiteX1" fmla="*/ 2201 w 20104"/>
                <a:gd name="connsiteY1" fmla="*/ 0 h 20363"/>
                <a:gd name="connsiteX2" fmla="*/ 20100 w 20104"/>
                <a:gd name="connsiteY2" fmla="*/ 6806 h 20363"/>
                <a:gd name="connsiteX3" fmla="*/ 20101 w 20104"/>
                <a:gd name="connsiteY3" fmla="*/ 10972 h 20363"/>
                <a:gd name="connsiteX4" fmla="*/ 14135 w 20104"/>
                <a:gd name="connsiteY4" fmla="*/ 20347 h 20363"/>
                <a:gd name="connsiteX5" fmla="*/ 11926 w 20104"/>
                <a:gd name="connsiteY5" fmla="*/ 20363 h 20363"/>
                <a:gd name="connsiteX6" fmla="*/ 205 w 20104"/>
                <a:gd name="connsiteY6" fmla="*/ 7940 h 20363"/>
                <a:gd name="connsiteX7" fmla="*/ 141 w 20104"/>
                <a:gd name="connsiteY7" fmla="*/ 6363 h 20363"/>
                <a:gd name="connsiteX8" fmla="*/ 1476 w 20104"/>
                <a:gd name="connsiteY8" fmla="*/ 17 h 20363"/>
                <a:gd name="connsiteX0" fmla="*/ 1470 w 20098"/>
                <a:gd name="connsiteY0" fmla="*/ 17 h 20363"/>
                <a:gd name="connsiteX1" fmla="*/ 2195 w 20098"/>
                <a:gd name="connsiteY1" fmla="*/ 0 h 20363"/>
                <a:gd name="connsiteX2" fmla="*/ 20094 w 20098"/>
                <a:gd name="connsiteY2" fmla="*/ 6806 h 20363"/>
                <a:gd name="connsiteX3" fmla="*/ 20095 w 20098"/>
                <a:gd name="connsiteY3" fmla="*/ 10972 h 20363"/>
                <a:gd name="connsiteX4" fmla="*/ 14129 w 20098"/>
                <a:gd name="connsiteY4" fmla="*/ 20347 h 20363"/>
                <a:gd name="connsiteX5" fmla="*/ 11920 w 20098"/>
                <a:gd name="connsiteY5" fmla="*/ 20363 h 20363"/>
                <a:gd name="connsiteX6" fmla="*/ 199 w 20098"/>
                <a:gd name="connsiteY6" fmla="*/ 7940 h 20363"/>
                <a:gd name="connsiteX7" fmla="*/ 135 w 20098"/>
                <a:gd name="connsiteY7" fmla="*/ 6363 h 20363"/>
                <a:gd name="connsiteX8" fmla="*/ 1470 w 20098"/>
                <a:gd name="connsiteY8" fmla="*/ 17 h 20363"/>
                <a:gd name="connsiteX0" fmla="*/ 1499 w 20127"/>
                <a:gd name="connsiteY0" fmla="*/ 17 h 20363"/>
                <a:gd name="connsiteX1" fmla="*/ 2224 w 20127"/>
                <a:gd name="connsiteY1" fmla="*/ 0 h 20363"/>
                <a:gd name="connsiteX2" fmla="*/ 20123 w 20127"/>
                <a:gd name="connsiteY2" fmla="*/ 6806 h 20363"/>
                <a:gd name="connsiteX3" fmla="*/ 20124 w 20127"/>
                <a:gd name="connsiteY3" fmla="*/ 10972 h 20363"/>
                <a:gd name="connsiteX4" fmla="*/ 14158 w 20127"/>
                <a:gd name="connsiteY4" fmla="*/ 20347 h 20363"/>
                <a:gd name="connsiteX5" fmla="*/ 11949 w 20127"/>
                <a:gd name="connsiteY5" fmla="*/ 20363 h 20363"/>
                <a:gd name="connsiteX6" fmla="*/ 228 w 20127"/>
                <a:gd name="connsiteY6" fmla="*/ 7940 h 20363"/>
                <a:gd name="connsiteX7" fmla="*/ 164 w 20127"/>
                <a:gd name="connsiteY7" fmla="*/ 6363 h 20363"/>
                <a:gd name="connsiteX8" fmla="*/ 1499 w 20127"/>
                <a:gd name="connsiteY8" fmla="*/ 17 h 20363"/>
                <a:gd name="connsiteX0" fmla="*/ 1499 w 20127"/>
                <a:gd name="connsiteY0" fmla="*/ 17 h 20347"/>
                <a:gd name="connsiteX1" fmla="*/ 2224 w 20127"/>
                <a:gd name="connsiteY1" fmla="*/ 0 h 20347"/>
                <a:gd name="connsiteX2" fmla="*/ 20123 w 20127"/>
                <a:gd name="connsiteY2" fmla="*/ 6806 h 20347"/>
                <a:gd name="connsiteX3" fmla="*/ 20124 w 20127"/>
                <a:gd name="connsiteY3" fmla="*/ 10972 h 20347"/>
                <a:gd name="connsiteX4" fmla="*/ 14158 w 20127"/>
                <a:gd name="connsiteY4" fmla="*/ 20347 h 20347"/>
                <a:gd name="connsiteX5" fmla="*/ 11886 w 20127"/>
                <a:gd name="connsiteY5" fmla="*/ 20288 h 20347"/>
                <a:gd name="connsiteX6" fmla="*/ 228 w 20127"/>
                <a:gd name="connsiteY6" fmla="*/ 7940 h 20347"/>
                <a:gd name="connsiteX7" fmla="*/ 164 w 20127"/>
                <a:gd name="connsiteY7" fmla="*/ 6363 h 20347"/>
                <a:gd name="connsiteX8" fmla="*/ 1499 w 20127"/>
                <a:gd name="connsiteY8" fmla="*/ 17 h 20347"/>
                <a:gd name="connsiteX0" fmla="*/ 1499 w 20127"/>
                <a:gd name="connsiteY0" fmla="*/ 17 h 20288"/>
                <a:gd name="connsiteX1" fmla="*/ 2224 w 20127"/>
                <a:gd name="connsiteY1" fmla="*/ 0 h 20288"/>
                <a:gd name="connsiteX2" fmla="*/ 20123 w 20127"/>
                <a:gd name="connsiteY2" fmla="*/ 6806 h 20288"/>
                <a:gd name="connsiteX3" fmla="*/ 20124 w 20127"/>
                <a:gd name="connsiteY3" fmla="*/ 10972 h 20288"/>
                <a:gd name="connsiteX4" fmla="*/ 14185 w 20127"/>
                <a:gd name="connsiteY4" fmla="*/ 20272 h 20288"/>
                <a:gd name="connsiteX5" fmla="*/ 11886 w 20127"/>
                <a:gd name="connsiteY5" fmla="*/ 20288 h 20288"/>
                <a:gd name="connsiteX6" fmla="*/ 228 w 20127"/>
                <a:gd name="connsiteY6" fmla="*/ 7940 h 20288"/>
                <a:gd name="connsiteX7" fmla="*/ 164 w 20127"/>
                <a:gd name="connsiteY7" fmla="*/ 6363 h 20288"/>
                <a:gd name="connsiteX8" fmla="*/ 1499 w 20127"/>
                <a:gd name="connsiteY8" fmla="*/ 17 h 20288"/>
                <a:gd name="connsiteX0" fmla="*/ 1499 w 20123"/>
                <a:gd name="connsiteY0" fmla="*/ 17 h 20288"/>
                <a:gd name="connsiteX1" fmla="*/ 2224 w 20123"/>
                <a:gd name="connsiteY1" fmla="*/ 0 h 20288"/>
                <a:gd name="connsiteX2" fmla="*/ 20123 w 20123"/>
                <a:gd name="connsiteY2" fmla="*/ 6806 h 20288"/>
                <a:gd name="connsiteX3" fmla="*/ 20066 w 20123"/>
                <a:gd name="connsiteY3" fmla="*/ 11052 h 20288"/>
                <a:gd name="connsiteX4" fmla="*/ 14185 w 20123"/>
                <a:gd name="connsiteY4" fmla="*/ 20272 h 20288"/>
                <a:gd name="connsiteX5" fmla="*/ 11886 w 20123"/>
                <a:gd name="connsiteY5" fmla="*/ 20288 h 20288"/>
                <a:gd name="connsiteX6" fmla="*/ 228 w 20123"/>
                <a:gd name="connsiteY6" fmla="*/ 7940 h 20288"/>
                <a:gd name="connsiteX7" fmla="*/ 164 w 20123"/>
                <a:gd name="connsiteY7" fmla="*/ 6363 h 20288"/>
                <a:gd name="connsiteX8" fmla="*/ 1499 w 20123"/>
                <a:gd name="connsiteY8" fmla="*/ 17 h 20288"/>
                <a:gd name="connsiteX0" fmla="*/ 1499 w 20084"/>
                <a:gd name="connsiteY0" fmla="*/ 17 h 20288"/>
                <a:gd name="connsiteX1" fmla="*/ 2224 w 20084"/>
                <a:gd name="connsiteY1" fmla="*/ 0 h 20288"/>
                <a:gd name="connsiteX2" fmla="*/ 20084 w 20084"/>
                <a:gd name="connsiteY2" fmla="*/ 6796 h 20288"/>
                <a:gd name="connsiteX3" fmla="*/ 20066 w 20084"/>
                <a:gd name="connsiteY3" fmla="*/ 11052 h 20288"/>
                <a:gd name="connsiteX4" fmla="*/ 14185 w 20084"/>
                <a:gd name="connsiteY4" fmla="*/ 20272 h 20288"/>
                <a:gd name="connsiteX5" fmla="*/ 11886 w 20084"/>
                <a:gd name="connsiteY5" fmla="*/ 20288 h 20288"/>
                <a:gd name="connsiteX6" fmla="*/ 228 w 20084"/>
                <a:gd name="connsiteY6" fmla="*/ 7940 h 20288"/>
                <a:gd name="connsiteX7" fmla="*/ 164 w 20084"/>
                <a:gd name="connsiteY7" fmla="*/ 6363 h 20288"/>
                <a:gd name="connsiteX8" fmla="*/ 1499 w 20084"/>
                <a:gd name="connsiteY8" fmla="*/ 17 h 2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84" h="20288">
                  <a:moveTo>
                    <a:pt x="1499" y="17"/>
                  </a:moveTo>
                  <a:lnTo>
                    <a:pt x="2224" y="0"/>
                  </a:lnTo>
                  <a:lnTo>
                    <a:pt x="20084" y="6796"/>
                  </a:lnTo>
                  <a:cubicBezTo>
                    <a:pt x="20073" y="8162"/>
                    <a:pt x="20077" y="9686"/>
                    <a:pt x="20066" y="11052"/>
                  </a:cubicBezTo>
                  <a:lnTo>
                    <a:pt x="14185" y="20272"/>
                  </a:lnTo>
                  <a:lnTo>
                    <a:pt x="11886" y="20288"/>
                  </a:lnTo>
                  <a:lnTo>
                    <a:pt x="228" y="7940"/>
                  </a:lnTo>
                  <a:cubicBezTo>
                    <a:pt x="-154" y="7593"/>
                    <a:pt x="27" y="7059"/>
                    <a:pt x="164" y="6363"/>
                  </a:cubicBezTo>
                  <a:cubicBezTo>
                    <a:pt x="301" y="5667"/>
                    <a:pt x="1193" y="1080"/>
                    <a:pt x="1499" y="1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 name="Slide Number Placeholder 5">
            <a:extLst>
              <a:ext uri="{FF2B5EF4-FFF2-40B4-BE49-F238E27FC236}">
                <a16:creationId xmlns:a16="http://schemas.microsoft.com/office/drawing/2014/main" id="{84258552-1EDB-434B-862A-162D94E911C9}"/>
              </a:ext>
            </a:extLst>
          </p:cNvPr>
          <p:cNvSpPr>
            <a:spLocks noGrp="1"/>
          </p:cNvSpPr>
          <p:nvPr>
            <p:ph type="sldNum" sz="quarter" idx="4"/>
          </p:nvPr>
        </p:nvSpPr>
        <p:spPr>
          <a:xfrm>
            <a:off x="359999" y="6264872"/>
            <a:ext cx="360000" cy="360000"/>
          </a:xfrm>
          <a:prstGeom prst="rect">
            <a:avLst/>
          </a:prstGeom>
        </p:spPr>
        <p:txBody>
          <a:bodyPr vert="horz" lIns="91440" tIns="45720" rIns="91440" bIns="45720" rtlCol="0" anchor="ctr"/>
          <a:lstStyle>
            <a:lvl1pPr algn="l">
              <a:defRPr sz="800" b="0" i="0">
                <a:solidFill>
                  <a:schemeClr val="tx1"/>
                </a:solidFill>
                <a:latin typeface="Arial" panose="020B0604020202020204" pitchFamily="34" charset="0"/>
                <a:cs typeface="Arial" panose="020B0604020202020204" pitchFamily="34" charset="0"/>
              </a:defRPr>
            </a:lvl1pPr>
          </a:lstStyle>
          <a:p>
            <a:fld id="{52BD4378-72E1-444F-8B73-E4C8D03E6D72}" type="slidenum">
              <a:rPr lang="en-MY" smtClean="0"/>
              <a:t>‹#›</a:t>
            </a:fld>
            <a:endParaRPr lang="en-MY"/>
          </a:p>
        </p:txBody>
      </p:sp>
      <p:sp>
        <p:nvSpPr>
          <p:cNvPr id="17" name="Text Placeholder 4">
            <a:extLst>
              <a:ext uri="{FF2B5EF4-FFF2-40B4-BE49-F238E27FC236}">
                <a16:creationId xmlns:a16="http://schemas.microsoft.com/office/drawing/2014/main" id="{7D3DC8F7-54F6-B642-89D7-DB5451673FF4}"/>
              </a:ext>
            </a:extLst>
          </p:cNvPr>
          <p:cNvSpPr>
            <a:spLocks noGrp="1"/>
          </p:cNvSpPr>
          <p:nvPr>
            <p:ph type="body" sz="quarter" idx="16" hasCustomPrompt="1"/>
          </p:nvPr>
        </p:nvSpPr>
        <p:spPr>
          <a:xfrm>
            <a:off x="360000" y="1800000"/>
            <a:ext cx="3600000" cy="3291177"/>
          </a:xfrm>
          <a:prstGeom prst="rect">
            <a:avLst/>
          </a:prstGeom>
        </p:spPr>
        <p:txBody>
          <a:bodyPr vert="horz">
            <a:noAutofit/>
          </a:bodyPr>
          <a:lstStyle>
            <a:lvl1pPr algn="l">
              <a:defRPr sz="1600">
                <a:solidFill>
                  <a:srgbClr val="333D47"/>
                </a:solidFill>
              </a:defRPr>
            </a:lvl1pPr>
            <a:lvl2pPr algn="l">
              <a:defRPr sz="2000">
                <a:solidFill>
                  <a:schemeClr val="accent2"/>
                </a:solidFill>
              </a:defRPr>
            </a:lvl2pPr>
            <a:lvl3pPr algn="l">
              <a:defRPr sz="2000">
                <a:solidFill>
                  <a:schemeClr val="accent2"/>
                </a:solidFill>
              </a:defRPr>
            </a:lvl3pPr>
            <a:lvl4pPr algn="l">
              <a:defRPr sz="2000">
                <a:solidFill>
                  <a:schemeClr val="accent2"/>
                </a:solidFill>
              </a:defRPr>
            </a:lvl4pPr>
            <a:lvl5pPr algn="l">
              <a:defRPr sz="2000">
                <a:solidFill>
                  <a:schemeClr val="accent2"/>
                </a:solidFill>
              </a:defRPr>
            </a:lvl5pPr>
          </a:lstStyle>
          <a:p>
            <a:pPr lvl="0"/>
            <a:r>
              <a:rPr lang="en-GB" err="1"/>
              <a:t>Bodycopy</a:t>
            </a:r>
            <a:r>
              <a:rPr lang="en-GB"/>
              <a:t> in here</a:t>
            </a:r>
            <a:endParaRPr lang="en-US"/>
          </a:p>
        </p:txBody>
      </p:sp>
      <p:sp>
        <p:nvSpPr>
          <p:cNvPr id="14" name="Text Placeholder 11">
            <a:extLst>
              <a:ext uri="{FF2B5EF4-FFF2-40B4-BE49-F238E27FC236}">
                <a16:creationId xmlns:a16="http://schemas.microsoft.com/office/drawing/2014/main" id="{CB847EAF-F54B-CA44-A1E3-40CA83724A77}"/>
              </a:ext>
            </a:extLst>
          </p:cNvPr>
          <p:cNvSpPr>
            <a:spLocks noGrp="1"/>
          </p:cNvSpPr>
          <p:nvPr>
            <p:ph type="body" sz="quarter" idx="10" hasCustomPrompt="1"/>
          </p:nvPr>
        </p:nvSpPr>
        <p:spPr>
          <a:xfrm>
            <a:off x="360000" y="540000"/>
            <a:ext cx="4725418" cy="1338676"/>
          </a:xfrm>
          <a:prstGeom prst="rect">
            <a:avLst/>
          </a:prstGeom>
          <a:noFill/>
        </p:spPr>
        <p:txBody>
          <a:bodyPr>
            <a:noAutofit/>
          </a:bodyPr>
          <a:lstStyle>
            <a:lvl1pPr>
              <a:lnSpc>
                <a:spcPts val="3200"/>
              </a:lnSpc>
              <a:defRPr sz="3600">
                <a:solidFill>
                  <a:srgbClr val="333D47"/>
                </a:solidFill>
              </a:defRPr>
            </a:lvl1pPr>
            <a:lvl2pPr marL="457200" indent="0">
              <a:buNone/>
              <a:defRPr/>
            </a:lvl2pPr>
          </a:lstStyle>
          <a:p>
            <a:pPr lvl="0"/>
            <a:r>
              <a:rPr lang="en-US"/>
              <a:t>Headline</a:t>
            </a:r>
          </a:p>
        </p:txBody>
      </p:sp>
      <p:sp>
        <p:nvSpPr>
          <p:cNvPr id="9" name="TextBox 8">
            <a:extLst>
              <a:ext uri="{FF2B5EF4-FFF2-40B4-BE49-F238E27FC236}">
                <a16:creationId xmlns:a16="http://schemas.microsoft.com/office/drawing/2014/main" id="{2DD7FE2E-1757-2F4A-A90A-4B90F3AD3A92}"/>
              </a:ext>
            </a:extLst>
          </p:cNvPr>
          <p:cNvSpPr txBox="1"/>
          <p:nvPr/>
        </p:nvSpPr>
        <p:spPr>
          <a:xfrm>
            <a:off x="-1170000" y="2440557"/>
            <a:ext cx="1052488" cy="1785104"/>
          </a:xfrm>
          <a:prstGeom prst="rect">
            <a:avLst/>
          </a:prstGeom>
          <a:solidFill>
            <a:schemeClr val="bg1"/>
          </a:solidFill>
        </p:spPr>
        <p:txBody>
          <a:bodyPr wrap="square" rtlCol="0">
            <a:spAutoFit/>
          </a:bodyPr>
          <a:lstStyle/>
          <a:p>
            <a:pPr algn="l"/>
            <a:r>
              <a:rPr lang="en-US" sz="1000">
                <a:solidFill>
                  <a:srgbClr val="333D47"/>
                </a:solidFill>
                <a:latin typeface="Arial" panose="020B0604020202020204" pitchFamily="34" charset="0"/>
                <a:cs typeface="Arial" panose="020B0604020202020204" pitchFamily="34" charset="0"/>
              </a:rPr>
              <a:t>The image can be replaced here and master view</a:t>
            </a:r>
          </a:p>
          <a:p>
            <a:pPr algn="l"/>
            <a:endParaRPr lang="en-US" sz="1000">
              <a:solidFill>
                <a:srgbClr val="333D47"/>
              </a:solidFill>
              <a:latin typeface="Arial" panose="020B0604020202020204" pitchFamily="34" charset="0"/>
              <a:cs typeface="Arial" panose="020B0604020202020204" pitchFamily="34" charset="0"/>
            </a:endParaRPr>
          </a:p>
          <a:p>
            <a:pPr algn="l"/>
            <a:r>
              <a:rPr lang="en-GB" sz="1000">
                <a:latin typeface="Helvetica Neue" panose="02000503000000020004" pitchFamily="2" charset="0"/>
              </a:rPr>
              <a:t>Please </a:t>
            </a:r>
            <a:r>
              <a:rPr lang="en-GB" sz="1000" b="1">
                <a:latin typeface="Helvetica Neue" panose="02000503000000020004" pitchFamily="2" charset="0"/>
              </a:rPr>
              <a:t>do not </a:t>
            </a:r>
            <a:r>
              <a:rPr lang="en-GB" sz="1000">
                <a:latin typeface="Helvetica Neue" panose="02000503000000020004" pitchFamily="2" charset="0"/>
              </a:rPr>
              <a:t>use any internal photo competition participants’ images</a:t>
            </a:r>
            <a:endParaRPr lang="en-US" sz="1000">
              <a:solidFill>
                <a:srgbClr val="333D47"/>
              </a:solidFill>
            </a:endParaRPr>
          </a:p>
        </p:txBody>
      </p:sp>
      <p:sp>
        <p:nvSpPr>
          <p:cNvPr id="10" name="Trapezoid 5">
            <a:extLst>
              <a:ext uri="{FF2B5EF4-FFF2-40B4-BE49-F238E27FC236}">
                <a16:creationId xmlns:a16="http://schemas.microsoft.com/office/drawing/2014/main" id="{418A450D-2739-A246-BFA4-B073D25DD8B4}"/>
              </a:ext>
            </a:extLst>
          </p:cNvPr>
          <p:cNvSpPr/>
          <p:nvPr/>
        </p:nvSpPr>
        <p:spPr>
          <a:xfrm>
            <a:off x="5115600" y="315416"/>
            <a:ext cx="7095600" cy="6560112"/>
          </a:xfrm>
          <a:custGeom>
            <a:avLst/>
            <a:gdLst>
              <a:gd name="connsiteX0" fmla="*/ 0 w 3508169"/>
              <a:gd name="connsiteY0" fmla="*/ 3543337 h 3543337"/>
              <a:gd name="connsiteX1" fmla="*/ 877042 w 3508169"/>
              <a:gd name="connsiteY1" fmla="*/ 0 h 3543337"/>
              <a:gd name="connsiteX2" fmla="*/ 2631127 w 3508169"/>
              <a:gd name="connsiteY2" fmla="*/ 0 h 3543337"/>
              <a:gd name="connsiteX3" fmla="*/ 3508169 w 3508169"/>
              <a:gd name="connsiteY3" fmla="*/ 3543337 h 3543337"/>
              <a:gd name="connsiteX4" fmla="*/ 0 w 3508169"/>
              <a:gd name="connsiteY4" fmla="*/ 3543337 h 3543337"/>
              <a:gd name="connsiteX0" fmla="*/ 0 w 6086008"/>
              <a:gd name="connsiteY0" fmla="*/ 5470415 h 5470415"/>
              <a:gd name="connsiteX1" fmla="*/ 877042 w 6086008"/>
              <a:gd name="connsiteY1" fmla="*/ 1927078 h 5470415"/>
              <a:gd name="connsiteX2" fmla="*/ 6086008 w 6086008"/>
              <a:gd name="connsiteY2" fmla="*/ 0 h 5470415"/>
              <a:gd name="connsiteX3" fmla="*/ 3508169 w 6086008"/>
              <a:gd name="connsiteY3" fmla="*/ 5470415 h 5470415"/>
              <a:gd name="connsiteX4" fmla="*/ 0 w 6086008"/>
              <a:gd name="connsiteY4" fmla="*/ 5470415 h 5470415"/>
              <a:gd name="connsiteX0" fmla="*/ 0 w 6086008"/>
              <a:gd name="connsiteY0" fmla="*/ 5470415 h 5470415"/>
              <a:gd name="connsiteX1" fmla="*/ 877042 w 6086008"/>
              <a:gd name="connsiteY1" fmla="*/ 1927078 h 5470415"/>
              <a:gd name="connsiteX2" fmla="*/ 6086008 w 6086008"/>
              <a:gd name="connsiteY2" fmla="*/ 0 h 5470415"/>
              <a:gd name="connsiteX3" fmla="*/ 6057143 w 6086008"/>
              <a:gd name="connsiteY3" fmla="*/ 3419009 h 5470415"/>
              <a:gd name="connsiteX4" fmla="*/ 0 w 6086008"/>
              <a:gd name="connsiteY4" fmla="*/ 5470415 h 5470415"/>
              <a:gd name="connsiteX0" fmla="*/ 3048556 w 5208966"/>
              <a:gd name="connsiteY0" fmla="*/ 6607124 h 6607124"/>
              <a:gd name="connsiteX1" fmla="*/ 0 w 5208966"/>
              <a:gd name="connsiteY1" fmla="*/ 1927078 h 6607124"/>
              <a:gd name="connsiteX2" fmla="*/ 5208966 w 5208966"/>
              <a:gd name="connsiteY2" fmla="*/ 0 h 6607124"/>
              <a:gd name="connsiteX3" fmla="*/ 5180101 w 5208966"/>
              <a:gd name="connsiteY3" fmla="*/ 3419009 h 6607124"/>
              <a:gd name="connsiteX4" fmla="*/ 3048556 w 5208966"/>
              <a:gd name="connsiteY4" fmla="*/ 6607124 h 6607124"/>
              <a:gd name="connsiteX0" fmla="*/ 4833726 w 6994136"/>
              <a:gd name="connsiteY0" fmla="*/ 6607124 h 6607124"/>
              <a:gd name="connsiteX1" fmla="*/ 0 w 6994136"/>
              <a:gd name="connsiteY1" fmla="*/ 2193494 h 6607124"/>
              <a:gd name="connsiteX2" fmla="*/ 6994136 w 6994136"/>
              <a:gd name="connsiteY2" fmla="*/ 0 h 6607124"/>
              <a:gd name="connsiteX3" fmla="*/ 6965271 w 6994136"/>
              <a:gd name="connsiteY3" fmla="*/ 3419009 h 6607124"/>
              <a:gd name="connsiteX4" fmla="*/ 4833726 w 6994136"/>
              <a:gd name="connsiteY4" fmla="*/ 6607124 h 6607124"/>
              <a:gd name="connsiteX0" fmla="*/ 4833726 w 6994136"/>
              <a:gd name="connsiteY0" fmla="*/ 6607124 h 6607124"/>
              <a:gd name="connsiteX1" fmla="*/ 1405487 w 6994136"/>
              <a:gd name="connsiteY1" fmla="*/ 3490053 h 6607124"/>
              <a:gd name="connsiteX2" fmla="*/ 0 w 6994136"/>
              <a:gd name="connsiteY2" fmla="*/ 2193494 h 6607124"/>
              <a:gd name="connsiteX3" fmla="*/ 6994136 w 6994136"/>
              <a:gd name="connsiteY3" fmla="*/ 0 h 6607124"/>
              <a:gd name="connsiteX4" fmla="*/ 6965271 w 6994136"/>
              <a:gd name="connsiteY4" fmla="*/ 3419009 h 6607124"/>
              <a:gd name="connsiteX5" fmla="*/ 4833726 w 6994136"/>
              <a:gd name="connsiteY5" fmla="*/ 6607124 h 6607124"/>
              <a:gd name="connsiteX0" fmla="*/ 4833726 w 6994136"/>
              <a:gd name="connsiteY0" fmla="*/ 6607124 h 6607124"/>
              <a:gd name="connsiteX1" fmla="*/ 4078801 w 6994136"/>
              <a:gd name="connsiteY1" fmla="*/ 6571601 h 6607124"/>
              <a:gd name="connsiteX2" fmla="*/ 0 w 6994136"/>
              <a:gd name="connsiteY2" fmla="*/ 2193494 h 6607124"/>
              <a:gd name="connsiteX3" fmla="*/ 6994136 w 6994136"/>
              <a:gd name="connsiteY3" fmla="*/ 0 h 6607124"/>
              <a:gd name="connsiteX4" fmla="*/ 6965271 w 6994136"/>
              <a:gd name="connsiteY4" fmla="*/ 3419009 h 6607124"/>
              <a:gd name="connsiteX5" fmla="*/ 4833726 w 6994136"/>
              <a:gd name="connsiteY5" fmla="*/ 6607124 h 6607124"/>
              <a:gd name="connsiteX0" fmla="*/ 4833726 w 6994136"/>
              <a:gd name="connsiteY0" fmla="*/ 6553841 h 6571601"/>
              <a:gd name="connsiteX1" fmla="*/ 4078801 w 6994136"/>
              <a:gd name="connsiteY1" fmla="*/ 6571601 h 6571601"/>
              <a:gd name="connsiteX2" fmla="*/ 0 w 6994136"/>
              <a:gd name="connsiteY2" fmla="*/ 2193494 h 6571601"/>
              <a:gd name="connsiteX3" fmla="*/ 6994136 w 6994136"/>
              <a:gd name="connsiteY3" fmla="*/ 0 h 6571601"/>
              <a:gd name="connsiteX4" fmla="*/ 6965271 w 6994136"/>
              <a:gd name="connsiteY4" fmla="*/ 3419009 h 6571601"/>
              <a:gd name="connsiteX5" fmla="*/ 4833726 w 6994136"/>
              <a:gd name="connsiteY5" fmla="*/ 6553841 h 6571601"/>
              <a:gd name="connsiteX0" fmla="*/ 4833726 w 6994136"/>
              <a:gd name="connsiteY0" fmla="*/ 6553841 h 6553841"/>
              <a:gd name="connsiteX1" fmla="*/ 4061039 w 6994136"/>
              <a:gd name="connsiteY1" fmla="*/ 6544959 h 6553841"/>
              <a:gd name="connsiteX2" fmla="*/ 0 w 6994136"/>
              <a:gd name="connsiteY2" fmla="*/ 2193494 h 6553841"/>
              <a:gd name="connsiteX3" fmla="*/ 6994136 w 6994136"/>
              <a:gd name="connsiteY3" fmla="*/ 0 h 6553841"/>
              <a:gd name="connsiteX4" fmla="*/ 6965271 w 6994136"/>
              <a:gd name="connsiteY4" fmla="*/ 3419009 h 6553841"/>
              <a:gd name="connsiteX5" fmla="*/ 4833726 w 6994136"/>
              <a:gd name="connsiteY5" fmla="*/ 6553841 h 6553841"/>
              <a:gd name="connsiteX0" fmla="*/ 4895896 w 7056306"/>
              <a:gd name="connsiteY0" fmla="*/ 6553841 h 6553841"/>
              <a:gd name="connsiteX1" fmla="*/ 4123209 w 7056306"/>
              <a:gd name="connsiteY1" fmla="*/ 6544959 h 6553841"/>
              <a:gd name="connsiteX2" fmla="*/ 0 w 7056306"/>
              <a:gd name="connsiteY2" fmla="*/ 2193494 h 6553841"/>
              <a:gd name="connsiteX3" fmla="*/ 7056306 w 7056306"/>
              <a:gd name="connsiteY3" fmla="*/ 0 h 6553841"/>
              <a:gd name="connsiteX4" fmla="*/ 7027441 w 7056306"/>
              <a:gd name="connsiteY4" fmla="*/ 3419009 h 6553841"/>
              <a:gd name="connsiteX5" fmla="*/ 4895896 w 7056306"/>
              <a:gd name="connsiteY5" fmla="*/ 6553841 h 6553841"/>
              <a:gd name="connsiteX0" fmla="*/ 4895896 w 7056306"/>
              <a:gd name="connsiteY0" fmla="*/ 6553841 h 6553841"/>
              <a:gd name="connsiteX1" fmla="*/ 4123209 w 7056306"/>
              <a:gd name="connsiteY1" fmla="*/ 6544959 h 6553841"/>
              <a:gd name="connsiteX2" fmla="*/ 197612 w 7056306"/>
              <a:gd name="connsiteY2" fmla="*/ 2397746 h 6553841"/>
              <a:gd name="connsiteX3" fmla="*/ 0 w 7056306"/>
              <a:gd name="connsiteY3" fmla="*/ 2193494 h 6553841"/>
              <a:gd name="connsiteX4" fmla="*/ 7056306 w 7056306"/>
              <a:gd name="connsiteY4" fmla="*/ 0 h 6553841"/>
              <a:gd name="connsiteX5" fmla="*/ 7027441 w 7056306"/>
              <a:gd name="connsiteY5" fmla="*/ 3419009 h 6553841"/>
              <a:gd name="connsiteX6" fmla="*/ 4895896 w 7056306"/>
              <a:gd name="connsiteY6" fmla="*/ 6553841 h 6553841"/>
              <a:gd name="connsiteX0" fmla="*/ 4895896 w 7056306"/>
              <a:gd name="connsiteY0" fmla="*/ 6553841 h 6553841"/>
              <a:gd name="connsiteX1" fmla="*/ 4123209 w 7056306"/>
              <a:gd name="connsiteY1" fmla="*/ 6544959 h 6553841"/>
              <a:gd name="connsiteX2" fmla="*/ 91034 w 7056306"/>
              <a:gd name="connsiteY2" fmla="*/ 2442148 h 6553841"/>
              <a:gd name="connsiteX3" fmla="*/ 0 w 7056306"/>
              <a:gd name="connsiteY3" fmla="*/ 2193494 h 6553841"/>
              <a:gd name="connsiteX4" fmla="*/ 7056306 w 7056306"/>
              <a:gd name="connsiteY4" fmla="*/ 0 h 6553841"/>
              <a:gd name="connsiteX5" fmla="*/ 7027441 w 7056306"/>
              <a:gd name="connsiteY5" fmla="*/ 3419009 h 6553841"/>
              <a:gd name="connsiteX6" fmla="*/ 4895896 w 7056306"/>
              <a:gd name="connsiteY6" fmla="*/ 6553841 h 6553841"/>
              <a:gd name="connsiteX0" fmla="*/ 4922142 w 7082552"/>
              <a:gd name="connsiteY0" fmla="*/ 6553841 h 6553841"/>
              <a:gd name="connsiteX1" fmla="*/ 4149455 w 7082552"/>
              <a:gd name="connsiteY1" fmla="*/ 6544959 h 6553841"/>
              <a:gd name="connsiteX2" fmla="*/ 117280 w 7082552"/>
              <a:gd name="connsiteY2" fmla="*/ 2442148 h 6553841"/>
              <a:gd name="connsiteX3" fmla="*/ 26246 w 7082552"/>
              <a:gd name="connsiteY3" fmla="*/ 2193494 h 6553841"/>
              <a:gd name="connsiteX4" fmla="*/ 7082552 w 7082552"/>
              <a:gd name="connsiteY4" fmla="*/ 0 h 6553841"/>
              <a:gd name="connsiteX5" fmla="*/ 7053687 w 7082552"/>
              <a:gd name="connsiteY5" fmla="*/ 3419009 h 6553841"/>
              <a:gd name="connsiteX6" fmla="*/ 4922142 w 7082552"/>
              <a:gd name="connsiteY6" fmla="*/ 6553841 h 6553841"/>
              <a:gd name="connsiteX0" fmla="*/ 4950971 w 7111381"/>
              <a:gd name="connsiteY0" fmla="*/ 6553841 h 6553841"/>
              <a:gd name="connsiteX1" fmla="*/ 4178284 w 7111381"/>
              <a:gd name="connsiteY1" fmla="*/ 6544959 h 6553841"/>
              <a:gd name="connsiteX2" fmla="*/ 146109 w 7111381"/>
              <a:gd name="connsiteY2" fmla="*/ 2442148 h 6553841"/>
              <a:gd name="connsiteX3" fmla="*/ 55075 w 7111381"/>
              <a:gd name="connsiteY3" fmla="*/ 2193494 h 6553841"/>
              <a:gd name="connsiteX4" fmla="*/ 7111381 w 7111381"/>
              <a:gd name="connsiteY4" fmla="*/ 0 h 6553841"/>
              <a:gd name="connsiteX5" fmla="*/ 7082516 w 7111381"/>
              <a:gd name="connsiteY5" fmla="*/ 3419009 h 6553841"/>
              <a:gd name="connsiteX6" fmla="*/ 4950971 w 7111381"/>
              <a:gd name="connsiteY6" fmla="*/ 6553841 h 6553841"/>
              <a:gd name="connsiteX0" fmla="*/ 4963653 w 7124063"/>
              <a:gd name="connsiteY0" fmla="*/ 6553841 h 6553841"/>
              <a:gd name="connsiteX1" fmla="*/ 4190966 w 7124063"/>
              <a:gd name="connsiteY1" fmla="*/ 6544959 h 6553841"/>
              <a:gd name="connsiteX2" fmla="*/ 158791 w 7124063"/>
              <a:gd name="connsiteY2" fmla="*/ 2442148 h 6553841"/>
              <a:gd name="connsiteX3" fmla="*/ 67757 w 7124063"/>
              <a:gd name="connsiteY3" fmla="*/ 2193494 h 6553841"/>
              <a:gd name="connsiteX4" fmla="*/ 7124063 w 7124063"/>
              <a:gd name="connsiteY4" fmla="*/ 0 h 6553841"/>
              <a:gd name="connsiteX5" fmla="*/ 7095198 w 7124063"/>
              <a:gd name="connsiteY5" fmla="*/ 3419009 h 6553841"/>
              <a:gd name="connsiteX6" fmla="*/ 4963653 w 7124063"/>
              <a:gd name="connsiteY6" fmla="*/ 6553841 h 6553841"/>
              <a:gd name="connsiteX0" fmla="*/ 4951680 w 7112090"/>
              <a:gd name="connsiteY0" fmla="*/ 6553841 h 6553841"/>
              <a:gd name="connsiteX1" fmla="*/ 4178993 w 7112090"/>
              <a:gd name="connsiteY1" fmla="*/ 6544959 h 6553841"/>
              <a:gd name="connsiteX2" fmla="*/ 146818 w 7112090"/>
              <a:gd name="connsiteY2" fmla="*/ 2442148 h 6553841"/>
              <a:gd name="connsiteX3" fmla="*/ 78234 w 7112090"/>
              <a:gd name="connsiteY3" fmla="*/ 2187080 h 6553841"/>
              <a:gd name="connsiteX4" fmla="*/ 7112090 w 7112090"/>
              <a:gd name="connsiteY4" fmla="*/ 0 h 6553841"/>
              <a:gd name="connsiteX5" fmla="*/ 7083225 w 7112090"/>
              <a:gd name="connsiteY5" fmla="*/ 3419009 h 6553841"/>
              <a:gd name="connsiteX6" fmla="*/ 4951680 w 7112090"/>
              <a:gd name="connsiteY6" fmla="*/ 6553841 h 6553841"/>
              <a:gd name="connsiteX0" fmla="*/ 4951680 w 7083225"/>
              <a:gd name="connsiteY0" fmla="*/ 6527921 h 6527921"/>
              <a:gd name="connsiteX1" fmla="*/ 4178993 w 7083225"/>
              <a:gd name="connsiteY1" fmla="*/ 6519039 h 6527921"/>
              <a:gd name="connsiteX2" fmla="*/ 146818 w 7083225"/>
              <a:gd name="connsiteY2" fmla="*/ 2416228 h 6527921"/>
              <a:gd name="connsiteX3" fmla="*/ 78234 w 7083225"/>
              <a:gd name="connsiteY3" fmla="*/ 2161160 h 6527921"/>
              <a:gd name="connsiteX4" fmla="*/ 7077534 w 7083225"/>
              <a:gd name="connsiteY4" fmla="*/ 0 h 6527921"/>
              <a:gd name="connsiteX5" fmla="*/ 7083225 w 7083225"/>
              <a:gd name="connsiteY5" fmla="*/ 3393089 h 6527921"/>
              <a:gd name="connsiteX6" fmla="*/ 4951680 w 7083225"/>
              <a:gd name="connsiteY6" fmla="*/ 6527921 h 6527921"/>
              <a:gd name="connsiteX0" fmla="*/ 4996130 w 7083225"/>
              <a:gd name="connsiteY0" fmla="*/ 6521571 h 6521571"/>
              <a:gd name="connsiteX1" fmla="*/ 4178993 w 7083225"/>
              <a:gd name="connsiteY1" fmla="*/ 6519039 h 6521571"/>
              <a:gd name="connsiteX2" fmla="*/ 146818 w 7083225"/>
              <a:gd name="connsiteY2" fmla="*/ 2416228 h 6521571"/>
              <a:gd name="connsiteX3" fmla="*/ 78234 w 7083225"/>
              <a:gd name="connsiteY3" fmla="*/ 2161160 h 6521571"/>
              <a:gd name="connsiteX4" fmla="*/ 7077534 w 7083225"/>
              <a:gd name="connsiteY4" fmla="*/ 0 h 6521571"/>
              <a:gd name="connsiteX5" fmla="*/ 7083225 w 7083225"/>
              <a:gd name="connsiteY5" fmla="*/ 3393089 h 6521571"/>
              <a:gd name="connsiteX6" fmla="*/ 4996130 w 7083225"/>
              <a:gd name="connsiteY6" fmla="*/ 6521571 h 6521571"/>
              <a:gd name="connsiteX0" fmla="*/ 4996130 w 7083225"/>
              <a:gd name="connsiteY0" fmla="*/ 6521571 h 6525389"/>
              <a:gd name="connsiteX1" fmla="*/ 4182168 w 7083225"/>
              <a:gd name="connsiteY1" fmla="*/ 6525389 h 6525389"/>
              <a:gd name="connsiteX2" fmla="*/ 146818 w 7083225"/>
              <a:gd name="connsiteY2" fmla="*/ 2416228 h 6525389"/>
              <a:gd name="connsiteX3" fmla="*/ 78234 w 7083225"/>
              <a:gd name="connsiteY3" fmla="*/ 2161160 h 6525389"/>
              <a:gd name="connsiteX4" fmla="*/ 7077534 w 7083225"/>
              <a:gd name="connsiteY4" fmla="*/ 0 h 6525389"/>
              <a:gd name="connsiteX5" fmla="*/ 7083225 w 7083225"/>
              <a:gd name="connsiteY5" fmla="*/ 3393089 h 6525389"/>
              <a:gd name="connsiteX6" fmla="*/ 4996130 w 7083225"/>
              <a:gd name="connsiteY6" fmla="*/ 6521571 h 6525389"/>
              <a:gd name="connsiteX0" fmla="*/ 4996130 w 7084961"/>
              <a:gd name="connsiteY0" fmla="*/ 6532712 h 6536530"/>
              <a:gd name="connsiteX1" fmla="*/ 4182168 w 7084961"/>
              <a:gd name="connsiteY1" fmla="*/ 6536530 h 6536530"/>
              <a:gd name="connsiteX2" fmla="*/ 146818 w 7084961"/>
              <a:gd name="connsiteY2" fmla="*/ 2427369 h 6536530"/>
              <a:gd name="connsiteX3" fmla="*/ 78234 w 7084961"/>
              <a:gd name="connsiteY3" fmla="*/ 2172301 h 6536530"/>
              <a:gd name="connsiteX4" fmla="*/ 7084961 w 7084961"/>
              <a:gd name="connsiteY4" fmla="*/ 0 h 6536530"/>
              <a:gd name="connsiteX5" fmla="*/ 7083225 w 7084961"/>
              <a:gd name="connsiteY5" fmla="*/ 3404230 h 6536530"/>
              <a:gd name="connsiteX6" fmla="*/ 4996130 w 7084961"/>
              <a:gd name="connsiteY6" fmla="*/ 6532712 h 6536530"/>
              <a:gd name="connsiteX0" fmla="*/ 5013784 w 7084961"/>
              <a:gd name="connsiteY0" fmla="*/ 6536242 h 6536530"/>
              <a:gd name="connsiteX1" fmla="*/ 4182168 w 7084961"/>
              <a:gd name="connsiteY1" fmla="*/ 6536530 h 6536530"/>
              <a:gd name="connsiteX2" fmla="*/ 146818 w 7084961"/>
              <a:gd name="connsiteY2" fmla="*/ 2427369 h 6536530"/>
              <a:gd name="connsiteX3" fmla="*/ 78234 w 7084961"/>
              <a:gd name="connsiteY3" fmla="*/ 2172301 h 6536530"/>
              <a:gd name="connsiteX4" fmla="*/ 7084961 w 7084961"/>
              <a:gd name="connsiteY4" fmla="*/ 0 h 6536530"/>
              <a:gd name="connsiteX5" fmla="*/ 7083225 w 7084961"/>
              <a:gd name="connsiteY5" fmla="*/ 3404230 h 6536530"/>
              <a:gd name="connsiteX6" fmla="*/ 5013784 w 7084961"/>
              <a:gd name="connsiteY6" fmla="*/ 6536242 h 6536530"/>
              <a:gd name="connsiteX0" fmla="*/ 5013784 w 7084961"/>
              <a:gd name="connsiteY0" fmla="*/ 6536242 h 6547121"/>
              <a:gd name="connsiteX1" fmla="*/ 4185699 w 7084961"/>
              <a:gd name="connsiteY1" fmla="*/ 6547121 h 6547121"/>
              <a:gd name="connsiteX2" fmla="*/ 146818 w 7084961"/>
              <a:gd name="connsiteY2" fmla="*/ 2427369 h 6547121"/>
              <a:gd name="connsiteX3" fmla="*/ 78234 w 7084961"/>
              <a:gd name="connsiteY3" fmla="*/ 2172301 h 6547121"/>
              <a:gd name="connsiteX4" fmla="*/ 7084961 w 7084961"/>
              <a:gd name="connsiteY4" fmla="*/ 0 h 6547121"/>
              <a:gd name="connsiteX5" fmla="*/ 7083225 w 7084961"/>
              <a:gd name="connsiteY5" fmla="*/ 3404230 h 6547121"/>
              <a:gd name="connsiteX6" fmla="*/ 5013784 w 7084961"/>
              <a:gd name="connsiteY6" fmla="*/ 6536242 h 6547121"/>
              <a:gd name="connsiteX0" fmla="*/ 5013784 w 7086830"/>
              <a:gd name="connsiteY0" fmla="*/ 6536242 h 6547121"/>
              <a:gd name="connsiteX1" fmla="*/ 4185699 w 7086830"/>
              <a:gd name="connsiteY1" fmla="*/ 6547121 h 6547121"/>
              <a:gd name="connsiteX2" fmla="*/ 146818 w 7086830"/>
              <a:gd name="connsiteY2" fmla="*/ 2427369 h 6547121"/>
              <a:gd name="connsiteX3" fmla="*/ 78234 w 7086830"/>
              <a:gd name="connsiteY3" fmla="*/ 2172301 h 6547121"/>
              <a:gd name="connsiteX4" fmla="*/ 7084961 w 7086830"/>
              <a:gd name="connsiteY4" fmla="*/ 0 h 6547121"/>
              <a:gd name="connsiteX5" fmla="*/ 7086755 w 7086830"/>
              <a:gd name="connsiteY5" fmla="*/ 3425413 h 6547121"/>
              <a:gd name="connsiteX6" fmla="*/ 5013784 w 7086830"/>
              <a:gd name="connsiteY6" fmla="*/ 6536242 h 6547121"/>
              <a:gd name="connsiteX0" fmla="*/ 5013784 w 7099083"/>
              <a:gd name="connsiteY0" fmla="*/ 6543303 h 6554182"/>
              <a:gd name="connsiteX1" fmla="*/ 4185699 w 7099083"/>
              <a:gd name="connsiteY1" fmla="*/ 6554182 h 6554182"/>
              <a:gd name="connsiteX2" fmla="*/ 146818 w 7099083"/>
              <a:gd name="connsiteY2" fmla="*/ 2434430 h 6554182"/>
              <a:gd name="connsiteX3" fmla="*/ 78234 w 7099083"/>
              <a:gd name="connsiteY3" fmla="*/ 2179362 h 6554182"/>
              <a:gd name="connsiteX4" fmla="*/ 7099083 w 7099083"/>
              <a:gd name="connsiteY4" fmla="*/ 0 h 6554182"/>
              <a:gd name="connsiteX5" fmla="*/ 7086755 w 7099083"/>
              <a:gd name="connsiteY5" fmla="*/ 3432474 h 6554182"/>
              <a:gd name="connsiteX6" fmla="*/ 5013784 w 7099083"/>
              <a:gd name="connsiteY6" fmla="*/ 6543303 h 6554182"/>
              <a:gd name="connsiteX0" fmla="*/ 4996305 w 7081604"/>
              <a:gd name="connsiteY0" fmla="*/ 6543303 h 6554182"/>
              <a:gd name="connsiteX1" fmla="*/ 4168220 w 7081604"/>
              <a:gd name="connsiteY1" fmla="*/ 6554182 h 6554182"/>
              <a:gd name="connsiteX2" fmla="*/ 129339 w 7081604"/>
              <a:gd name="connsiteY2" fmla="*/ 2434430 h 6554182"/>
              <a:gd name="connsiteX3" fmla="*/ 98856 w 7081604"/>
              <a:gd name="connsiteY3" fmla="*/ 2169837 h 6554182"/>
              <a:gd name="connsiteX4" fmla="*/ 7081604 w 7081604"/>
              <a:gd name="connsiteY4" fmla="*/ 0 h 6554182"/>
              <a:gd name="connsiteX5" fmla="*/ 7069276 w 7081604"/>
              <a:gd name="connsiteY5" fmla="*/ 3432474 h 6554182"/>
              <a:gd name="connsiteX6" fmla="*/ 4996305 w 7081604"/>
              <a:gd name="connsiteY6" fmla="*/ 6543303 h 6554182"/>
              <a:gd name="connsiteX0" fmla="*/ 4989581 w 7081604"/>
              <a:gd name="connsiteY0" fmla="*/ 6553388 h 6554182"/>
              <a:gd name="connsiteX1" fmla="*/ 4168220 w 7081604"/>
              <a:gd name="connsiteY1" fmla="*/ 6554182 h 6554182"/>
              <a:gd name="connsiteX2" fmla="*/ 129339 w 7081604"/>
              <a:gd name="connsiteY2" fmla="*/ 2434430 h 6554182"/>
              <a:gd name="connsiteX3" fmla="*/ 98856 w 7081604"/>
              <a:gd name="connsiteY3" fmla="*/ 2169837 h 6554182"/>
              <a:gd name="connsiteX4" fmla="*/ 7081604 w 7081604"/>
              <a:gd name="connsiteY4" fmla="*/ 0 h 6554182"/>
              <a:gd name="connsiteX5" fmla="*/ 7069276 w 7081604"/>
              <a:gd name="connsiteY5" fmla="*/ 3432474 h 6554182"/>
              <a:gd name="connsiteX6" fmla="*/ 4989581 w 7081604"/>
              <a:gd name="connsiteY6" fmla="*/ 6553388 h 6554182"/>
              <a:gd name="connsiteX0" fmla="*/ 5006391 w 7081604"/>
              <a:gd name="connsiteY0" fmla="*/ 6556750 h 6556750"/>
              <a:gd name="connsiteX1" fmla="*/ 4168220 w 7081604"/>
              <a:gd name="connsiteY1" fmla="*/ 6554182 h 6556750"/>
              <a:gd name="connsiteX2" fmla="*/ 129339 w 7081604"/>
              <a:gd name="connsiteY2" fmla="*/ 2434430 h 6556750"/>
              <a:gd name="connsiteX3" fmla="*/ 98856 w 7081604"/>
              <a:gd name="connsiteY3" fmla="*/ 2169837 h 6556750"/>
              <a:gd name="connsiteX4" fmla="*/ 7081604 w 7081604"/>
              <a:gd name="connsiteY4" fmla="*/ 0 h 6556750"/>
              <a:gd name="connsiteX5" fmla="*/ 7069276 w 7081604"/>
              <a:gd name="connsiteY5" fmla="*/ 3432474 h 6556750"/>
              <a:gd name="connsiteX6" fmla="*/ 5006391 w 7081604"/>
              <a:gd name="connsiteY6" fmla="*/ 6556750 h 6556750"/>
              <a:gd name="connsiteX0" fmla="*/ 5006391 w 7092829"/>
              <a:gd name="connsiteY0" fmla="*/ 6556750 h 6556750"/>
              <a:gd name="connsiteX1" fmla="*/ 4168220 w 7092829"/>
              <a:gd name="connsiteY1" fmla="*/ 6554182 h 6556750"/>
              <a:gd name="connsiteX2" fmla="*/ 129339 w 7092829"/>
              <a:gd name="connsiteY2" fmla="*/ 2434430 h 6556750"/>
              <a:gd name="connsiteX3" fmla="*/ 98856 w 7092829"/>
              <a:gd name="connsiteY3" fmla="*/ 2169837 h 6556750"/>
              <a:gd name="connsiteX4" fmla="*/ 7081604 w 7092829"/>
              <a:gd name="connsiteY4" fmla="*/ 0 h 6556750"/>
              <a:gd name="connsiteX5" fmla="*/ 7092810 w 7092829"/>
              <a:gd name="connsiteY5" fmla="*/ 3405580 h 6556750"/>
              <a:gd name="connsiteX6" fmla="*/ 5006391 w 7092829"/>
              <a:gd name="connsiteY6" fmla="*/ 6556750 h 6556750"/>
              <a:gd name="connsiteX0" fmla="*/ 5006391 w 7095052"/>
              <a:gd name="connsiteY0" fmla="*/ 6560112 h 6560112"/>
              <a:gd name="connsiteX1" fmla="*/ 4168220 w 7095052"/>
              <a:gd name="connsiteY1" fmla="*/ 6557544 h 6560112"/>
              <a:gd name="connsiteX2" fmla="*/ 129339 w 7095052"/>
              <a:gd name="connsiteY2" fmla="*/ 2437792 h 6560112"/>
              <a:gd name="connsiteX3" fmla="*/ 98856 w 7095052"/>
              <a:gd name="connsiteY3" fmla="*/ 2173199 h 6560112"/>
              <a:gd name="connsiteX4" fmla="*/ 7095052 w 7095052"/>
              <a:gd name="connsiteY4" fmla="*/ 0 h 6560112"/>
              <a:gd name="connsiteX5" fmla="*/ 7092810 w 7095052"/>
              <a:gd name="connsiteY5" fmla="*/ 3408942 h 6560112"/>
              <a:gd name="connsiteX6" fmla="*/ 5006391 w 7095052"/>
              <a:gd name="connsiteY6" fmla="*/ 6560112 h 6560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5052" h="6560112">
                <a:moveTo>
                  <a:pt x="5006391" y="6560112"/>
                </a:moveTo>
                <a:lnTo>
                  <a:pt x="4168220" y="6557544"/>
                </a:lnTo>
                <a:lnTo>
                  <a:pt x="129339" y="2437792"/>
                </a:lnTo>
                <a:cubicBezTo>
                  <a:pt x="-87432" y="2226747"/>
                  <a:pt x="15569" y="2212951"/>
                  <a:pt x="98856" y="2173199"/>
                </a:cubicBezTo>
                <a:lnTo>
                  <a:pt x="7095052" y="0"/>
                </a:lnTo>
                <a:cubicBezTo>
                  <a:pt x="7094473" y="1134743"/>
                  <a:pt x="7093389" y="2274199"/>
                  <a:pt x="7092810" y="3408942"/>
                </a:cubicBezTo>
                <a:lnTo>
                  <a:pt x="5006391" y="6560112"/>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a:p>
        </p:txBody>
      </p:sp>
    </p:spTree>
    <p:extLst>
      <p:ext uri="{BB962C8B-B14F-4D97-AF65-F5344CB8AC3E}">
        <p14:creationId xmlns:p14="http://schemas.microsoft.com/office/powerpoint/2010/main" val="198488321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5465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254567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84032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91510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3372489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56218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3129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720538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63072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122"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1379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516207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IA Agenda_v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22D1722-8CA2-BB47-A328-C4C56AD3D876}"/>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C195474A-0DBF-F749-83CC-FAA52C968C0A}"/>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16915" r="2593" b="10865"/>
          <a:stretch/>
        </p:blipFill>
        <p:spPr>
          <a:xfrm>
            <a:off x="4989685" y="-1"/>
            <a:ext cx="7202315" cy="6858001"/>
          </a:xfrm>
          <a:prstGeom prst="rect">
            <a:avLst/>
          </a:prstGeom>
        </p:spPr>
      </p:pic>
      <p:sp>
        <p:nvSpPr>
          <p:cNvPr id="32" name="Slide Number Placeholder 2">
            <a:extLst>
              <a:ext uri="{FF2B5EF4-FFF2-40B4-BE49-F238E27FC236}">
                <a16:creationId xmlns:a16="http://schemas.microsoft.com/office/drawing/2014/main" id="{527A0808-5456-6A4F-B464-C01AD04D098A}"/>
              </a:ext>
            </a:extLst>
          </p:cNvPr>
          <p:cNvSpPr>
            <a:spLocks noGrp="1"/>
          </p:cNvSpPr>
          <p:nvPr>
            <p:ph type="sldNum" sz="quarter" idx="10"/>
          </p:nvPr>
        </p:nvSpPr>
        <p:spPr>
          <a:xfrm>
            <a:off x="359999" y="6264872"/>
            <a:ext cx="360000" cy="360000"/>
          </a:xfrm>
          <a:prstGeom prst="rect">
            <a:avLst/>
          </a:prstGeom>
        </p:spPr>
        <p:txBody>
          <a:bodyPr/>
          <a:lstStyle>
            <a:lvl1pPr>
              <a:defRPr>
                <a:solidFill>
                  <a:schemeClr val="bg1"/>
                </a:solidFill>
              </a:defRPr>
            </a:lvl1pPr>
          </a:lstStyle>
          <a:p>
            <a:fld id="{52BD4378-72E1-444F-8B73-E4C8D03E6D72}" type="slidenum">
              <a:rPr lang="en-MY" smtClean="0"/>
              <a:t>‹#›</a:t>
            </a:fld>
            <a:endParaRPr lang="en-MY"/>
          </a:p>
        </p:txBody>
      </p:sp>
      <p:sp>
        <p:nvSpPr>
          <p:cNvPr id="33" name="Slide Number Placeholder 5">
            <a:extLst>
              <a:ext uri="{FF2B5EF4-FFF2-40B4-BE49-F238E27FC236}">
                <a16:creationId xmlns:a16="http://schemas.microsoft.com/office/drawing/2014/main" id="{1283853E-070D-1A43-BCD5-A2F62A51D3F7}"/>
              </a:ext>
            </a:extLst>
          </p:cNvPr>
          <p:cNvSpPr txBox="1">
            <a:spLocks/>
          </p:cNvSpPr>
          <p:nvPr/>
        </p:nvSpPr>
        <p:spPr>
          <a:xfrm>
            <a:off x="359999" y="6264872"/>
            <a:ext cx="360000" cy="360000"/>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8A41853-EF22-D446-BDBC-A7CF3FE93503}" type="slidenum">
              <a:rPr lang="en-US" smtClean="0">
                <a:solidFill>
                  <a:schemeClr val="bg1"/>
                </a:solidFill>
              </a:rPr>
              <a:pPr/>
              <a:t>‹#›</a:t>
            </a:fld>
            <a:endParaRPr lang="en-US">
              <a:solidFill>
                <a:schemeClr val="bg1"/>
              </a:solidFill>
            </a:endParaRPr>
          </a:p>
        </p:txBody>
      </p:sp>
      <p:sp>
        <p:nvSpPr>
          <p:cNvPr id="18" name="Text Placeholder 4">
            <a:extLst>
              <a:ext uri="{FF2B5EF4-FFF2-40B4-BE49-F238E27FC236}">
                <a16:creationId xmlns:a16="http://schemas.microsoft.com/office/drawing/2014/main" id="{D6B25584-1DDF-EF47-8AC4-BB2EA58D7506}"/>
              </a:ext>
            </a:extLst>
          </p:cNvPr>
          <p:cNvSpPr>
            <a:spLocks noGrp="1"/>
          </p:cNvSpPr>
          <p:nvPr>
            <p:ph type="body" sz="quarter" idx="16" hasCustomPrompt="1"/>
          </p:nvPr>
        </p:nvSpPr>
        <p:spPr>
          <a:xfrm>
            <a:off x="360000" y="1800000"/>
            <a:ext cx="3600000" cy="3291177"/>
          </a:xfrm>
          <a:prstGeom prst="rect">
            <a:avLst/>
          </a:prstGeom>
        </p:spPr>
        <p:txBody>
          <a:bodyPr vert="horz">
            <a:noAutofit/>
          </a:bodyPr>
          <a:lstStyle>
            <a:lvl1pPr algn="l">
              <a:defRPr sz="1600">
                <a:solidFill>
                  <a:schemeClr val="bg1"/>
                </a:solidFill>
              </a:defRPr>
            </a:lvl1pPr>
            <a:lvl2pPr algn="l">
              <a:defRPr sz="2000">
                <a:solidFill>
                  <a:schemeClr val="accent2"/>
                </a:solidFill>
              </a:defRPr>
            </a:lvl2pPr>
            <a:lvl3pPr algn="l">
              <a:defRPr sz="2000">
                <a:solidFill>
                  <a:schemeClr val="accent2"/>
                </a:solidFill>
              </a:defRPr>
            </a:lvl3pPr>
            <a:lvl4pPr algn="l">
              <a:defRPr sz="2000">
                <a:solidFill>
                  <a:schemeClr val="accent2"/>
                </a:solidFill>
              </a:defRPr>
            </a:lvl4pPr>
            <a:lvl5pPr algn="l">
              <a:defRPr sz="2000">
                <a:solidFill>
                  <a:schemeClr val="accent2"/>
                </a:solidFill>
              </a:defRPr>
            </a:lvl5pPr>
          </a:lstStyle>
          <a:p>
            <a:pPr lvl="0"/>
            <a:r>
              <a:rPr lang="en-GB" err="1"/>
              <a:t>Bodycopy</a:t>
            </a:r>
            <a:r>
              <a:rPr lang="en-GB"/>
              <a:t> in here</a:t>
            </a:r>
            <a:endParaRPr lang="en-US"/>
          </a:p>
        </p:txBody>
      </p:sp>
      <p:sp>
        <p:nvSpPr>
          <p:cNvPr id="22" name="Text Placeholder 11">
            <a:extLst>
              <a:ext uri="{FF2B5EF4-FFF2-40B4-BE49-F238E27FC236}">
                <a16:creationId xmlns:a16="http://schemas.microsoft.com/office/drawing/2014/main" id="{0E13B197-728E-7B47-BCF9-72C861BF32E9}"/>
              </a:ext>
            </a:extLst>
          </p:cNvPr>
          <p:cNvSpPr>
            <a:spLocks noGrp="1"/>
          </p:cNvSpPr>
          <p:nvPr>
            <p:ph type="body" sz="quarter" idx="17" hasCustomPrompt="1"/>
          </p:nvPr>
        </p:nvSpPr>
        <p:spPr>
          <a:xfrm>
            <a:off x="360000" y="540000"/>
            <a:ext cx="5558662" cy="1338676"/>
          </a:xfrm>
          <a:prstGeom prst="rect">
            <a:avLst/>
          </a:prstGeom>
          <a:noFill/>
        </p:spPr>
        <p:txBody>
          <a:bodyPr>
            <a:noAutofit/>
          </a:bodyPr>
          <a:lstStyle>
            <a:lvl1pPr>
              <a:lnSpc>
                <a:spcPts val="3200"/>
              </a:lnSpc>
              <a:defRPr sz="3600">
                <a:solidFill>
                  <a:schemeClr val="bg1"/>
                </a:solidFill>
              </a:defRPr>
            </a:lvl1pPr>
            <a:lvl2pPr marL="457200" indent="0">
              <a:buNone/>
              <a:defRPr/>
            </a:lvl2pPr>
          </a:lstStyle>
          <a:p>
            <a:pPr lvl="0"/>
            <a:r>
              <a:rPr lang="en-US"/>
              <a:t>Headline</a:t>
            </a:r>
          </a:p>
        </p:txBody>
      </p:sp>
      <p:sp>
        <p:nvSpPr>
          <p:cNvPr id="11" name="TextBox 10">
            <a:extLst>
              <a:ext uri="{FF2B5EF4-FFF2-40B4-BE49-F238E27FC236}">
                <a16:creationId xmlns:a16="http://schemas.microsoft.com/office/drawing/2014/main" id="{33C594C9-C0B0-9044-AE63-DB0FF9144FA7}"/>
              </a:ext>
            </a:extLst>
          </p:cNvPr>
          <p:cNvSpPr txBox="1"/>
          <p:nvPr/>
        </p:nvSpPr>
        <p:spPr>
          <a:xfrm>
            <a:off x="720000" y="6336000"/>
            <a:ext cx="5400000" cy="216000"/>
          </a:xfrm>
          <a:prstGeom prst="rect">
            <a:avLst/>
          </a:prstGeom>
          <a:noFill/>
        </p:spPr>
        <p:txBody>
          <a:bodyPr wrap="square" lIns="90000" rtlCol="0" anchor="ctr" anchorCtr="0">
            <a:spAutoFit/>
          </a:bodyPr>
          <a:lstStyle/>
          <a:p>
            <a:r>
              <a:rPr lang="en-GB" sz="800" b="0" i="0">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endParaRPr lang="en-US" sz="800" b="0" i="0">
              <a:solidFill>
                <a:schemeClr val="bg1"/>
              </a:solidFill>
              <a:latin typeface="Arial" panose="020B0604020202020204" pitchFamily="34" charset="0"/>
              <a:cs typeface="Arial" panose="020B0604020202020204" pitchFamily="34" charset="0"/>
            </a:endParaRPr>
          </a:p>
        </p:txBody>
      </p:sp>
      <p:sp>
        <p:nvSpPr>
          <p:cNvPr id="6" name="Round Same-side Corner of Rectangle 5">
            <a:extLst>
              <a:ext uri="{FF2B5EF4-FFF2-40B4-BE49-F238E27FC236}">
                <a16:creationId xmlns:a16="http://schemas.microsoft.com/office/drawing/2014/main" id="{5F060F5B-E4AE-6A43-85B7-A06A9BA0B80C}"/>
              </a:ext>
            </a:extLst>
          </p:cNvPr>
          <p:cNvSpPr/>
          <p:nvPr/>
        </p:nvSpPr>
        <p:spPr>
          <a:xfrm rot="21158795">
            <a:off x="5218262" y="2224066"/>
            <a:ext cx="7409112" cy="4726604"/>
          </a:xfrm>
          <a:custGeom>
            <a:avLst/>
            <a:gdLst>
              <a:gd name="connsiteX0" fmla="*/ 97625 w 7372190"/>
              <a:gd name="connsiteY0" fmla="*/ 0 h 871182"/>
              <a:gd name="connsiteX1" fmla="*/ 7274565 w 7372190"/>
              <a:gd name="connsiteY1" fmla="*/ 0 h 871182"/>
              <a:gd name="connsiteX2" fmla="*/ 7372190 w 7372190"/>
              <a:gd name="connsiteY2" fmla="*/ 97625 h 871182"/>
              <a:gd name="connsiteX3" fmla="*/ 7372190 w 7372190"/>
              <a:gd name="connsiteY3" fmla="*/ 739930 h 871182"/>
              <a:gd name="connsiteX4" fmla="*/ 7240938 w 7372190"/>
              <a:gd name="connsiteY4" fmla="*/ 871182 h 871182"/>
              <a:gd name="connsiteX5" fmla="*/ 131252 w 7372190"/>
              <a:gd name="connsiteY5" fmla="*/ 871182 h 871182"/>
              <a:gd name="connsiteX6" fmla="*/ 0 w 7372190"/>
              <a:gd name="connsiteY6" fmla="*/ 739930 h 871182"/>
              <a:gd name="connsiteX7" fmla="*/ 0 w 7372190"/>
              <a:gd name="connsiteY7" fmla="*/ 97625 h 871182"/>
              <a:gd name="connsiteX8" fmla="*/ 97625 w 7372190"/>
              <a:gd name="connsiteY8" fmla="*/ 0 h 871182"/>
              <a:gd name="connsiteX0" fmla="*/ 97625 w 7372190"/>
              <a:gd name="connsiteY0" fmla="*/ 0 h 871182"/>
              <a:gd name="connsiteX1" fmla="*/ 7274565 w 7372190"/>
              <a:gd name="connsiteY1" fmla="*/ 0 h 871182"/>
              <a:gd name="connsiteX2" fmla="*/ 7372190 w 7372190"/>
              <a:gd name="connsiteY2" fmla="*/ 97625 h 871182"/>
              <a:gd name="connsiteX3" fmla="*/ 7372190 w 7372190"/>
              <a:gd name="connsiteY3" fmla="*/ 739930 h 871182"/>
              <a:gd name="connsiteX4" fmla="*/ 7240938 w 7372190"/>
              <a:gd name="connsiteY4" fmla="*/ 871182 h 871182"/>
              <a:gd name="connsiteX5" fmla="*/ 1135042 w 7372190"/>
              <a:gd name="connsiteY5" fmla="*/ 867484 h 871182"/>
              <a:gd name="connsiteX6" fmla="*/ 131252 w 7372190"/>
              <a:gd name="connsiteY6" fmla="*/ 871182 h 871182"/>
              <a:gd name="connsiteX7" fmla="*/ 0 w 7372190"/>
              <a:gd name="connsiteY7" fmla="*/ 739930 h 871182"/>
              <a:gd name="connsiteX8" fmla="*/ 0 w 7372190"/>
              <a:gd name="connsiteY8" fmla="*/ 97625 h 871182"/>
              <a:gd name="connsiteX9" fmla="*/ 97625 w 7372190"/>
              <a:gd name="connsiteY9" fmla="*/ 0 h 871182"/>
              <a:gd name="connsiteX0" fmla="*/ 97625 w 7372190"/>
              <a:gd name="connsiteY0" fmla="*/ 0 h 4578722"/>
              <a:gd name="connsiteX1" fmla="*/ 7274565 w 7372190"/>
              <a:gd name="connsiteY1" fmla="*/ 0 h 4578722"/>
              <a:gd name="connsiteX2" fmla="*/ 7372190 w 7372190"/>
              <a:gd name="connsiteY2" fmla="*/ 97625 h 4578722"/>
              <a:gd name="connsiteX3" fmla="*/ 7372190 w 7372190"/>
              <a:gd name="connsiteY3" fmla="*/ 739930 h 4578722"/>
              <a:gd name="connsiteX4" fmla="*/ 7240938 w 7372190"/>
              <a:gd name="connsiteY4" fmla="*/ 871182 h 4578722"/>
              <a:gd name="connsiteX5" fmla="*/ 2810971 w 7372190"/>
              <a:gd name="connsiteY5" fmla="*/ 4578722 h 4578722"/>
              <a:gd name="connsiteX6" fmla="*/ 131252 w 7372190"/>
              <a:gd name="connsiteY6" fmla="*/ 871182 h 4578722"/>
              <a:gd name="connsiteX7" fmla="*/ 0 w 7372190"/>
              <a:gd name="connsiteY7" fmla="*/ 739930 h 4578722"/>
              <a:gd name="connsiteX8" fmla="*/ 0 w 7372190"/>
              <a:gd name="connsiteY8" fmla="*/ 97625 h 4578722"/>
              <a:gd name="connsiteX9" fmla="*/ 97625 w 7372190"/>
              <a:gd name="connsiteY9" fmla="*/ 0 h 4578722"/>
              <a:gd name="connsiteX0" fmla="*/ 97625 w 7372190"/>
              <a:gd name="connsiteY0" fmla="*/ 0 h 4578722"/>
              <a:gd name="connsiteX1" fmla="*/ 7274565 w 7372190"/>
              <a:gd name="connsiteY1" fmla="*/ 0 h 4578722"/>
              <a:gd name="connsiteX2" fmla="*/ 7372190 w 7372190"/>
              <a:gd name="connsiteY2" fmla="*/ 97625 h 4578722"/>
              <a:gd name="connsiteX3" fmla="*/ 7372190 w 7372190"/>
              <a:gd name="connsiteY3" fmla="*/ 739930 h 4578722"/>
              <a:gd name="connsiteX4" fmla="*/ 7240938 w 7372190"/>
              <a:gd name="connsiteY4" fmla="*/ 871182 h 4578722"/>
              <a:gd name="connsiteX5" fmla="*/ 3735895 w 7372190"/>
              <a:gd name="connsiteY5" fmla="*/ 3808263 h 4578722"/>
              <a:gd name="connsiteX6" fmla="*/ 2810971 w 7372190"/>
              <a:gd name="connsiteY6" fmla="*/ 4578722 h 4578722"/>
              <a:gd name="connsiteX7" fmla="*/ 131252 w 7372190"/>
              <a:gd name="connsiteY7" fmla="*/ 871182 h 4578722"/>
              <a:gd name="connsiteX8" fmla="*/ 0 w 7372190"/>
              <a:gd name="connsiteY8" fmla="*/ 739930 h 4578722"/>
              <a:gd name="connsiteX9" fmla="*/ 0 w 7372190"/>
              <a:gd name="connsiteY9" fmla="*/ 97625 h 4578722"/>
              <a:gd name="connsiteX10" fmla="*/ 97625 w 7372190"/>
              <a:gd name="connsiteY10" fmla="*/ 0 h 4578722"/>
              <a:gd name="connsiteX0" fmla="*/ 97625 w 7372190"/>
              <a:gd name="connsiteY0" fmla="*/ 0 h 4695083"/>
              <a:gd name="connsiteX1" fmla="*/ 7274565 w 7372190"/>
              <a:gd name="connsiteY1" fmla="*/ 0 h 4695083"/>
              <a:gd name="connsiteX2" fmla="*/ 7372190 w 7372190"/>
              <a:gd name="connsiteY2" fmla="*/ 97625 h 4695083"/>
              <a:gd name="connsiteX3" fmla="*/ 7372190 w 7372190"/>
              <a:gd name="connsiteY3" fmla="*/ 739930 h 4695083"/>
              <a:gd name="connsiteX4" fmla="*/ 7240938 w 7372190"/>
              <a:gd name="connsiteY4" fmla="*/ 871182 h 4695083"/>
              <a:gd name="connsiteX5" fmla="*/ 4211091 w 7372190"/>
              <a:gd name="connsiteY5" fmla="*/ 4695083 h 4695083"/>
              <a:gd name="connsiteX6" fmla="*/ 2810971 w 7372190"/>
              <a:gd name="connsiteY6" fmla="*/ 4578722 h 4695083"/>
              <a:gd name="connsiteX7" fmla="*/ 131252 w 7372190"/>
              <a:gd name="connsiteY7" fmla="*/ 871182 h 4695083"/>
              <a:gd name="connsiteX8" fmla="*/ 0 w 7372190"/>
              <a:gd name="connsiteY8" fmla="*/ 739930 h 4695083"/>
              <a:gd name="connsiteX9" fmla="*/ 0 w 7372190"/>
              <a:gd name="connsiteY9" fmla="*/ 97625 h 4695083"/>
              <a:gd name="connsiteX10" fmla="*/ 97625 w 7372190"/>
              <a:gd name="connsiteY10" fmla="*/ 0 h 4695083"/>
              <a:gd name="connsiteX0" fmla="*/ 97625 w 7372190"/>
              <a:gd name="connsiteY0" fmla="*/ 0 h 4695083"/>
              <a:gd name="connsiteX1" fmla="*/ 7274565 w 7372190"/>
              <a:gd name="connsiteY1" fmla="*/ 0 h 4695083"/>
              <a:gd name="connsiteX2" fmla="*/ 7372190 w 7372190"/>
              <a:gd name="connsiteY2" fmla="*/ 97625 h 4695083"/>
              <a:gd name="connsiteX3" fmla="*/ 7240938 w 7372190"/>
              <a:gd name="connsiteY3" fmla="*/ 871182 h 4695083"/>
              <a:gd name="connsiteX4" fmla="*/ 4211091 w 7372190"/>
              <a:gd name="connsiteY4" fmla="*/ 4695083 h 4695083"/>
              <a:gd name="connsiteX5" fmla="*/ 2810971 w 7372190"/>
              <a:gd name="connsiteY5" fmla="*/ 4578722 h 4695083"/>
              <a:gd name="connsiteX6" fmla="*/ 131252 w 7372190"/>
              <a:gd name="connsiteY6" fmla="*/ 871182 h 4695083"/>
              <a:gd name="connsiteX7" fmla="*/ 0 w 7372190"/>
              <a:gd name="connsiteY7" fmla="*/ 739930 h 4695083"/>
              <a:gd name="connsiteX8" fmla="*/ 0 w 7372190"/>
              <a:gd name="connsiteY8" fmla="*/ 97625 h 4695083"/>
              <a:gd name="connsiteX9" fmla="*/ 97625 w 7372190"/>
              <a:gd name="connsiteY9" fmla="*/ 0 h 4695083"/>
              <a:gd name="connsiteX0" fmla="*/ 97625 w 7372190"/>
              <a:gd name="connsiteY0" fmla="*/ 0 h 4695083"/>
              <a:gd name="connsiteX1" fmla="*/ 7274565 w 7372190"/>
              <a:gd name="connsiteY1" fmla="*/ 0 h 4695083"/>
              <a:gd name="connsiteX2" fmla="*/ 7372190 w 7372190"/>
              <a:gd name="connsiteY2" fmla="*/ 97625 h 4695083"/>
              <a:gd name="connsiteX3" fmla="*/ 7240938 w 7372190"/>
              <a:gd name="connsiteY3" fmla="*/ 871182 h 4695083"/>
              <a:gd name="connsiteX4" fmla="*/ 4211091 w 7372190"/>
              <a:gd name="connsiteY4" fmla="*/ 4695083 h 4695083"/>
              <a:gd name="connsiteX5" fmla="*/ 2810971 w 7372190"/>
              <a:gd name="connsiteY5" fmla="*/ 4578722 h 4695083"/>
              <a:gd name="connsiteX6" fmla="*/ 235523 w 7372190"/>
              <a:gd name="connsiteY6" fmla="*/ 1071298 h 4695083"/>
              <a:gd name="connsiteX7" fmla="*/ 0 w 7372190"/>
              <a:gd name="connsiteY7" fmla="*/ 739930 h 4695083"/>
              <a:gd name="connsiteX8" fmla="*/ 0 w 7372190"/>
              <a:gd name="connsiteY8" fmla="*/ 97625 h 4695083"/>
              <a:gd name="connsiteX9" fmla="*/ 97625 w 7372190"/>
              <a:gd name="connsiteY9" fmla="*/ 0 h 4695083"/>
              <a:gd name="connsiteX0" fmla="*/ 97625 w 7372190"/>
              <a:gd name="connsiteY0" fmla="*/ 0 h 4695083"/>
              <a:gd name="connsiteX1" fmla="*/ 7274565 w 7372190"/>
              <a:gd name="connsiteY1" fmla="*/ 0 h 4695083"/>
              <a:gd name="connsiteX2" fmla="*/ 7372190 w 7372190"/>
              <a:gd name="connsiteY2" fmla="*/ 97625 h 4695083"/>
              <a:gd name="connsiteX3" fmla="*/ 7240938 w 7372190"/>
              <a:gd name="connsiteY3" fmla="*/ 871182 h 4695083"/>
              <a:gd name="connsiteX4" fmla="*/ 4211091 w 7372190"/>
              <a:gd name="connsiteY4" fmla="*/ 4695083 h 4695083"/>
              <a:gd name="connsiteX5" fmla="*/ 2810971 w 7372190"/>
              <a:gd name="connsiteY5" fmla="*/ 4578722 h 4695083"/>
              <a:gd name="connsiteX6" fmla="*/ 235523 w 7372190"/>
              <a:gd name="connsiteY6" fmla="*/ 1071298 h 4695083"/>
              <a:gd name="connsiteX7" fmla="*/ 0 w 7372190"/>
              <a:gd name="connsiteY7" fmla="*/ 739930 h 4695083"/>
              <a:gd name="connsiteX8" fmla="*/ 0 w 7372190"/>
              <a:gd name="connsiteY8" fmla="*/ 97625 h 4695083"/>
              <a:gd name="connsiteX9" fmla="*/ 97625 w 7372190"/>
              <a:gd name="connsiteY9" fmla="*/ 0 h 4695083"/>
              <a:gd name="connsiteX0" fmla="*/ 97625 w 7372190"/>
              <a:gd name="connsiteY0" fmla="*/ 0 h 4695083"/>
              <a:gd name="connsiteX1" fmla="*/ 7274565 w 7372190"/>
              <a:gd name="connsiteY1" fmla="*/ 0 h 4695083"/>
              <a:gd name="connsiteX2" fmla="*/ 7372190 w 7372190"/>
              <a:gd name="connsiteY2" fmla="*/ 97625 h 4695083"/>
              <a:gd name="connsiteX3" fmla="*/ 7240938 w 7372190"/>
              <a:gd name="connsiteY3" fmla="*/ 871182 h 4695083"/>
              <a:gd name="connsiteX4" fmla="*/ 4211091 w 7372190"/>
              <a:gd name="connsiteY4" fmla="*/ 4695083 h 4695083"/>
              <a:gd name="connsiteX5" fmla="*/ 2810971 w 7372190"/>
              <a:gd name="connsiteY5" fmla="*/ 4578722 h 4695083"/>
              <a:gd name="connsiteX6" fmla="*/ 449988 w 7372190"/>
              <a:gd name="connsiteY6" fmla="*/ 1381791 h 4695083"/>
              <a:gd name="connsiteX7" fmla="*/ 0 w 7372190"/>
              <a:gd name="connsiteY7" fmla="*/ 739930 h 4695083"/>
              <a:gd name="connsiteX8" fmla="*/ 0 w 7372190"/>
              <a:gd name="connsiteY8" fmla="*/ 97625 h 4695083"/>
              <a:gd name="connsiteX9" fmla="*/ 97625 w 7372190"/>
              <a:gd name="connsiteY9" fmla="*/ 0 h 4695083"/>
              <a:gd name="connsiteX0" fmla="*/ 97625 w 7372190"/>
              <a:gd name="connsiteY0" fmla="*/ 0 h 4695083"/>
              <a:gd name="connsiteX1" fmla="*/ 7274565 w 7372190"/>
              <a:gd name="connsiteY1" fmla="*/ 0 h 4695083"/>
              <a:gd name="connsiteX2" fmla="*/ 7372190 w 7372190"/>
              <a:gd name="connsiteY2" fmla="*/ 97625 h 4695083"/>
              <a:gd name="connsiteX3" fmla="*/ 7240938 w 7372190"/>
              <a:gd name="connsiteY3" fmla="*/ 871182 h 4695083"/>
              <a:gd name="connsiteX4" fmla="*/ 4211091 w 7372190"/>
              <a:gd name="connsiteY4" fmla="*/ 4695083 h 4695083"/>
              <a:gd name="connsiteX5" fmla="*/ 2810971 w 7372190"/>
              <a:gd name="connsiteY5" fmla="*/ 4578722 h 4695083"/>
              <a:gd name="connsiteX6" fmla="*/ 449988 w 7372190"/>
              <a:gd name="connsiteY6" fmla="*/ 1381791 h 4695083"/>
              <a:gd name="connsiteX7" fmla="*/ 0 w 7372190"/>
              <a:gd name="connsiteY7" fmla="*/ 739930 h 4695083"/>
              <a:gd name="connsiteX8" fmla="*/ 0 w 7372190"/>
              <a:gd name="connsiteY8" fmla="*/ 97625 h 4695083"/>
              <a:gd name="connsiteX9" fmla="*/ 97625 w 7372190"/>
              <a:gd name="connsiteY9" fmla="*/ 0 h 4695083"/>
              <a:gd name="connsiteX0" fmla="*/ 134237 w 7408802"/>
              <a:gd name="connsiteY0" fmla="*/ 0 h 4695083"/>
              <a:gd name="connsiteX1" fmla="*/ 7311177 w 7408802"/>
              <a:gd name="connsiteY1" fmla="*/ 0 h 4695083"/>
              <a:gd name="connsiteX2" fmla="*/ 7408802 w 7408802"/>
              <a:gd name="connsiteY2" fmla="*/ 97625 h 4695083"/>
              <a:gd name="connsiteX3" fmla="*/ 7277550 w 7408802"/>
              <a:gd name="connsiteY3" fmla="*/ 871182 h 4695083"/>
              <a:gd name="connsiteX4" fmla="*/ 4247703 w 7408802"/>
              <a:gd name="connsiteY4" fmla="*/ 4695083 h 4695083"/>
              <a:gd name="connsiteX5" fmla="*/ 2847583 w 7408802"/>
              <a:gd name="connsiteY5" fmla="*/ 4578722 h 4695083"/>
              <a:gd name="connsiteX6" fmla="*/ 486600 w 7408802"/>
              <a:gd name="connsiteY6" fmla="*/ 1381791 h 4695083"/>
              <a:gd name="connsiteX7" fmla="*/ 0 w 7408802"/>
              <a:gd name="connsiteY7" fmla="*/ 672985 h 4695083"/>
              <a:gd name="connsiteX8" fmla="*/ 36612 w 7408802"/>
              <a:gd name="connsiteY8" fmla="*/ 97625 h 4695083"/>
              <a:gd name="connsiteX9" fmla="*/ 134237 w 7408802"/>
              <a:gd name="connsiteY9" fmla="*/ 0 h 4695083"/>
              <a:gd name="connsiteX0" fmla="*/ 134237 w 7408802"/>
              <a:gd name="connsiteY0" fmla="*/ 0 h 4695083"/>
              <a:gd name="connsiteX1" fmla="*/ 7311177 w 7408802"/>
              <a:gd name="connsiteY1" fmla="*/ 0 h 4695083"/>
              <a:gd name="connsiteX2" fmla="*/ 7408802 w 7408802"/>
              <a:gd name="connsiteY2" fmla="*/ 97625 h 4695083"/>
              <a:gd name="connsiteX3" fmla="*/ 7277550 w 7408802"/>
              <a:gd name="connsiteY3" fmla="*/ 871182 h 4695083"/>
              <a:gd name="connsiteX4" fmla="*/ 4247703 w 7408802"/>
              <a:gd name="connsiteY4" fmla="*/ 4695083 h 4695083"/>
              <a:gd name="connsiteX5" fmla="*/ 2847583 w 7408802"/>
              <a:gd name="connsiteY5" fmla="*/ 4578722 h 4695083"/>
              <a:gd name="connsiteX6" fmla="*/ 486600 w 7408802"/>
              <a:gd name="connsiteY6" fmla="*/ 1381791 h 4695083"/>
              <a:gd name="connsiteX7" fmla="*/ 0 w 7408802"/>
              <a:gd name="connsiteY7" fmla="*/ 672985 h 4695083"/>
              <a:gd name="connsiteX8" fmla="*/ 17407 w 7408802"/>
              <a:gd name="connsiteY8" fmla="*/ 202617 h 4695083"/>
              <a:gd name="connsiteX9" fmla="*/ 134237 w 7408802"/>
              <a:gd name="connsiteY9" fmla="*/ 0 h 4695083"/>
              <a:gd name="connsiteX0" fmla="*/ 190592 w 7408802"/>
              <a:gd name="connsiteY0" fmla="*/ 1617 h 4695083"/>
              <a:gd name="connsiteX1" fmla="*/ 7311177 w 7408802"/>
              <a:gd name="connsiteY1" fmla="*/ 0 h 4695083"/>
              <a:gd name="connsiteX2" fmla="*/ 7408802 w 7408802"/>
              <a:gd name="connsiteY2" fmla="*/ 97625 h 4695083"/>
              <a:gd name="connsiteX3" fmla="*/ 7277550 w 7408802"/>
              <a:gd name="connsiteY3" fmla="*/ 871182 h 4695083"/>
              <a:gd name="connsiteX4" fmla="*/ 4247703 w 7408802"/>
              <a:gd name="connsiteY4" fmla="*/ 4695083 h 4695083"/>
              <a:gd name="connsiteX5" fmla="*/ 2847583 w 7408802"/>
              <a:gd name="connsiteY5" fmla="*/ 4578722 h 4695083"/>
              <a:gd name="connsiteX6" fmla="*/ 486600 w 7408802"/>
              <a:gd name="connsiteY6" fmla="*/ 1381791 h 4695083"/>
              <a:gd name="connsiteX7" fmla="*/ 0 w 7408802"/>
              <a:gd name="connsiteY7" fmla="*/ 672985 h 4695083"/>
              <a:gd name="connsiteX8" fmla="*/ 17407 w 7408802"/>
              <a:gd name="connsiteY8" fmla="*/ 202617 h 4695083"/>
              <a:gd name="connsiteX9" fmla="*/ 190592 w 7408802"/>
              <a:gd name="connsiteY9" fmla="*/ 1617 h 4695083"/>
              <a:gd name="connsiteX0" fmla="*/ 190592 w 7408802"/>
              <a:gd name="connsiteY0" fmla="*/ 1617 h 4695083"/>
              <a:gd name="connsiteX1" fmla="*/ 7311177 w 7408802"/>
              <a:gd name="connsiteY1" fmla="*/ 0 h 4695083"/>
              <a:gd name="connsiteX2" fmla="*/ 7408802 w 7408802"/>
              <a:gd name="connsiteY2" fmla="*/ 97625 h 4695083"/>
              <a:gd name="connsiteX3" fmla="*/ 7277550 w 7408802"/>
              <a:gd name="connsiteY3" fmla="*/ 871182 h 4695083"/>
              <a:gd name="connsiteX4" fmla="*/ 4247703 w 7408802"/>
              <a:gd name="connsiteY4" fmla="*/ 4695083 h 4695083"/>
              <a:gd name="connsiteX5" fmla="*/ 2847583 w 7408802"/>
              <a:gd name="connsiteY5" fmla="*/ 4578722 h 4695083"/>
              <a:gd name="connsiteX6" fmla="*/ 486600 w 7408802"/>
              <a:gd name="connsiteY6" fmla="*/ 1381791 h 4695083"/>
              <a:gd name="connsiteX7" fmla="*/ 0 w 7408802"/>
              <a:gd name="connsiteY7" fmla="*/ 672985 h 4695083"/>
              <a:gd name="connsiteX8" fmla="*/ 25305 w 7408802"/>
              <a:gd name="connsiteY8" fmla="*/ 141417 h 4695083"/>
              <a:gd name="connsiteX9" fmla="*/ 190592 w 7408802"/>
              <a:gd name="connsiteY9" fmla="*/ 1617 h 4695083"/>
              <a:gd name="connsiteX0" fmla="*/ 190993 w 7409203"/>
              <a:gd name="connsiteY0" fmla="*/ 1617 h 4695083"/>
              <a:gd name="connsiteX1" fmla="*/ 7311578 w 7409203"/>
              <a:gd name="connsiteY1" fmla="*/ 0 h 4695083"/>
              <a:gd name="connsiteX2" fmla="*/ 7409203 w 7409203"/>
              <a:gd name="connsiteY2" fmla="*/ 97625 h 4695083"/>
              <a:gd name="connsiteX3" fmla="*/ 7277951 w 7409203"/>
              <a:gd name="connsiteY3" fmla="*/ 871182 h 4695083"/>
              <a:gd name="connsiteX4" fmla="*/ 4248104 w 7409203"/>
              <a:gd name="connsiteY4" fmla="*/ 4695083 h 4695083"/>
              <a:gd name="connsiteX5" fmla="*/ 2847984 w 7409203"/>
              <a:gd name="connsiteY5" fmla="*/ 4578722 h 4695083"/>
              <a:gd name="connsiteX6" fmla="*/ 487001 w 7409203"/>
              <a:gd name="connsiteY6" fmla="*/ 1381791 h 4695083"/>
              <a:gd name="connsiteX7" fmla="*/ 401 w 7409203"/>
              <a:gd name="connsiteY7" fmla="*/ 672985 h 4695083"/>
              <a:gd name="connsiteX8" fmla="*/ 25706 w 7409203"/>
              <a:gd name="connsiteY8" fmla="*/ 141417 h 4695083"/>
              <a:gd name="connsiteX9" fmla="*/ 190993 w 7409203"/>
              <a:gd name="connsiteY9" fmla="*/ 1617 h 4695083"/>
              <a:gd name="connsiteX0" fmla="*/ 190993 w 7409203"/>
              <a:gd name="connsiteY0" fmla="*/ 1617 h 4695083"/>
              <a:gd name="connsiteX1" fmla="*/ 7311578 w 7409203"/>
              <a:gd name="connsiteY1" fmla="*/ 0 h 4695083"/>
              <a:gd name="connsiteX2" fmla="*/ 7409203 w 7409203"/>
              <a:gd name="connsiteY2" fmla="*/ 97625 h 4695083"/>
              <a:gd name="connsiteX3" fmla="*/ 7277951 w 7409203"/>
              <a:gd name="connsiteY3" fmla="*/ 871182 h 4695083"/>
              <a:gd name="connsiteX4" fmla="*/ 4248104 w 7409203"/>
              <a:gd name="connsiteY4" fmla="*/ 4695083 h 4695083"/>
              <a:gd name="connsiteX5" fmla="*/ 2847984 w 7409203"/>
              <a:gd name="connsiteY5" fmla="*/ 4578722 h 4695083"/>
              <a:gd name="connsiteX6" fmla="*/ 487001 w 7409203"/>
              <a:gd name="connsiteY6" fmla="*/ 1381791 h 4695083"/>
              <a:gd name="connsiteX7" fmla="*/ 401 w 7409203"/>
              <a:gd name="connsiteY7" fmla="*/ 672985 h 4695083"/>
              <a:gd name="connsiteX8" fmla="*/ 25706 w 7409203"/>
              <a:gd name="connsiteY8" fmla="*/ 141417 h 4695083"/>
              <a:gd name="connsiteX9" fmla="*/ 190993 w 7409203"/>
              <a:gd name="connsiteY9" fmla="*/ 1617 h 4695083"/>
              <a:gd name="connsiteX0" fmla="*/ 190993 w 7409203"/>
              <a:gd name="connsiteY0" fmla="*/ 1617 h 4695083"/>
              <a:gd name="connsiteX1" fmla="*/ 7311578 w 7409203"/>
              <a:gd name="connsiteY1" fmla="*/ 0 h 4695083"/>
              <a:gd name="connsiteX2" fmla="*/ 7409203 w 7409203"/>
              <a:gd name="connsiteY2" fmla="*/ 97625 h 4695083"/>
              <a:gd name="connsiteX3" fmla="*/ 7277951 w 7409203"/>
              <a:gd name="connsiteY3" fmla="*/ 871182 h 4695083"/>
              <a:gd name="connsiteX4" fmla="*/ 4248104 w 7409203"/>
              <a:gd name="connsiteY4" fmla="*/ 4695083 h 4695083"/>
              <a:gd name="connsiteX5" fmla="*/ 2847984 w 7409203"/>
              <a:gd name="connsiteY5" fmla="*/ 4578722 h 4695083"/>
              <a:gd name="connsiteX6" fmla="*/ 487001 w 7409203"/>
              <a:gd name="connsiteY6" fmla="*/ 1381791 h 4695083"/>
              <a:gd name="connsiteX7" fmla="*/ 401 w 7409203"/>
              <a:gd name="connsiteY7" fmla="*/ 672985 h 4695083"/>
              <a:gd name="connsiteX8" fmla="*/ 25706 w 7409203"/>
              <a:gd name="connsiteY8" fmla="*/ 141417 h 4695083"/>
              <a:gd name="connsiteX9" fmla="*/ 190993 w 7409203"/>
              <a:gd name="connsiteY9" fmla="*/ 1617 h 4695083"/>
              <a:gd name="connsiteX0" fmla="*/ 190965 w 7409175"/>
              <a:gd name="connsiteY0" fmla="*/ 1617 h 4695083"/>
              <a:gd name="connsiteX1" fmla="*/ 7311550 w 7409175"/>
              <a:gd name="connsiteY1" fmla="*/ 0 h 4695083"/>
              <a:gd name="connsiteX2" fmla="*/ 7409175 w 7409175"/>
              <a:gd name="connsiteY2" fmla="*/ 97625 h 4695083"/>
              <a:gd name="connsiteX3" fmla="*/ 7277923 w 7409175"/>
              <a:gd name="connsiteY3" fmla="*/ 871182 h 4695083"/>
              <a:gd name="connsiteX4" fmla="*/ 4248076 w 7409175"/>
              <a:gd name="connsiteY4" fmla="*/ 4695083 h 4695083"/>
              <a:gd name="connsiteX5" fmla="*/ 2847956 w 7409175"/>
              <a:gd name="connsiteY5" fmla="*/ 4578722 h 4695083"/>
              <a:gd name="connsiteX6" fmla="*/ 486973 w 7409175"/>
              <a:gd name="connsiteY6" fmla="*/ 1381791 h 4695083"/>
              <a:gd name="connsiteX7" fmla="*/ 373 w 7409175"/>
              <a:gd name="connsiteY7" fmla="*/ 672985 h 4695083"/>
              <a:gd name="connsiteX8" fmla="*/ 25678 w 7409175"/>
              <a:gd name="connsiteY8" fmla="*/ 141417 h 4695083"/>
              <a:gd name="connsiteX9" fmla="*/ 190965 w 7409175"/>
              <a:gd name="connsiteY9" fmla="*/ 1617 h 4695083"/>
              <a:gd name="connsiteX0" fmla="*/ 190921 w 7409131"/>
              <a:gd name="connsiteY0" fmla="*/ 1617 h 4695083"/>
              <a:gd name="connsiteX1" fmla="*/ 7311506 w 7409131"/>
              <a:gd name="connsiteY1" fmla="*/ 0 h 4695083"/>
              <a:gd name="connsiteX2" fmla="*/ 7409131 w 7409131"/>
              <a:gd name="connsiteY2" fmla="*/ 97625 h 4695083"/>
              <a:gd name="connsiteX3" fmla="*/ 7277879 w 7409131"/>
              <a:gd name="connsiteY3" fmla="*/ 871182 h 4695083"/>
              <a:gd name="connsiteX4" fmla="*/ 4248032 w 7409131"/>
              <a:gd name="connsiteY4" fmla="*/ 4695083 h 4695083"/>
              <a:gd name="connsiteX5" fmla="*/ 2847912 w 7409131"/>
              <a:gd name="connsiteY5" fmla="*/ 4578722 h 4695083"/>
              <a:gd name="connsiteX6" fmla="*/ 537360 w 7409131"/>
              <a:gd name="connsiteY6" fmla="*/ 1473144 h 4695083"/>
              <a:gd name="connsiteX7" fmla="*/ 329 w 7409131"/>
              <a:gd name="connsiteY7" fmla="*/ 672985 h 4695083"/>
              <a:gd name="connsiteX8" fmla="*/ 25634 w 7409131"/>
              <a:gd name="connsiteY8" fmla="*/ 141417 h 4695083"/>
              <a:gd name="connsiteX9" fmla="*/ 190921 w 7409131"/>
              <a:gd name="connsiteY9" fmla="*/ 1617 h 4695083"/>
              <a:gd name="connsiteX0" fmla="*/ 190902 w 7409112"/>
              <a:gd name="connsiteY0" fmla="*/ 1617 h 4695083"/>
              <a:gd name="connsiteX1" fmla="*/ 7311487 w 7409112"/>
              <a:gd name="connsiteY1" fmla="*/ 0 h 4695083"/>
              <a:gd name="connsiteX2" fmla="*/ 7409112 w 7409112"/>
              <a:gd name="connsiteY2" fmla="*/ 97625 h 4695083"/>
              <a:gd name="connsiteX3" fmla="*/ 7277860 w 7409112"/>
              <a:gd name="connsiteY3" fmla="*/ 871182 h 4695083"/>
              <a:gd name="connsiteX4" fmla="*/ 4248013 w 7409112"/>
              <a:gd name="connsiteY4" fmla="*/ 4695083 h 4695083"/>
              <a:gd name="connsiteX5" fmla="*/ 2847893 w 7409112"/>
              <a:gd name="connsiteY5" fmla="*/ 4578722 h 4695083"/>
              <a:gd name="connsiteX6" fmla="*/ 562317 w 7409112"/>
              <a:gd name="connsiteY6" fmla="*/ 1530284 h 4695083"/>
              <a:gd name="connsiteX7" fmla="*/ 310 w 7409112"/>
              <a:gd name="connsiteY7" fmla="*/ 672985 h 4695083"/>
              <a:gd name="connsiteX8" fmla="*/ 25615 w 7409112"/>
              <a:gd name="connsiteY8" fmla="*/ 141417 h 4695083"/>
              <a:gd name="connsiteX9" fmla="*/ 190902 w 7409112"/>
              <a:gd name="connsiteY9" fmla="*/ 1617 h 4695083"/>
              <a:gd name="connsiteX0" fmla="*/ 190902 w 7409112"/>
              <a:gd name="connsiteY0" fmla="*/ 1617 h 4695083"/>
              <a:gd name="connsiteX1" fmla="*/ 7311487 w 7409112"/>
              <a:gd name="connsiteY1" fmla="*/ 0 h 4695083"/>
              <a:gd name="connsiteX2" fmla="*/ 7409112 w 7409112"/>
              <a:gd name="connsiteY2" fmla="*/ 97625 h 4695083"/>
              <a:gd name="connsiteX3" fmla="*/ 7277860 w 7409112"/>
              <a:gd name="connsiteY3" fmla="*/ 871182 h 4695083"/>
              <a:gd name="connsiteX4" fmla="*/ 4248013 w 7409112"/>
              <a:gd name="connsiteY4" fmla="*/ 4695083 h 4695083"/>
              <a:gd name="connsiteX5" fmla="*/ 2824798 w 7409112"/>
              <a:gd name="connsiteY5" fmla="*/ 4548782 h 4695083"/>
              <a:gd name="connsiteX6" fmla="*/ 562317 w 7409112"/>
              <a:gd name="connsiteY6" fmla="*/ 1530284 h 4695083"/>
              <a:gd name="connsiteX7" fmla="*/ 310 w 7409112"/>
              <a:gd name="connsiteY7" fmla="*/ 672985 h 4695083"/>
              <a:gd name="connsiteX8" fmla="*/ 25615 w 7409112"/>
              <a:gd name="connsiteY8" fmla="*/ 141417 h 4695083"/>
              <a:gd name="connsiteX9" fmla="*/ 190902 w 7409112"/>
              <a:gd name="connsiteY9" fmla="*/ 1617 h 4695083"/>
              <a:gd name="connsiteX0" fmla="*/ 190902 w 7409112"/>
              <a:gd name="connsiteY0" fmla="*/ 1617 h 4720231"/>
              <a:gd name="connsiteX1" fmla="*/ 7311487 w 7409112"/>
              <a:gd name="connsiteY1" fmla="*/ 0 h 4720231"/>
              <a:gd name="connsiteX2" fmla="*/ 7409112 w 7409112"/>
              <a:gd name="connsiteY2" fmla="*/ 97625 h 4720231"/>
              <a:gd name="connsiteX3" fmla="*/ 7277860 w 7409112"/>
              <a:gd name="connsiteY3" fmla="*/ 871182 h 4720231"/>
              <a:gd name="connsiteX4" fmla="*/ 4233984 w 7409112"/>
              <a:gd name="connsiteY4" fmla="*/ 4720231 h 4720231"/>
              <a:gd name="connsiteX5" fmla="*/ 2824798 w 7409112"/>
              <a:gd name="connsiteY5" fmla="*/ 4548782 h 4720231"/>
              <a:gd name="connsiteX6" fmla="*/ 562317 w 7409112"/>
              <a:gd name="connsiteY6" fmla="*/ 1530284 h 4720231"/>
              <a:gd name="connsiteX7" fmla="*/ 310 w 7409112"/>
              <a:gd name="connsiteY7" fmla="*/ 672985 h 4720231"/>
              <a:gd name="connsiteX8" fmla="*/ 25615 w 7409112"/>
              <a:gd name="connsiteY8" fmla="*/ 141417 h 4720231"/>
              <a:gd name="connsiteX9" fmla="*/ 190902 w 7409112"/>
              <a:gd name="connsiteY9" fmla="*/ 1617 h 4720231"/>
              <a:gd name="connsiteX0" fmla="*/ 190902 w 7409112"/>
              <a:gd name="connsiteY0" fmla="*/ 1617 h 4720231"/>
              <a:gd name="connsiteX1" fmla="*/ 7311487 w 7409112"/>
              <a:gd name="connsiteY1" fmla="*/ 0 h 4720231"/>
              <a:gd name="connsiteX2" fmla="*/ 7409112 w 7409112"/>
              <a:gd name="connsiteY2" fmla="*/ 97625 h 4720231"/>
              <a:gd name="connsiteX3" fmla="*/ 7232523 w 7409112"/>
              <a:gd name="connsiteY3" fmla="*/ 930033 h 4720231"/>
              <a:gd name="connsiteX4" fmla="*/ 4233984 w 7409112"/>
              <a:gd name="connsiteY4" fmla="*/ 4720231 h 4720231"/>
              <a:gd name="connsiteX5" fmla="*/ 2824798 w 7409112"/>
              <a:gd name="connsiteY5" fmla="*/ 4548782 h 4720231"/>
              <a:gd name="connsiteX6" fmla="*/ 562317 w 7409112"/>
              <a:gd name="connsiteY6" fmla="*/ 1530284 h 4720231"/>
              <a:gd name="connsiteX7" fmla="*/ 310 w 7409112"/>
              <a:gd name="connsiteY7" fmla="*/ 672985 h 4720231"/>
              <a:gd name="connsiteX8" fmla="*/ 25615 w 7409112"/>
              <a:gd name="connsiteY8" fmla="*/ 141417 h 4720231"/>
              <a:gd name="connsiteX9" fmla="*/ 190902 w 7409112"/>
              <a:gd name="connsiteY9" fmla="*/ 1617 h 4720231"/>
              <a:gd name="connsiteX0" fmla="*/ 190902 w 7409112"/>
              <a:gd name="connsiteY0" fmla="*/ 7949 h 4726563"/>
              <a:gd name="connsiteX1" fmla="*/ 7220645 w 7409112"/>
              <a:gd name="connsiteY1" fmla="*/ 0 h 4726563"/>
              <a:gd name="connsiteX2" fmla="*/ 7409112 w 7409112"/>
              <a:gd name="connsiteY2" fmla="*/ 103957 h 4726563"/>
              <a:gd name="connsiteX3" fmla="*/ 7232523 w 7409112"/>
              <a:gd name="connsiteY3" fmla="*/ 936365 h 4726563"/>
              <a:gd name="connsiteX4" fmla="*/ 4233984 w 7409112"/>
              <a:gd name="connsiteY4" fmla="*/ 4726563 h 4726563"/>
              <a:gd name="connsiteX5" fmla="*/ 2824798 w 7409112"/>
              <a:gd name="connsiteY5" fmla="*/ 4555114 h 4726563"/>
              <a:gd name="connsiteX6" fmla="*/ 562317 w 7409112"/>
              <a:gd name="connsiteY6" fmla="*/ 1536616 h 4726563"/>
              <a:gd name="connsiteX7" fmla="*/ 310 w 7409112"/>
              <a:gd name="connsiteY7" fmla="*/ 679317 h 4726563"/>
              <a:gd name="connsiteX8" fmla="*/ 25615 w 7409112"/>
              <a:gd name="connsiteY8" fmla="*/ 147749 h 4726563"/>
              <a:gd name="connsiteX9" fmla="*/ 190902 w 7409112"/>
              <a:gd name="connsiteY9" fmla="*/ 7949 h 4726563"/>
              <a:gd name="connsiteX0" fmla="*/ 190902 w 7409112"/>
              <a:gd name="connsiteY0" fmla="*/ 7990 h 4726604"/>
              <a:gd name="connsiteX1" fmla="*/ 7220645 w 7409112"/>
              <a:gd name="connsiteY1" fmla="*/ 41 h 4726604"/>
              <a:gd name="connsiteX2" fmla="*/ 7409112 w 7409112"/>
              <a:gd name="connsiteY2" fmla="*/ 103998 h 4726604"/>
              <a:gd name="connsiteX3" fmla="*/ 7232523 w 7409112"/>
              <a:gd name="connsiteY3" fmla="*/ 936406 h 4726604"/>
              <a:gd name="connsiteX4" fmla="*/ 4233984 w 7409112"/>
              <a:gd name="connsiteY4" fmla="*/ 4726604 h 4726604"/>
              <a:gd name="connsiteX5" fmla="*/ 2824798 w 7409112"/>
              <a:gd name="connsiteY5" fmla="*/ 4555155 h 4726604"/>
              <a:gd name="connsiteX6" fmla="*/ 562317 w 7409112"/>
              <a:gd name="connsiteY6" fmla="*/ 1536657 h 4726604"/>
              <a:gd name="connsiteX7" fmla="*/ 310 w 7409112"/>
              <a:gd name="connsiteY7" fmla="*/ 679358 h 4726604"/>
              <a:gd name="connsiteX8" fmla="*/ 25615 w 7409112"/>
              <a:gd name="connsiteY8" fmla="*/ 147790 h 4726604"/>
              <a:gd name="connsiteX9" fmla="*/ 190902 w 7409112"/>
              <a:gd name="connsiteY9" fmla="*/ 7990 h 4726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09112" h="4726604">
                <a:moveTo>
                  <a:pt x="190902" y="7990"/>
                </a:moveTo>
                <a:lnTo>
                  <a:pt x="7220645" y="41"/>
                </a:lnTo>
                <a:cubicBezTo>
                  <a:pt x="7344876" y="-1669"/>
                  <a:pt x="7409112" y="50081"/>
                  <a:pt x="7409112" y="103998"/>
                </a:cubicBezTo>
                <a:lnTo>
                  <a:pt x="7232523" y="936406"/>
                </a:lnTo>
                <a:lnTo>
                  <a:pt x="4233984" y="4726604"/>
                </a:lnTo>
                <a:lnTo>
                  <a:pt x="2824798" y="4555155"/>
                </a:lnTo>
                <a:lnTo>
                  <a:pt x="562317" y="1536657"/>
                </a:lnTo>
                <a:cubicBezTo>
                  <a:pt x="427195" y="1364538"/>
                  <a:pt x="-13332" y="857556"/>
                  <a:pt x="310" y="679358"/>
                </a:cubicBezTo>
                <a:cubicBezTo>
                  <a:pt x="1388" y="427687"/>
                  <a:pt x="17180" y="324979"/>
                  <a:pt x="25615" y="147790"/>
                </a:cubicBezTo>
                <a:cubicBezTo>
                  <a:pt x="25615" y="93873"/>
                  <a:pt x="103603" y="3682"/>
                  <a:pt x="190902" y="7990"/>
                </a:cubicBezTo>
                <a:close/>
              </a:path>
            </a:pathLst>
          </a:custGeom>
          <a:blipFill>
            <a:blip r:embed="rId4" cstate="print">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C01B2B9E-CD6F-8B48-AC3E-666452F4AAD2}"/>
              </a:ext>
            </a:extLst>
          </p:cNvPr>
          <p:cNvSpPr txBox="1"/>
          <p:nvPr/>
        </p:nvSpPr>
        <p:spPr>
          <a:xfrm>
            <a:off x="-1170000" y="2440557"/>
            <a:ext cx="1052488" cy="1785104"/>
          </a:xfrm>
          <a:prstGeom prst="rect">
            <a:avLst/>
          </a:prstGeom>
          <a:solidFill>
            <a:schemeClr val="bg1"/>
          </a:solidFill>
        </p:spPr>
        <p:txBody>
          <a:bodyPr wrap="square" rtlCol="0">
            <a:spAutoFit/>
          </a:bodyPr>
          <a:lstStyle/>
          <a:p>
            <a:pPr algn="l"/>
            <a:r>
              <a:rPr lang="en-US" sz="1000">
                <a:solidFill>
                  <a:srgbClr val="333D47"/>
                </a:solidFill>
                <a:latin typeface="Arial" panose="020B0604020202020204" pitchFamily="34" charset="0"/>
                <a:cs typeface="Arial" panose="020B0604020202020204" pitchFamily="34" charset="0"/>
              </a:rPr>
              <a:t>The image can be replaced here and master view</a:t>
            </a:r>
          </a:p>
          <a:p>
            <a:pPr algn="l"/>
            <a:endParaRPr lang="en-US" sz="1000">
              <a:solidFill>
                <a:srgbClr val="333D47"/>
              </a:solidFill>
              <a:latin typeface="Arial" panose="020B0604020202020204" pitchFamily="34" charset="0"/>
              <a:cs typeface="Arial" panose="020B0604020202020204" pitchFamily="34" charset="0"/>
            </a:endParaRPr>
          </a:p>
          <a:p>
            <a:pPr algn="l"/>
            <a:r>
              <a:rPr lang="en-GB" sz="1000">
                <a:latin typeface="Helvetica Neue" panose="02000503000000020004" pitchFamily="2" charset="0"/>
              </a:rPr>
              <a:t>Please </a:t>
            </a:r>
            <a:r>
              <a:rPr lang="en-GB" sz="1000" b="1">
                <a:latin typeface="Helvetica Neue" panose="02000503000000020004" pitchFamily="2" charset="0"/>
              </a:rPr>
              <a:t>do not </a:t>
            </a:r>
            <a:r>
              <a:rPr lang="en-GB" sz="1000">
                <a:latin typeface="Helvetica Neue" panose="02000503000000020004" pitchFamily="2" charset="0"/>
              </a:rPr>
              <a:t>use any internal photo competition participants’ images</a:t>
            </a:r>
            <a:endParaRPr lang="en-US" sz="1000">
              <a:solidFill>
                <a:srgbClr val="333D47"/>
              </a:solidFill>
            </a:endParaRPr>
          </a:p>
        </p:txBody>
      </p:sp>
      <p:pic>
        <p:nvPicPr>
          <p:cNvPr id="14" name="Graphic 13">
            <a:extLst>
              <a:ext uri="{FF2B5EF4-FFF2-40B4-BE49-F238E27FC236}">
                <a16:creationId xmlns:a16="http://schemas.microsoft.com/office/drawing/2014/main" id="{B5FFF001-9F6B-3C49-A1EA-2D113006593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60000" y="5792400"/>
            <a:ext cx="635000" cy="660400"/>
          </a:xfrm>
          <a:prstGeom prst="rect">
            <a:avLst/>
          </a:prstGeom>
        </p:spPr>
      </p:pic>
    </p:spTree>
    <p:extLst>
      <p:ext uri="{BB962C8B-B14F-4D97-AF65-F5344CB8AC3E}">
        <p14:creationId xmlns:p14="http://schemas.microsoft.com/office/powerpoint/2010/main" val="44048186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9892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874012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588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808688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886644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607757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93067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314"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641049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786902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3084317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815231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IA_image white_v3">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210013C-F476-EB40-A314-6D2E576F8AE3}"/>
              </a:ext>
            </a:extLst>
          </p:cNvPr>
          <p:cNvGrpSpPr/>
          <p:nvPr/>
        </p:nvGrpSpPr>
        <p:grpSpPr>
          <a:xfrm>
            <a:off x="5106938" y="-11628"/>
            <a:ext cx="7088670" cy="6870279"/>
            <a:chOff x="5106938" y="-11628"/>
            <a:chExt cx="7088670" cy="6870279"/>
          </a:xfrm>
        </p:grpSpPr>
        <p:sp>
          <p:nvSpPr>
            <p:cNvPr id="12" name="Manual Input 7">
              <a:extLst>
                <a:ext uri="{FF2B5EF4-FFF2-40B4-BE49-F238E27FC236}">
                  <a16:creationId xmlns:a16="http://schemas.microsoft.com/office/drawing/2014/main" id="{B0F7D974-CB36-A341-8950-D148B9B8F6D1}"/>
                </a:ext>
              </a:extLst>
            </p:cNvPr>
            <p:cNvSpPr/>
            <p:nvPr userDrawn="1"/>
          </p:nvSpPr>
          <p:spPr>
            <a:xfrm>
              <a:off x="5129811" y="-1"/>
              <a:ext cx="7065797" cy="685801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4419 h 12419"/>
                <a:gd name="connsiteX1" fmla="*/ 4692 w 10000"/>
                <a:gd name="connsiteY1" fmla="*/ 0 h 12419"/>
                <a:gd name="connsiteX2" fmla="*/ 10000 w 10000"/>
                <a:gd name="connsiteY2" fmla="*/ 12419 h 12419"/>
                <a:gd name="connsiteX3" fmla="*/ 0 w 10000"/>
                <a:gd name="connsiteY3" fmla="*/ 12419 h 12419"/>
                <a:gd name="connsiteX4" fmla="*/ 0 w 10000"/>
                <a:gd name="connsiteY4" fmla="*/ 4419 h 12419"/>
                <a:gd name="connsiteX0" fmla="*/ 0 w 12463"/>
                <a:gd name="connsiteY0" fmla="*/ 4419 h 12419"/>
                <a:gd name="connsiteX1" fmla="*/ 4692 w 12463"/>
                <a:gd name="connsiteY1" fmla="*/ 0 h 12419"/>
                <a:gd name="connsiteX2" fmla="*/ 12463 w 12463"/>
                <a:gd name="connsiteY2" fmla="*/ 109 h 12419"/>
                <a:gd name="connsiteX3" fmla="*/ 0 w 12463"/>
                <a:gd name="connsiteY3" fmla="*/ 12419 h 12419"/>
                <a:gd name="connsiteX4" fmla="*/ 0 w 12463"/>
                <a:gd name="connsiteY4" fmla="*/ 4419 h 12419"/>
                <a:gd name="connsiteX0" fmla="*/ 0 w 12463"/>
                <a:gd name="connsiteY0" fmla="*/ 4419 h 12419"/>
                <a:gd name="connsiteX1" fmla="*/ 4692 w 12463"/>
                <a:gd name="connsiteY1" fmla="*/ 0 h 12419"/>
                <a:gd name="connsiteX2" fmla="*/ 12463 w 12463"/>
                <a:gd name="connsiteY2" fmla="*/ 109 h 12419"/>
                <a:gd name="connsiteX3" fmla="*/ 11261 w 12463"/>
                <a:gd name="connsiteY3" fmla="*/ 1300 h 12419"/>
                <a:gd name="connsiteX4" fmla="*/ 0 w 12463"/>
                <a:gd name="connsiteY4" fmla="*/ 12419 h 12419"/>
                <a:gd name="connsiteX5" fmla="*/ 0 w 12463"/>
                <a:gd name="connsiteY5" fmla="*/ 4419 h 12419"/>
                <a:gd name="connsiteX0" fmla="*/ 0 w 12463"/>
                <a:gd name="connsiteY0" fmla="*/ 4419 h 12419"/>
                <a:gd name="connsiteX1" fmla="*/ 4692 w 12463"/>
                <a:gd name="connsiteY1" fmla="*/ 0 h 12419"/>
                <a:gd name="connsiteX2" fmla="*/ 12463 w 12463"/>
                <a:gd name="connsiteY2" fmla="*/ 109 h 12419"/>
                <a:gd name="connsiteX3" fmla="*/ 12405 w 12463"/>
                <a:gd name="connsiteY3" fmla="*/ 1083 h 12419"/>
                <a:gd name="connsiteX4" fmla="*/ 0 w 12463"/>
                <a:gd name="connsiteY4" fmla="*/ 12419 h 12419"/>
                <a:gd name="connsiteX5" fmla="*/ 0 w 12463"/>
                <a:gd name="connsiteY5" fmla="*/ 4419 h 12419"/>
                <a:gd name="connsiteX0" fmla="*/ 0 w 17771"/>
                <a:gd name="connsiteY0" fmla="*/ 7849 h 12419"/>
                <a:gd name="connsiteX1" fmla="*/ 10000 w 17771"/>
                <a:gd name="connsiteY1" fmla="*/ 0 h 12419"/>
                <a:gd name="connsiteX2" fmla="*/ 17771 w 17771"/>
                <a:gd name="connsiteY2" fmla="*/ 109 h 12419"/>
                <a:gd name="connsiteX3" fmla="*/ 17713 w 17771"/>
                <a:gd name="connsiteY3" fmla="*/ 1083 h 12419"/>
                <a:gd name="connsiteX4" fmla="*/ 5308 w 17771"/>
                <a:gd name="connsiteY4" fmla="*/ 12419 h 12419"/>
                <a:gd name="connsiteX5" fmla="*/ 0 w 17771"/>
                <a:gd name="connsiteY5" fmla="*/ 7849 h 12419"/>
                <a:gd name="connsiteX0" fmla="*/ 0 w 17771"/>
                <a:gd name="connsiteY0" fmla="*/ 7849 h 21444"/>
                <a:gd name="connsiteX1" fmla="*/ 10000 w 17771"/>
                <a:gd name="connsiteY1" fmla="*/ 0 h 21444"/>
                <a:gd name="connsiteX2" fmla="*/ 17771 w 17771"/>
                <a:gd name="connsiteY2" fmla="*/ 109 h 21444"/>
                <a:gd name="connsiteX3" fmla="*/ 17713 w 17771"/>
                <a:gd name="connsiteY3" fmla="*/ 1083 h 21444"/>
                <a:gd name="connsiteX4" fmla="*/ 10645 w 17771"/>
                <a:gd name="connsiteY4" fmla="*/ 21444 h 21444"/>
                <a:gd name="connsiteX5" fmla="*/ 0 w 17771"/>
                <a:gd name="connsiteY5" fmla="*/ 7849 h 21444"/>
                <a:gd name="connsiteX0" fmla="*/ 0 w 17771"/>
                <a:gd name="connsiteY0" fmla="*/ 7849 h 21444"/>
                <a:gd name="connsiteX1" fmla="*/ 10000 w 17771"/>
                <a:gd name="connsiteY1" fmla="*/ 0 h 21444"/>
                <a:gd name="connsiteX2" fmla="*/ 17771 w 17771"/>
                <a:gd name="connsiteY2" fmla="*/ 109 h 21444"/>
                <a:gd name="connsiteX3" fmla="*/ 17713 w 17771"/>
                <a:gd name="connsiteY3" fmla="*/ 1083 h 21444"/>
                <a:gd name="connsiteX4" fmla="*/ 11906 w 17771"/>
                <a:gd name="connsiteY4" fmla="*/ 17726 h 21444"/>
                <a:gd name="connsiteX5" fmla="*/ 10645 w 17771"/>
                <a:gd name="connsiteY5" fmla="*/ 21444 h 21444"/>
                <a:gd name="connsiteX6" fmla="*/ 0 w 17771"/>
                <a:gd name="connsiteY6" fmla="*/ 7849 h 21444"/>
                <a:gd name="connsiteX0" fmla="*/ 0 w 17771"/>
                <a:gd name="connsiteY0" fmla="*/ 7849 h 21444"/>
                <a:gd name="connsiteX1" fmla="*/ 10000 w 17771"/>
                <a:gd name="connsiteY1" fmla="*/ 0 h 21444"/>
                <a:gd name="connsiteX2" fmla="*/ 17771 w 17771"/>
                <a:gd name="connsiteY2" fmla="*/ 109 h 21444"/>
                <a:gd name="connsiteX3" fmla="*/ 17713 w 17771"/>
                <a:gd name="connsiteY3" fmla="*/ 1083 h 21444"/>
                <a:gd name="connsiteX4" fmla="*/ 12463 w 17771"/>
                <a:gd name="connsiteY4" fmla="*/ 21192 h 21444"/>
                <a:gd name="connsiteX5" fmla="*/ 10645 w 17771"/>
                <a:gd name="connsiteY5" fmla="*/ 21444 h 21444"/>
                <a:gd name="connsiteX6" fmla="*/ 0 w 17771"/>
                <a:gd name="connsiteY6" fmla="*/ 7849 h 21444"/>
                <a:gd name="connsiteX0" fmla="*/ 0 w 17771"/>
                <a:gd name="connsiteY0" fmla="*/ 7849 h 21192"/>
                <a:gd name="connsiteX1" fmla="*/ 10000 w 17771"/>
                <a:gd name="connsiteY1" fmla="*/ 0 h 21192"/>
                <a:gd name="connsiteX2" fmla="*/ 17771 w 17771"/>
                <a:gd name="connsiteY2" fmla="*/ 109 h 21192"/>
                <a:gd name="connsiteX3" fmla="*/ 17713 w 17771"/>
                <a:gd name="connsiteY3" fmla="*/ 1083 h 21192"/>
                <a:gd name="connsiteX4" fmla="*/ 12463 w 17771"/>
                <a:gd name="connsiteY4" fmla="*/ 21192 h 21192"/>
                <a:gd name="connsiteX5" fmla="*/ 10469 w 17771"/>
                <a:gd name="connsiteY5" fmla="*/ 21191 h 21192"/>
                <a:gd name="connsiteX6" fmla="*/ 0 w 17771"/>
                <a:gd name="connsiteY6" fmla="*/ 7849 h 21192"/>
                <a:gd name="connsiteX0" fmla="*/ 0 w 17771"/>
                <a:gd name="connsiteY0" fmla="*/ 7849 h 21192"/>
                <a:gd name="connsiteX1" fmla="*/ 10000 w 17771"/>
                <a:gd name="connsiteY1" fmla="*/ 0 h 21192"/>
                <a:gd name="connsiteX2" fmla="*/ 17771 w 17771"/>
                <a:gd name="connsiteY2" fmla="*/ 109 h 21192"/>
                <a:gd name="connsiteX3" fmla="*/ 17684 w 17771"/>
                <a:gd name="connsiteY3" fmla="*/ 11227 h 21192"/>
                <a:gd name="connsiteX4" fmla="*/ 12463 w 17771"/>
                <a:gd name="connsiteY4" fmla="*/ 21192 h 21192"/>
                <a:gd name="connsiteX5" fmla="*/ 10469 w 17771"/>
                <a:gd name="connsiteY5" fmla="*/ 21191 h 21192"/>
                <a:gd name="connsiteX6" fmla="*/ 0 w 17771"/>
                <a:gd name="connsiteY6" fmla="*/ 7849 h 21192"/>
                <a:gd name="connsiteX0" fmla="*/ 0 w 17712"/>
                <a:gd name="connsiteY0" fmla="*/ 8174 h 21192"/>
                <a:gd name="connsiteX1" fmla="*/ 9941 w 17712"/>
                <a:gd name="connsiteY1" fmla="*/ 0 h 21192"/>
                <a:gd name="connsiteX2" fmla="*/ 17712 w 17712"/>
                <a:gd name="connsiteY2" fmla="*/ 109 h 21192"/>
                <a:gd name="connsiteX3" fmla="*/ 17625 w 17712"/>
                <a:gd name="connsiteY3" fmla="*/ 11227 h 21192"/>
                <a:gd name="connsiteX4" fmla="*/ 12404 w 17712"/>
                <a:gd name="connsiteY4" fmla="*/ 21192 h 21192"/>
                <a:gd name="connsiteX5" fmla="*/ 10410 w 17712"/>
                <a:gd name="connsiteY5" fmla="*/ 21191 h 21192"/>
                <a:gd name="connsiteX6" fmla="*/ 0 w 17712"/>
                <a:gd name="connsiteY6" fmla="*/ 8174 h 21192"/>
                <a:gd name="connsiteX0" fmla="*/ 0 w 17712"/>
                <a:gd name="connsiteY0" fmla="*/ 8174 h 21192"/>
                <a:gd name="connsiteX1" fmla="*/ 394 w 17712"/>
                <a:gd name="connsiteY1" fmla="*/ 7814 h 21192"/>
                <a:gd name="connsiteX2" fmla="*/ 9941 w 17712"/>
                <a:gd name="connsiteY2" fmla="*/ 0 h 21192"/>
                <a:gd name="connsiteX3" fmla="*/ 17712 w 17712"/>
                <a:gd name="connsiteY3" fmla="*/ 109 h 21192"/>
                <a:gd name="connsiteX4" fmla="*/ 17625 w 17712"/>
                <a:gd name="connsiteY4" fmla="*/ 11227 h 21192"/>
                <a:gd name="connsiteX5" fmla="*/ 12404 w 17712"/>
                <a:gd name="connsiteY5" fmla="*/ 21192 h 21192"/>
                <a:gd name="connsiteX6" fmla="*/ 10410 w 17712"/>
                <a:gd name="connsiteY6" fmla="*/ 21191 h 21192"/>
                <a:gd name="connsiteX7" fmla="*/ 0 w 17712"/>
                <a:gd name="connsiteY7" fmla="*/ 8174 h 21192"/>
                <a:gd name="connsiteX0" fmla="*/ 0 w 17712"/>
                <a:gd name="connsiteY0" fmla="*/ 8174 h 21192"/>
                <a:gd name="connsiteX1" fmla="*/ 211 w 17712"/>
                <a:gd name="connsiteY1" fmla="*/ 7708 h 21192"/>
                <a:gd name="connsiteX2" fmla="*/ 9941 w 17712"/>
                <a:gd name="connsiteY2" fmla="*/ 0 h 21192"/>
                <a:gd name="connsiteX3" fmla="*/ 17712 w 17712"/>
                <a:gd name="connsiteY3" fmla="*/ 109 h 21192"/>
                <a:gd name="connsiteX4" fmla="*/ 17625 w 17712"/>
                <a:gd name="connsiteY4" fmla="*/ 11227 h 21192"/>
                <a:gd name="connsiteX5" fmla="*/ 12404 w 17712"/>
                <a:gd name="connsiteY5" fmla="*/ 21192 h 21192"/>
                <a:gd name="connsiteX6" fmla="*/ 10410 w 17712"/>
                <a:gd name="connsiteY6" fmla="*/ 21191 h 21192"/>
                <a:gd name="connsiteX7" fmla="*/ 0 w 17712"/>
                <a:gd name="connsiteY7" fmla="*/ 8174 h 21192"/>
                <a:gd name="connsiteX0" fmla="*/ 7 w 17719"/>
                <a:gd name="connsiteY0" fmla="*/ 8174 h 21192"/>
                <a:gd name="connsiteX1" fmla="*/ 218 w 17719"/>
                <a:gd name="connsiteY1" fmla="*/ 7708 h 21192"/>
                <a:gd name="connsiteX2" fmla="*/ 9948 w 17719"/>
                <a:gd name="connsiteY2" fmla="*/ 0 h 21192"/>
                <a:gd name="connsiteX3" fmla="*/ 17719 w 17719"/>
                <a:gd name="connsiteY3" fmla="*/ 109 h 21192"/>
                <a:gd name="connsiteX4" fmla="*/ 17632 w 17719"/>
                <a:gd name="connsiteY4" fmla="*/ 11227 h 21192"/>
                <a:gd name="connsiteX5" fmla="*/ 12411 w 17719"/>
                <a:gd name="connsiteY5" fmla="*/ 21192 h 21192"/>
                <a:gd name="connsiteX6" fmla="*/ 10417 w 17719"/>
                <a:gd name="connsiteY6" fmla="*/ 21191 h 21192"/>
                <a:gd name="connsiteX7" fmla="*/ 7 w 17719"/>
                <a:gd name="connsiteY7" fmla="*/ 8174 h 21192"/>
                <a:gd name="connsiteX0" fmla="*/ 51 w 17763"/>
                <a:gd name="connsiteY0" fmla="*/ 8174 h 21192"/>
                <a:gd name="connsiteX1" fmla="*/ 262 w 17763"/>
                <a:gd name="connsiteY1" fmla="*/ 7708 h 21192"/>
                <a:gd name="connsiteX2" fmla="*/ 9992 w 17763"/>
                <a:gd name="connsiteY2" fmla="*/ 0 h 21192"/>
                <a:gd name="connsiteX3" fmla="*/ 17763 w 17763"/>
                <a:gd name="connsiteY3" fmla="*/ 109 h 21192"/>
                <a:gd name="connsiteX4" fmla="*/ 17676 w 17763"/>
                <a:gd name="connsiteY4" fmla="*/ 11227 h 21192"/>
                <a:gd name="connsiteX5" fmla="*/ 12455 w 17763"/>
                <a:gd name="connsiteY5" fmla="*/ 21192 h 21192"/>
                <a:gd name="connsiteX6" fmla="*/ 10461 w 17763"/>
                <a:gd name="connsiteY6" fmla="*/ 21191 h 21192"/>
                <a:gd name="connsiteX7" fmla="*/ 51 w 17763"/>
                <a:gd name="connsiteY7" fmla="*/ 8174 h 21192"/>
                <a:gd name="connsiteX0" fmla="*/ 104 w 17713"/>
                <a:gd name="connsiteY0" fmla="*/ 8301 h 21192"/>
                <a:gd name="connsiteX1" fmla="*/ 212 w 17713"/>
                <a:gd name="connsiteY1" fmla="*/ 7708 h 21192"/>
                <a:gd name="connsiteX2" fmla="*/ 9942 w 17713"/>
                <a:gd name="connsiteY2" fmla="*/ 0 h 21192"/>
                <a:gd name="connsiteX3" fmla="*/ 17713 w 17713"/>
                <a:gd name="connsiteY3" fmla="*/ 109 h 21192"/>
                <a:gd name="connsiteX4" fmla="*/ 17626 w 17713"/>
                <a:gd name="connsiteY4" fmla="*/ 11227 h 21192"/>
                <a:gd name="connsiteX5" fmla="*/ 12405 w 17713"/>
                <a:gd name="connsiteY5" fmla="*/ 21192 h 21192"/>
                <a:gd name="connsiteX6" fmla="*/ 10411 w 17713"/>
                <a:gd name="connsiteY6" fmla="*/ 21191 h 21192"/>
                <a:gd name="connsiteX7" fmla="*/ 104 w 17713"/>
                <a:gd name="connsiteY7" fmla="*/ 8301 h 21192"/>
                <a:gd name="connsiteX0" fmla="*/ 136 w 17745"/>
                <a:gd name="connsiteY0" fmla="*/ 8301 h 21192"/>
                <a:gd name="connsiteX1" fmla="*/ 244 w 17745"/>
                <a:gd name="connsiteY1" fmla="*/ 7708 h 21192"/>
                <a:gd name="connsiteX2" fmla="*/ 9974 w 17745"/>
                <a:gd name="connsiteY2" fmla="*/ 0 h 21192"/>
                <a:gd name="connsiteX3" fmla="*/ 17745 w 17745"/>
                <a:gd name="connsiteY3" fmla="*/ 109 h 21192"/>
                <a:gd name="connsiteX4" fmla="*/ 17658 w 17745"/>
                <a:gd name="connsiteY4" fmla="*/ 11227 h 21192"/>
                <a:gd name="connsiteX5" fmla="*/ 12437 w 17745"/>
                <a:gd name="connsiteY5" fmla="*/ 21192 h 21192"/>
                <a:gd name="connsiteX6" fmla="*/ 10443 w 17745"/>
                <a:gd name="connsiteY6" fmla="*/ 21191 h 21192"/>
                <a:gd name="connsiteX7" fmla="*/ 136 w 17745"/>
                <a:gd name="connsiteY7" fmla="*/ 8301 h 21192"/>
                <a:gd name="connsiteX0" fmla="*/ 136 w 17745"/>
                <a:gd name="connsiteY0" fmla="*/ 8301 h 21192"/>
                <a:gd name="connsiteX1" fmla="*/ 244 w 17745"/>
                <a:gd name="connsiteY1" fmla="*/ 7708 h 21192"/>
                <a:gd name="connsiteX2" fmla="*/ 9974 w 17745"/>
                <a:gd name="connsiteY2" fmla="*/ 0 h 21192"/>
                <a:gd name="connsiteX3" fmla="*/ 17745 w 17745"/>
                <a:gd name="connsiteY3" fmla="*/ 109 h 21192"/>
                <a:gd name="connsiteX4" fmla="*/ 17658 w 17745"/>
                <a:gd name="connsiteY4" fmla="*/ 11227 h 21192"/>
                <a:gd name="connsiteX5" fmla="*/ 12437 w 17745"/>
                <a:gd name="connsiteY5" fmla="*/ 21192 h 21192"/>
                <a:gd name="connsiteX6" fmla="*/ 10372 w 17745"/>
                <a:gd name="connsiteY6" fmla="*/ 21191 h 21192"/>
                <a:gd name="connsiteX7" fmla="*/ 136 w 17745"/>
                <a:gd name="connsiteY7" fmla="*/ 8301 h 21192"/>
                <a:gd name="connsiteX0" fmla="*/ 136 w 17745"/>
                <a:gd name="connsiteY0" fmla="*/ 8301 h 21192"/>
                <a:gd name="connsiteX1" fmla="*/ 244 w 17745"/>
                <a:gd name="connsiteY1" fmla="*/ 7708 h 21192"/>
                <a:gd name="connsiteX2" fmla="*/ 9974 w 17745"/>
                <a:gd name="connsiteY2" fmla="*/ 0 h 21192"/>
                <a:gd name="connsiteX3" fmla="*/ 17745 w 17745"/>
                <a:gd name="connsiteY3" fmla="*/ 109 h 21192"/>
                <a:gd name="connsiteX4" fmla="*/ 17595 w 17745"/>
                <a:gd name="connsiteY4" fmla="*/ 11549 h 21192"/>
                <a:gd name="connsiteX5" fmla="*/ 12437 w 17745"/>
                <a:gd name="connsiteY5" fmla="*/ 21192 h 21192"/>
                <a:gd name="connsiteX6" fmla="*/ 10372 w 17745"/>
                <a:gd name="connsiteY6" fmla="*/ 21191 h 21192"/>
                <a:gd name="connsiteX7" fmla="*/ 136 w 17745"/>
                <a:gd name="connsiteY7" fmla="*/ 8301 h 21192"/>
                <a:gd name="connsiteX0" fmla="*/ 136 w 17600"/>
                <a:gd name="connsiteY0" fmla="*/ 8301 h 21192"/>
                <a:gd name="connsiteX1" fmla="*/ 244 w 17600"/>
                <a:gd name="connsiteY1" fmla="*/ 7708 h 21192"/>
                <a:gd name="connsiteX2" fmla="*/ 9974 w 17600"/>
                <a:gd name="connsiteY2" fmla="*/ 0 h 21192"/>
                <a:gd name="connsiteX3" fmla="*/ 17595 w 17600"/>
                <a:gd name="connsiteY3" fmla="*/ 128 h 21192"/>
                <a:gd name="connsiteX4" fmla="*/ 17595 w 17600"/>
                <a:gd name="connsiteY4" fmla="*/ 11549 h 21192"/>
                <a:gd name="connsiteX5" fmla="*/ 12437 w 17600"/>
                <a:gd name="connsiteY5" fmla="*/ 21192 h 21192"/>
                <a:gd name="connsiteX6" fmla="*/ 10372 w 17600"/>
                <a:gd name="connsiteY6" fmla="*/ 21191 h 21192"/>
                <a:gd name="connsiteX7" fmla="*/ 136 w 17600"/>
                <a:gd name="connsiteY7" fmla="*/ 8301 h 21192"/>
                <a:gd name="connsiteX0" fmla="*/ 136 w 17596"/>
                <a:gd name="connsiteY0" fmla="*/ 8301 h 21192"/>
                <a:gd name="connsiteX1" fmla="*/ 244 w 17596"/>
                <a:gd name="connsiteY1" fmla="*/ 7708 h 21192"/>
                <a:gd name="connsiteX2" fmla="*/ 9974 w 17596"/>
                <a:gd name="connsiteY2" fmla="*/ 0 h 21192"/>
                <a:gd name="connsiteX3" fmla="*/ 17445 w 17596"/>
                <a:gd name="connsiteY3" fmla="*/ 206 h 21192"/>
                <a:gd name="connsiteX4" fmla="*/ 17595 w 17596"/>
                <a:gd name="connsiteY4" fmla="*/ 11549 h 21192"/>
                <a:gd name="connsiteX5" fmla="*/ 12437 w 17596"/>
                <a:gd name="connsiteY5" fmla="*/ 21192 h 21192"/>
                <a:gd name="connsiteX6" fmla="*/ 10372 w 17596"/>
                <a:gd name="connsiteY6" fmla="*/ 21191 h 21192"/>
                <a:gd name="connsiteX7" fmla="*/ 136 w 17596"/>
                <a:gd name="connsiteY7" fmla="*/ 8301 h 21192"/>
                <a:gd name="connsiteX0" fmla="*/ 136 w 17611"/>
                <a:gd name="connsiteY0" fmla="*/ 8301 h 21192"/>
                <a:gd name="connsiteX1" fmla="*/ 244 w 17611"/>
                <a:gd name="connsiteY1" fmla="*/ 7708 h 21192"/>
                <a:gd name="connsiteX2" fmla="*/ 9974 w 17611"/>
                <a:gd name="connsiteY2" fmla="*/ 0 h 21192"/>
                <a:gd name="connsiteX3" fmla="*/ 17611 w 17611"/>
                <a:gd name="connsiteY3" fmla="*/ 128 h 21192"/>
                <a:gd name="connsiteX4" fmla="*/ 17595 w 17611"/>
                <a:gd name="connsiteY4" fmla="*/ 11549 h 21192"/>
                <a:gd name="connsiteX5" fmla="*/ 12437 w 17611"/>
                <a:gd name="connsiteY5" fmla="*/ 21192 h 21192"/>
                <a:gd name="connsiteX6" fmla="*/ 10372 w 17611"/>
                <a:gd name="connsiteY6" fmla="*/ 21191 h 21192"/>
                <a:gd name="connsiteX7" fmla="*/ 136 w 17611"/>
                <a:gd name="connsiteY7" fmla="*/ 8301 h 21192"/>
                <a:gd name="connsiteX0" fmla="*/ 136 w 17611"/>
                <a:gd name="connsiteY0" fmla="*/ 8204 h 21095"/>
                <a:gd name="connsiteX1" fmla="*/ 244 w 17611"/>
                <a:gd name="connsiteY1" fmla="*/ 7611 h 21095"/>
                <a:gd name="connsiteX2" fmla="*/ 9855 w 17611"/>
                <a:gd name="connsiteY2" fmla="*/ 0 h 21095"/>
                <a:gd name="connsiteX3" fmla="*/ 17611 w 17611"/>
                <a:gd name="connsiteY3" fmla="*/ 31 h 21095"/>
                <a:gd name="connsiteX4" fmla="*/ 17595 w 17611"/>
                <a:gd name="connsiteY4" fmla="*/ 11452 h 21095"/>
                <a:gd name="connsiteX5" fmla="*/ 12437 w 17611"/>
                <a:gd name="connsiteY5" fmla="*/ 21095 h 21095"/>
                <a:gd name="connsiteX6" fmla="*/ 10372 w 17611"/>
                <a:gd name="connsiteY6" fmla="*/ 21094 h 21095"/>
                <a:gd name="connsiteX7" fmla="*/ 136 w 17611"/>
                <a:gd name="connsiteY7" fmla="*/ 8204 h 21095"/>
                <a:gd name="connsiteX0" fmla="*/ 136 w 17600"/>
                <a:gd name="connsiteY0" fmla="*/ 8204 h 21095"/>
                <a:gd name="connsiteX1" fmla="*/ 244 w 17600"/>
                <a:gd name="connsiteY1" fmla="*/ 7611 h 21095"/>
                <a:gd name="connsiteX2" fmla="*/ 9855 w 17600"/>
                <a:gd name="connsiteY2" fmla="*/ 0 h 21095"/>
                <a:gd name="connsiteX3" fmla="*/ 17595 w 17600"/>
                <a:gd name="connsiteY3" fmla="*/ 21 h 21095"/>
                <a:gd name="connsiteX4" fmla="*/ 17595 w 17600"/>
                <a:gd name="connsiteY4" fmla="*/ 11452 h 21095"/>
                <a:gd name="connsiteX5" fmla="*/ 12437 w 17600"/>
                <a:gd name="connsiteY5" fmla="*/ 21095 h 21095"/>
                <a:gd name="connsiteX6" fmla="*/ 10372 w 17600"/>
                <a:gd name="connsiteY6" fmla="*/ 21094 h 21095"/>
                <a:gd name="connsiteX7" fmla="*/ 136 w 17600"/>
                <a:gd name="connsiteY7" fmla="*/ 8204 h 21095"/>
                <a:gd name="connsiteX0" fmla="*/ 136 w 17610"/>
                <a:gd name="connsiteY0" fmla="*/ 8204 h 21095"/>
                <a:gd name="connsiteX1" fmla="*/ 244 w 17610"/>
                <a:gd name="connsiteY1" fmla="*/ 7611 h 21095"/>
                <a:gd name="connsiteX2" fmla="*/ 9855 w 17610"/>
                <a:gd name="connsiteY2" fmla="*/ 0 h 21095"/>
                <a:gd name="connsiteX3" fmla="*/ 17595 w 17610"/>
                <a:gd name="connsiteY3" fmla="*/ 21 h 21095"/>
                <a:gd name="connsiteX4" fmla="*/ 17595 w 17610"/>
                <a:gd name="connsiteY4" fmla="*/ 11452 h 21095"/>
                <a:gd name="connsiteX5" fmla="*/ 12437 w 17610"/>
                <a:gd name="connsiteY5" fmla="*/ 21095 h 21095"/>
                <a:gd name="connsiteX6" fmla="*/ 10372 w 17610"/>
                <a:gd name="connsiteY6" fmla="*/ 21094 h 21095"/>
                <a:gd name="connsiteX7" fmla="*/ 136 w 17610"/>
                <a:gd name="connsiteY7" fmla="*/ 8204 h 21095"/>
                <a:gd name="connsiteX0" fmla="*/ 136 w 17601"/>
                <a:gd name="connsiteY0" fmla="*/ 8204 h 21095"/>
                <a:gd name="connsiteX1" fmla="*/ 244 w 17601"/>
                <a:gd name="connsiteY1" fmla="*/ 7611 h 21095"/>
                <a:gd name="connsiteX2" fmla="*/ 9855 w 17601"/>
                <a:gd name="connsiteY2" fmla="*/ 0 h 21095"/>
                <a:gd name="connsiteX3" fmla="*/ 17595 w 17601"/>
                <a:gd name="connsiteY3" fmla="*/ 21 h 21095"/>
                <a:gd name="connsiteX4" fmla="*/ 17595 w 17601"/>
                <a:gd name="connsiteY4" fmla="*/ 11452 h 21095"/>
                <a:gd name="connsiteX5" fmla="*/ 12437 w 17601"/>
                <a:gd name="connsiteY5" fmla="*/ 21095 h 21095"/>
                <a:gd name="connsiteX6" fmla="*/ 10372 w 17601"/>
                <a:gd name="connsiteY6" fmla="*/ 21094 h 21095"/>
                <a:gd name="connsiteX7" fmla="*/ 136 w 17601"/>
                <a:gd name="connsiteY7" fmla="*/ 8204 h 21095"/>
                <a:gd name="connsiteX0" fmla="*/ 136 w 17610"/>
                <a:gd name="connsiteY0" fmla="*/ 8204 h 21095"/>
                <a:gd name="connsiteX1" fmla="*/ 244 w 17610"/>
                <a:gd name="connsiteY1" fmla="*/ 7611 h 21095"/>
                <a:gd name="connsiteX2" fmla="*/ 9855 w 17610"/>
                <a:gd name="connsiteY2" fmla="*/ 0 h 21095"/>
                <a:gd name="connsiteX3" fmla="*/ 17595 w 17610"/>
                <a:gd name="connsiteY3" fmla="*/ 21 h 21095"/>
                <a:gd name="connsiteX4" fmla="*/ 17595 w 17610"/>
                <a:gd name="connsiteY4" fmla="*/ 11452 h 21095"/>
                <a:gd name="connsiteX5" fmla="*/ 12437 w 17610"/>
                <a:gd name="connsiteY5" fmla="*/ 21095 h 21095"/>
                <a:gd name="connsiteX6" fmla="*/ 10372 w 17610"/>
                <a:gd name="connsiteY6" fmla="*/ 21094 h 21095"/>
                <a:gd name="connsiteX7" fmla="*/ 136 w 17610"/>
                <a:gd name="connsiteY7" fmla="*/ 8204 h 21095"/>
                <a:gd name="connsiteX0" fmla="*/ 136 w 17620"/>
                <a:gd name="connsiteY0" fmla="*/ 8204 h 21095"/>
                <a:gd name="connsiteX1" fmla="*/ 244 w 17620"/>
                <a:gd name="connsiteY1" fmla="*/ 7611 h 21095"/>
                <a:gd name="connsiteX2" fmla="*/ 9855 w 17620"/>
                <a:gd name="connsiteY2" fmla="*/ 0 h 21095"/>
                <a:gd name="connsiteX3" fmla="*/ 17611 w 17620"/>
                <a:gd name="connsiteY3" fmla="*/ 11 h 21095"/>
                <a:gd name="connsiteX4" fmla="*/ 17595 w 17620"/>
                <a:gd name="connsiteY4" fmla="*/ 11452 h 21095"/>
                <a:gd name="connsiteX5" fmla="*/ 12437 w 17620"/>
                <a:gd name="connsiteY5" fmla="*/ 21095 h 21095"/>
                <a:gd name="connsiteX6" fmla="*/ 10372 w 17620"/>
                <a:gd name="connsiteY6" fmla="*/ 21094 h 21095"/>
                <a:gd name="connsiteX7" fmla="*/ 136 w 17620"/>
                <a:gd name="connsiteY7" fmla="*/ 8204 h 21095"/>
                <a:gd name="connsiteX0" fmla="*/ 136 w 17620"/>
                <a:gd name="connsiteY0" fmla="*/ 8204 h 21094"/>
                <a:gd name="connsiteX1" fmla="*/ 244 w 17620"/>
                <a:gd name="connsiteY1" fmla="*/ 7611 h 21094"/>
                <a:gd name="connsiteX2" fmla="*/ 9855 w 17620"/>
                <a:gd name="connsiteY2" fmla="*/ 0 h 21094"/>
                <a:gd name="connsiteX3" fmla="*/ 17611 w 17620"/>
                <a:gd name="connsiteY3" fmla="*/ 11 h 21094"/>
                <a:gd name="connsiteX4" fmla="*/ 17595 w 17620"/>
                <a:gd name="connsiteY4" fmla="*/ 11452 h 21094"/>
                <a:gd name="connsiteX5" fmla="*/ 12413 w 17620"/>
                <a:gd name="connsiteY5" fmla="*/ 21056 h 21094"/>
                <a:gd name="connsiteX6" fmla="*/ 10372 w 17620"/>
                <a:gd name="connsiteY6" fmla="*/ 21094 h 21094"/>
                <a:gd name="connsiteX7" fmla="*/ 136 w 17620"/>
                <a:gd name="connsiteY7" fmla="*/ 8204 h 21094"/>
                <a:gd name="connsiteX0" fmla="*/ 136 w 17620"/>
                <a:gd name="connsiteY0" fmla="*/ 8204 h 21056"/>
                <a:gd name="connsiteX1" fmla="*/ 244 w 17620"/>
                <a:gd name="connsiteY1" fmla="*/ 7611 h 21056"/>
                <a:gd name="connsiteX2" fmla="*/ 9855 w 17620"/>
                <a:gd name="connsiteY2" fmla="*/ 0 h 21056"/>
                <a:gd name="connsiteX3" fmla="*/ 17611 w 17620"/>
                <a:gd name="connsiteY3" fmla="*/ 11 h 21056"/>
                <a:gd name="connsiteX4" fmla="*/ 17595 w 17620"/>
                <a:gd name="connsiteY4" fmla="*/ 11452 h 21056"/>
                <a:gd name="connsiteX5" fmla="*/ 12413 w 17620"/>
                <a:gd name="connsiteY5" fmla="*/ 21056 h 21056"/>
                <a:gd name="connsiteX6" fmla="*/ 10388 w 17620"/>
                <a:gd name="connsiteY6" fmla="*/ 21055 h 21056"/>
                <a:gd name="connsiteX7" fmla="*/ 136 w 17620"/>
                <a:gd name="connsiteY7" fmla="*/ 8204 h 21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20" h="21056">
                  <a:moveTo>
                    <a:pt x="136" y="8204"/>
                  </a:moveTo>
                  <a:cubicBezTo>
                    <a:pt x="0" y="7971"/>
                    <a:pt x="-128" y="7925"/>
                    <a:pt x="244" y="7611"/>
                  </a:cubicBezTo>
                  <a:lnTo>
                    <a:pt x="9855" y="0"/>
                  </a:lnTo>
                  <a:lnTo>
                    <a:pt x="17611" y="11"/>
                  </a:lnTo>
                  <a:cubicBezTo>
                    <a:pt x="17632" y="355"/>
                    <a:pt x="17614" y="11127"/>
                    <a:pt x="17595" y="11452"/>
                  </a:cubicBezTo>
                  <a:lnTo>
                    <a:pt x="12413" y="21056"/>
                  </a:lnTo>
                  <a:lnTo>
                    <a:pt x="10388" y="21055"/>
                  </a:lnTo>
                  <a:lnTo>
                    <a:pt x="136" y="8204"/>
                  </a:lnTo>
                  <a:close/>
                </a:path>
              </a:pathLst>
            </a:cu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Manual Input 6">
              <a:extLst>
                <a:ext uri="{FF2B5EF4-FFF2-40B4-BE49-F238E27FC236}">
                  <a16:creationId xmlns:a16="http://schemas.microsoft.com/office/drawing/2014/main" id="{8FF2E42F-26E0-7142-B179-F24F4BFCBD8E}"/>
                </a:ext>
              </a:extLst>
            </p:cNvPr>
            <p:cNvSpPr/>
            <p:nvPr userDrawn="1"/>
          </p:nvSpPr>
          <p:spPr>
            <a:xfrm>
              <a:off x="5106938" y="-11628"/>
              <a:ext cx="7085532" cy="6870279"/>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600 w 10000"/>
                <a:gd name="connsiteY0" fmla="*/ 0 h 10951"/>
                <a:gd name="connsiteX1" fmla="*/ 10000 w 10000"/>
                <a:gd name="connsiteY1" fmla="*/ 951 h 10951"/>
                <a:gd name="connsiteX2" fmla="*/ 10000 w 10000"/>
                <a:gd name="connsiteY2" fmla="*/ 10951 h 10951"/>
                <a:gd name="connsiteX3" fmla="*/ 0 w 10000"/>
                <a:gd name="connsiteY3" fmla="*/ 10951 h 10951"/>
                <a:gd name="connsiteX4" fmla="*/ 600 w 10000"/>
                <a:gd name="connsiteY4" fmla="*/ 0 h 10951"/>
                <a:gd name="connsiteX0" fmla="*/ 600 w 10933"/>
                <a:gd name="connsiteY0" fmla="*/ 0 h 10951"/>
                <a:gd name="connsiteX1" fmla="*/ 10933 w 10933"/>
                <a:gd name="connsiteY1" fmla="*/ 3694 h 10951"/>
                <a:gd name="connsiteX2" fmla="*/ 10000 w 10933"/>
                <a:gd name="connsiteY2" fmla="*/ 10951 h 10951"/>
                <a:gd name="connsiteX3" fmla="*/ 0 w 10933"/>
                <a:gd name="connsiteY3" fmla="*/ 10951 h 10951"/>
                <a:gd name="connsiteX4" fmla="*/ 600 w 10933"/>
                <a:gd name="connsiteY4" fmla="*/ 0 h 10951"/>
                <a:gd name="connsiteX0" fmla="*/ 600 w 20533"/>
                <a:gd name="connsiteY0" fmla="*/ 0 h 10951"/>
                <a:gd name="connsiteX1" fmla="*/ 20533 w 20533"/>
                <a:gd name="connsiteY1" fmla="*/ 7132 h 10951"/>
                <a:gd name="connsiteX2" fmla="*/ 10000 w 20533"/>
                <a:gd name="connsiteY2" fmla="*/ 10951 h 10951"/>
                <a:gd name="connsiteX3" fmla="*/ 0 w 20533"/>
                <a:gd name="connsiteY3" fmla="*/ 10951 h 10951"/>
                <a:gd name="connsiteX4" fmla="*/ 600 w 20533"/>
                <a:gd name="connsiteY4" fmla="*/ 0 h 10951"/>
                <a:gd name="connsiteX0" fmla="*/ 600 w 20533"/>
                <a:gd name="connsiteY0" fmla="*/ 0 h 20569"/>
                <a:gd name="connsiteX1" fmla="*/ 20533 w 20533"/>
                <a:gd name="connsiteY1" fmla="*/ 7132 h 20569"/>
                <a:gd name="connsiteX2" fmla="*/ 13100 w 20533"/>
                <a:gd name="connsiteY2" fmla="*/ 20569 h 20569"/>
                <a:gd name="connsiteX3" fmla="*/ 0 w 20533"/>
                <a:gd name="connsiteY3" fmla="*/ 10951 h 20569"/>
                <a:gd name="connsiteX4" fmla="*/ 600 w 20533"/>
                <a:gd name="connsiteY4" fmla="*/ 0 h 20569"/>
                <a:gd name="connsiteX0" fmla="*/ 600 w 20533"/>
                <a:gd name="connsiteY0" fmla="*/ 0 h 20569"/>
                <a:gd name="connsiteX1" fmla="*/ 20533 w 20533"/>
                <a:gd name="connsiteY1" fmla="*/ 7132 h 20569"/>
                <a:gd name="connsiteX2" fmla="*/ 19400 w 20533"/>
                <a:gd name="connsiteY2" fmla="*/ 9076 h 20569"/>
                <a:gd name="connsiteX3" fmla="*/ 13100 w 20533"/>
                <a:gd name="connsiteY3" fmla="*/ 20569 h 20569"/>
                <a:gd name="connsiteX4" fmla="*/ 0 w 20533"/>
                <a:gd name="connsiteY4" fmla="*/ 10951 h 20569"/>
                <a:gd name="connsiteX5" fmla="*/ 600 w 20533"/>
                <a:gd name="connsiteY5" fmla="*/ 0 h 20569"/>
                <a:gd name="connsiteX0" fmla="*/ 600 w 20533"/>
                <a:gd name="connsiteY0" fmla="*/ 0 h 20569"/>
                <a:gd name="connsiteX1" fmla="*/ 20533 w 20533"/>
                <a:gd name="connsiteY1" fmla="*/ 7132 h 20569"/>
                <a:gd name="connsiteX2" fmla="*/ 19233 w 20533"/>
                <a:gd name="connsiteY2" fmla="*/ 10847 h 20569"/>
                <a:gd name="connsiteX3" fmla="*/ 13100 w 20533"/>
                <a:gd name="connsiteY3" fmla="*/ 20569 h 20569"/>
                <a:gd name="connsiteX4" fmla="*/ 0 w 20533"/>
                <a:gd name="connsiteY4" fmla="*/ 10951 h 20569"/>
                <a:gd name="connsiteX5" fmla="*/ 600 w 20533"/>
                <a:gd name="connsiteY5" fmla="*/ 0 h 20569"/>
                <a:gd name="connsiteX0" fmla="*/ 600 w 19266"/>
                <a:gd name="connsiteY0" fmla="*/ 0 h 20569"/>
                <a:gd name="connsiteX1" fmla="*/ 19266 w 19266"/>
                <a:gd name="connsiteY1" fmla="*/ 6750 h 20569"/>
                <a:gd name="connsiteX2" fmla="*/ 19233 w 19266"/>
                <a:gd name="connsiteY2" fmla="*/ 10847 h 20569"/>
                <a:gd name="connsiteX3" fmla="*/ 13100 w 19266"/>
                <a:gd name="connsiteY3" fmla="*/ 20569 h 20569"/>
                <a:gd name="connsiteX4" fmla="*/ 0 w 19266"/>
                <a:gd name="connsiteY4" fmla="*/ 10951 h 20569"/>
                <a:gd name="connsiteX5" fmla="*/ 600 w 19266"/>
                <a:gd name="connsiteY5" fmla="*/ 0 h 20569"/>
                <a:gd name="connsiteX0" fmla="*/ 600 w 19234"/>
                <a:gd name="connsiteY0" fmla="*/ 0 h 20569"/>
                <a:gd name="connsiteX1" fmla="*/ 19199 w 19234"/>
                <a:gd name="connsiteY1" fmla="*/ 6646 h 20569"/>
                <a:gd name="connsiteX2" fmla="*/ 19233 w 19234"/>
                <a:gd name="connsiteY2" fmla="*/ 10847 h 20569"/>
                <a:gd name="connsiteX3" fmla="*/ 13100 w 19234"/>
                <a:gd name="connsiteY3" fmla="*/ 20569 h 20569"/>
                <a:gd name="connsiteX4" fmla="*/ 0 w 19234"/>
                <a:gd name="connsiteY4" fmla="*/ 10951 h 20569"/>
                <a:gd name="connsiteX5" fmla="*/ 600 w 19234"/>
                <a:gd name="connsiteY5" fmla="*/ 0 h 20569"/>
                <a:gd name="connsiteX0" fmla="*/ 600 w 19236"/>
                <a:gd name="connsiteY0" fmla="*/ 0 h 20569"/>
                <a:gd name="connsiteX1" fmla="*/ 19232 w 19236"/>
                <a:gd name="connsiteY1" fmla="*/ 6681 h 20569"/>
                <a:gd name="connsiteX2" fmla="*/ 19233 w 19236"/>
                <a:gd name="connsiteY2" fmla="*/ 10847 h 20569"/>
                <a:gd name="connsiteX3" fmla="*/ 13100 w 19236"/>
                <a:gd name="connsiteY3" fmla="*/ 20569 h 20569"/>
                <a:gd name="connsiteX4" fmla="*/ 0 w 19236"/>
                <a:gd name="connsiteY4" fmla="*/ 10951 h 20569"/>
                <a:gd name="connsiteX5" fmla="*/ 600 w 19236"/>
                <a:gd name="connsiteY5" fmla="*/ 0 h 20569"/>
                <a:gd name="connsiteX0" fmla="*/ 600 w 19236"/>
                <a:gd name="connsiteY0" fmla="*/ 0 h 20569"/>
                <a:gd name="connsiteX1" fmla="*/ 19232 w 19236"/>
                <a:gd name="connsiteY1" fmla="*/ 6681 h 20569"/>
                <a:gd name="connsiteX2" fmla="*/ 19233 w 19236"/>
                <a:gd name="connsiteY2" fmla="*/ 10847 h 20569"/>
                <a:gd name="connsiteX3" fmla="*/ 13100 w 19236"/>
                <a:gd name="connsiteY3" fmla="*/ 20569 h 20569"/>
                <a:gd name="connsiteX4" fmla="*/ 9800 w 19236"/>
                <a:gd name="connsiteY4" fmla="*/ 18104 h 20569"/>
                <a:gd name="connsiteX5" fmla="*/ 0 w 19236"/>
                <a:gd name="connsiteY5" fmla="*/ 10951 h 20569"/>
                <a:gd name="connsiteX6" fmla="*/ 600 w 19236"/>
                <a:gd name="connsiteY6" fmla="*/ 0 h 20569"/>
                <a:gd name="connsiteX0" fmla="*/ 600 w 19236"/>
                <a:gd name="connsiteY0" fmla="*/ 0 h 20569"/>
                <a:gd name="connsiteX1" fmla="*/ 19232 w 19236"/>
                <a:gd name="connsiteY1" fmla="*/ 6681 h 20569"/>
                <a:gd name="connsiteX2" fmla="*/ 19233 w 19236"/>
                <a:gd name="connsiteY2" fmla="*/ 10847 h 20569"/>
                <a:gd name="connsiteX3" fmla="*/ 13100 w 19236"/>
                <a:gd name="connsiteY3" fmla="*/ 20569 h 20569"/>
                <a:gd name="connsiteX4" fmla="*/ 11033 w 19236"/>
                <a:gd name="connsiteY4" fmla="*/ 20153 h 20569"/>
                <a:gd name="connsiteX5" fmla="*/ 0 w 19236"/>
                <a:gd name="connsiteY5" fmla="*/ 10951 h 20569"/>
                <a:gd name="connsiteX6" fmla="*/ 600 w 19236"/>
                <a:gd name="connsiteY6" fmla="*/ 0 h 20569"/>
                <a:gd name="connsiteX0" fmla="*/ 600 w 19236"/>
                <a:gd name="connsiteY0" fmla="*/ 0 h 20222"/>
                <a:gd name="connsiteX1" fmla="*/ 19232 w 19236"/>
                <a:gd name="connsiteY1" fmla="*/ 6681 h 20222"/>
                <a:gd name="connsiteX2" fmla="*/ 19233 w 19236"/>
                <a:gd name="connsiteY2" fmla="*/ 10847 h 20222"/>
                <a:gd name="connsiteX3" fmla="*/ 13267 w 19236"/>
                <a:gd name="connsiteY3" fmla="*/ 20222 h 20222"/>
                <a:gd name="connsiteX4" fmla="*/ 11033 w 19236"/>
                <a:gd name="connsiteY4" fmla="*/ 20153 h 20222"/>
                <a:gd name="connsiteX5" fmla="*/ 0 w 19236"/>
                <a:gd name="connsiteY5" fmla="*/ 10951 h 20222"/>
                <a:gd name="connsiteX6" fmla="*/ 600 w 19236"/>
                <a:gd name="connsiteY6" fmla="*/ 0 h 20222"/>
                <a:gd name="connsiteX0" fmla="*/ 600 w 19236"/>
                <a:gd name="connsiteY0" fmla="*/ 0 h 20222"/>
                <a:gd name="connsiteX1" fmla="*/ 19232 w 19236"/>
                <a:gd name="connsiteY1" fmla="*/ 6681 h 20222"/>
                <a:gd name="connsiteX2" fmla="*/ 19233 w 19236"/>
                <a:gd name="connsiteY2" fmla="*/ 10847 h 20222"/>
                <a:gd name="connsiteX3" fmla="*/ 13267 w 19236"/>
                <a:gd name="connsiteY3" fmla="*/ 20222 h 20222"/>
                <a:gd name="connsiteX4" fmla="*/ 11433 w 19236"/>
                <a:gd name="connsiteY4" fmla="*/ 20153 h 20222"/>
                <a:gd name="connsiteX5" fmla="*/ 0 w 19236"/>
                <a:gd name="connsiteY5" fmla="*/ 10951 h 20222"/>
                <a:gd name="connsiteX6" fmla="*/ 600 w 19236"/>
                <a:gd name="connsiteY6" fmla="*/ 0 h 20222"/>
                <a:gd name="connsiteX0" fmla="*/ 600 w 19236"/>
                <a:gd name="connsiteY0" fmla="*/ 0 h 20222"/>
                <a:gd name="connsiteX1" fmla="*/ 19232 w 19236"/>
                <a:gd name="connsiteY1" fmla="*/ 6681 h 20222"/>
                <a:gd name="connsiteX2" fmla="*/ 19233 w 19236"/>
                <a:gd name="connsiteY2" fmla="*/ 10847 h 20222"/>
                <a:gd name="connsiteX3" fmla="*/ 13267 w 19236"/>
                <a:gd name="connsiteY3" fmla="*/ 20222 h 20222"/>
                <a:gd name="connsiteX4" fmla="*/ 11133 w 19236"/>
                <a:gd name="connsiteY4" fmla="*/ 20222 h 20222"/>
                <a:gd name="connsiteX5" fmla="*/ 0 w 19236"/>
                <a:gd name="connsiteY5" fmla="*/ 10951 h 20222"/>
                <a:gd name="connsiteX6" fmla="*/ 600 w 19236"/>
                <a:gd name="connsiteY6" fmla="*/ 0 h 20222"/>
                <a:gd name="connsiteX0" fmla="*/ 733 w 19369"/>
                <a:gd name="connsiteY0" fmla="*/ 0 h 20222"/>
                <a:gd name="connsiteX1" fmla="*/ 19365 w 19369"/>
                <a:gd name="connsiteY1" fmla="*/ 6681 h 20222"/>
                <a:gd name="connsiteX2" fmla="*/ 19366 w 19369"/>
                <a:gd name="connsiteY2" fmla="*/ 10847 h 20222"/>
                <a:gd name="connsiteX3" fmla="*/ 13400 w 19369"/>
                <a:gd name="connsiteY3" fmla="*/ 20222 h 20222"/>
                <a:gd name="connsiteX4" fmla="*/ 11266 w 19369"/>
                <a:gd name="connsiteY4" fmla="*/ 20222 h 20222"/>
                <a:gd name="connsiteX5" fmla="*/ 0 w 19369"/>
                <a:gd name="connsiteY5" fmla="*/ 8312 h 20222"/>
                <a:gd name="connsiteX6" fmla="*/ 733 w 19369"/>
                <a:gd name="connsiteY6" fmla="*/ 0 h 20222"/>
                <a:gd name="connsiteX0" fmla="*/ 733 w 19369"/>
                <a:gd name="connsiteY0" fmla="*/ 0 h 20222"/>
                <a:gd name="connsiteX1" fmla="*/ 1966 w 19369"/>
                <a:gd name="connsiteY1" fmla="*/ 465 h 20222"/>
                <a:gd name="connsiteX2" fmla="*/ 19365 w 19369"/>
                <a:gd name="connsiteY2" fmla="*/ 6681 h 20222"/>
                <a:gd name="connsiteX3" fmla="*/ 19366 w 19369"/>
                <a:gd name="connsiteY3" fmla="*/ 10847 h 20222"/>
                <a:gd name="connsiteX4" fmla="*/ 13400 w 19369"/>
                <a:gd name="connsiteY4" fmla="*/ 20222 h 20222"/>
                <a:gd name="connsiteX5" fmla="*/ 11266 w 19369"/>
                <a:gd name="connsiteY5" fmla="*/ 20222 h 20222"/>
                <a:gd name="connsiteX6" fmla="*/ 0 w 19369"/>
                <a:gd name="connsiteY6" fmla="*/ 8312 h 20222"/>
                <a:gd name="connsiteX7" fmla="*/ 733 w 19369"/>
                <a:gd name="connsiteY7" fmla="*/ 0 h 20222"/>
                <a:gd name="connsiteX0" fmla="*/ 733 w 19369"/>
                <a:gd name="connsiteY0" fmla="*/ 125 h 20347"/>
                <a:gd name="connsiteX1" fmla="*/ 1966 w 19369"/>
                <a:gd name="connsiteY1" fmla="*/ 590 h 20347"/>
                <a:gd name="connsiteX2" fmla="*/ 1466 w 19369"/>
                <a:gd name="connsiteY2" fmla="*/ 0 h 20347"/>
                <a:gd name="connsiteX3" fmla="*/ 19365 w 19369"/>
                <a:gd name="connsiteY3" fmla="*/ 6806 h 20347"/>
                <a:gd name="connsiteX4" fmla="*/ 19366 w 19369"/>
                <a:gd name="connsiteY4" fmla="*/ 10972 h 20347"/>
                <a:gd name="connsiteX5" fmla="*/ 13400 w 19369"/>
                <a:gd name="connsiteY5" fmla="*/ 20347 h 20347"/>
                <a:gd name="connsiteX6" fmla="*/ 11266 w 19369"/>
                <a:gd name="connsiteY6" fmla="*/ 20347 h 20347"/>
                <a:gd name="connsiteX7" fmla="*/ 0 w 19369"/>
                <a:gd name="connsiteY7" fmla="*/ 8437 h 20347"/>
                <a:gd name="connsiteX8" fmla="*/ 733 w 19369"/>
                <a:gd name="connsiteY8" fmla="*/ 125 h 20347"/>
                <a:gd name="connsiteX0" fmla="*/ 733 w 19369"/>
                <a:gd name="connsiteY0" fmla="*/ 125 h 20347"/>
                <a:gd name="connsiteX1" fmla="*/ 1466 w 19369"/>
                <a:gd name="connsiteY1" fmla="*/ 0 h 20347"/>
                <a:gd name="connsiteX2" fmla="*/ 19365 w 19369"/>
                <a:gd name="connsiteY2" fmla="*/ 6806 h 20347"/>
                <a:gd name="connsiteX3" fmla="*/ 19366 w 19369"/>
                <a:gd name="connsiteY3" fmla="*/ 10972 h 20347"/>
                <a:gd name="connsiteX4" fmla="*/ 13400 w 19369"/>
                <a:gd name="connsiteY4" fmla="*/ 20347 h 20347"/>
                <a:gd name="connsiteX5" fmla="*/ 11266 w 19369"/>
                <a:gd name="connsiteY5" fmla="*/ 20347 h 20347"/>
                <a:gd name="connsiteX6" fmla="*/ 0 w 19369"/>
                <a:gd name="connsiteY6" fmla="*/ 8437 h 20347"/>
                <a:gd name="connsiteX7" fmla="*/ 733 w 19369"/>
                <a:gd name="connsiteY7" fmla="*/ 125 h 20347"/>
                <a:gd name="connsiteX0" fmla="*/ 666 w 19369"/>
                <a:gd name="connsiteY0" fmla="*/ 0 h 20361"/>
                <a:gd name="connsiteX1" fmla="*/ 1466 w 19369"/>
                <a:gd name="connsiteY1" fmla="*/ 14 h 20361"/>
                <a:gd name="connsiteX2" fmla="*/ 19365 w 19369"/>
                <a:gd name="connsiteY2" fmla="*/ 6820 h 20361"/>
                <a:gd name="connsiteX3" fmla="*/ 19366 w 19369"/>
                <a:gd name="connsiteY3" fmla="*/ 10986 h 20361"/>
                <a:gd name="connsiteX4" fmla="*/ 13400 w 19369"/>
                <a:gd name="connsiteY4" fmla="*/ 20361 h 20361"/>
                <a:gd name="connsiteX5" fmla="*/ 11266 w 19369"/>
                <a:gd name="connsiteY5" fmla="*/ 20361 h 20361"/>
                <a:gd name="connsiteX6" fmla="*/ 0 w 19369"/>
                <a:gd name="connsiteY6" fmla="*/ 8451 h 20361"/>
                <a:gd name="connsiteX7" fmla="*/ 666 w 19369"/>
                <a:gd name="connsiteY7" fmla="*/ 0 h 20361"/>
                <a:gd name="connsiteX0" fmla="*/ 1466 w 20169"/>
                <a:gd name="connsiteY0" fmla="*/ 0 h 20361"/>
                <a:gd name="connsiteX1" fmla="*/ 2266 w 20169"/>
                <a:gd name="connsiteY1" fmla="*/ 14 h 20361"/>
                <a:gd name="connsiteX2" fmla="*/ 20165 w 20169"/>
                <a:gd name="connsiteY2" fmla="*/ 6820 h 20361"/>
                <a:gd name="connsiteX3" fmla="*/ 20166 w 20169"/>
                <a:gd name="connsiteY3" fmla="*/ 10986 h 20361"/>
                <a:gd name="connsiteX4" fmla="*/ 14200 w 20169"/>
                <a:gd name="connsiteY4" fmla="*/ 20361 h 20361"/>
                <a:gd name="connsiteX5" fmla="*/ 12066 w 20169"/>
                <a:gd name="connsiteY5" fmla="*/ 20361 h 20361"/>
                <a:gd name="connsiteX6" fmla="*/ 0 w 20169"/>
                <a:gd name="connsiteY6" fmla="*/ 7652 h 20361"/>
                <a:gd name="connsiteX7" fmla="*/ 1466 w 20169"/>
                <a:gd name="connsiteY7" fmla="*/ 0 h 20361"/>
                <a:gd name="connsiteX0" fmla="*/ 1166 w 19869"/>
                <a:gd name="connsiteY0" fmla="*/ 0 h 20361"/>
                <a:gd name="connsiteX1" fmla="*/ 1966 w 19869"/>
                <a:gd name="connsiteY1" fmla="*/ 14 h 20361"/>
                <a:gd name="connsiteX2" fmla="*/ 19865 w 19869"/>
                <a:gd name="connsiteY2" fmla="*/ 6820 h 20361"/>
                <a:gd name="connsiteX3" fmla="*/ 19866 w 19869"/>
                <a:gd name="connsiteY3" fmla="*/ 10986 h 20361"/>
                <a:gd name="connsiteX4" fmla="*/ 13900 w 19869"/>
                <a:gd name="connsiteY4" fmla="*/ 20361 h 20361"/>
                <a:gd name="connsiteX5" fmla="*/ 11766 w 19869"/>
                <a:gd name="connsiteY5" fmla="*/ 20361 h 20361"/>
                <a:gd name="connsiteX6" fmla="*/ 0 w 19869"/>
                <a:gd name="connsiteY6" fmla="*/ 7860 h 20361"/>
                <a:gd name="connsiteX7" fmla="*/ 1166 w 19869"/>
                <a:gd name="connsiteY7" fmla="*/ 0 h 20361"/>
                <a:gd name="connsiteX0" fmla="*/ 1196 w 19899"/>
                <a:gd name="connsiteY0" fmla="*/ 0 h 20361"/>
                <a:gd name="connsiteX1" fmla="*/ 1996 w 19899"/>
                <a:gd name="connsiteY1" fmla="*/ 14 h 20361"/>
                <a:gd name="connsiteX2" fmla="*/ 19895 w 19899"/>
                <a:gd name="connsiteY2" fmla="*/ 6820 h 20361"/>
                <a:gd name="connsiteX3" fmla="*/ 19896 w 19899"/>
                <a:gd name="connsiteY3" fmla="*/ 10986 h 20361"/>
                <a:gd name="connsiteX4" fmla="*/ 13930 w 19899"/>
                <a:gd name="connsiteY4" fmla="*/ 20361 h 20361"/>
                <a:gd name="connsiteX5" fmla="*/ 11796 w 19899"/>
                <a:gd name="connsiteY5" fmla="*/ 20361 h 20361"/>
                <a:gd name="connsiteX6" fmla="*/ 0 w 19899"/>
                <a:gd name="connsiteY6" fmla="*/ 7954 h 20361"/>
                <a:gd name="connsiteX7" fmla="*/ 1196 w 19899"/>
                <a:gd name="connsiteY7" fmla="*/ 0 h 20361"/>
                <a:gd name="connsiteX0" fmla="*/ 1196 w 19899"/>
                <a:gd name="connsiteY0" fmla="*/ 0 h 20377"/>
                <a:gd name="connsiteX1" fmla="*/ 1996 w 19899"/>
                <a:gd name="connsiteY1" fmla="*/ 14 h 20377"/>
                <a:gd name="connsiteX2" fmla="*/ 19895 w 19899"/>
                <a:gd name="connsiteY2" fmla="*/ 6820 h 20377"/>
                <a:gd name="connsiteX3" fmla="*/ 19896 w 19899"/>
                <a:gd name="connsiteY3" fmla="*/ 10986 h 20377"/>
                <a:gd name="connsiteX4" fmla="*/ 13930 w 19899"/>
                <a:gd name="connsiteY4" fmla="*/ 20361 h 20377"/>
                <a:gd name="connsiteX5" fmla="*/ 11721 w 19899"/>
                <a:gd name="connsiteY5" fmla="*/ 20377 h 20377"/>
                <a:gd name="connsiteX6" fmla="*/ 0 w 19899"/>
                <a:gd name="connsiteY6" fmla="*/ 7954 h 20377"/>
                <a:gd name="connsiteX7" fmla="*/ 1196 w 19899"/>
                <a:gd name="connsiteY7" fmla="*/ 0 h 20377"/>
                <a:gd name="connsiteX0" fmla="*/ 1181 w 19899"/>
                <a:gd name="connsiteY0" fmla="*/ 17 h 20363"/>
                <a:gd name="connsiteX1" fmla="*/ 1996 w 19899"/>
                <a:gd name="connsiteY1" fmla="*/ 0 h 20363"/>
                <a:gd name="connsiteX2" fmla="*/ 19895 w 19899"/>
                <a:gd name="connsiteY2" fmla="*/ 6806 h 20363"/>
                <a:gd name="connsiteX3" fmla="*/ 19896 w 19899"/>
                <a:gd name="connsiteY3" fmla="*/ 10972 h 20363"/>
                <a:gd name="connsiteX4" fmla="*/ 13930 w 19899"/>
                <a:gd name="connsiteY4" fmla="*/ 20347 h 20363"/>
                <a:gd name="connsiteX5" fmla="*/ 11721 w 19899"/>
                <a:gd name="connsiteY5" fmla="*/ 20363 h 20363"/>
                <a:gd name="connsiteX6" fmla="*/ 0 w 19899"/>
                <a:gd name="connsiteY6" fmla="*/ 7940 h 20363"/>
                <a:gd name="connsiteX7" fmla="*/ 1181 w 19899"/>
                <a:gd name="connsiteY7" fmla="*/ 17 h 20363"/>
                <a:gd name="connsiteX0" fmla="*/ 1271 w 19899"/>
                <a:gd name="connsiteY0" fmla="*/ 17 h 20363"/>
                <a:gd name="connsiteX1" fmla="*/ 1996 w 19899"/>
                <a:gd name="connsiteY1" fmla="*/ 0 h 20363"/>
                <a:gd name="connsiteX2" fmla="*/ 19895 w 19899"/>
                <a:gd name="connsiteY2" fmla="*/ 6806 h 20363"/>
                <a:gd name="connsiteX3" fmla="*/ 19896 w 19899"/>
                <a:gd name="connsiteY3" fmla="*/ 10972 h 20363"/>
                <a:gd name="connsiteX4" fmla="*/ 13930 w 19899"/>
                <a:gd name="connsiteY4" fmla="*/ 20347 h 20363"/>
                <a:gd name="connsiteX5" fmla="*/ 11721 w 19899"/>
                <a:gd name="connsiteY5" fmla="*/ 20363 h 20363"/>
                <a:gd name="connsiteX6" fmla="*/ 0 w 19899"/>
                <a:gd name="connsiteY6" fmla="*/ 7940 h 20363"/>
                <a:gd name="connsiteX7" fmla="*/ 1271 w 19899"/>
                <a:gd name="connsiteY7" fmla="*/ 17 h 20363"/>
                <a:gd name="connsiteX0" fmla="*/ 1271 w 19899"/>
                <a:gd name="connsiteY0" fmla="*/ 17 h 20363"/>
                <a:gd name="connsiteX1" fmla="*/ 1996 w 19899"/>
                <a:gd name="connsiteY1" fmla="*/ 0 h 20363"/>
                <a:gd name="connsiteX2" fmla="*/ 19895 w 19899"/>
                <a:gd name="connsiteY2" fmla="*/ 6806 h 20363"/>
                <a:gd name="connsiteX3" fmla="*/ 19896 w 19899"/>
                <a:gd name="connsiteY3" fmla="*/ 10972 h 20363"/>
                <a:gd name="connsiteX4" fmla="*/ 13930 w 19899"/>
                <a:gd name="connsiteY4" fmla="*/ 20347 h 20363"/>
                <a:gd name="connsiteX5" fmla="*/ 11721 w 19899"/>
                <a:gd name="connsiteY5" fmla="*/ 20363 h 20363"/>
                <a:gd name="connsiteX6" fmla="*/ 0 w 19899"/>
                <a:gd name="connsiteY6" fmla="*/ 7940 h 20363"/>
                <a:gd name="connsiteX7" fmla="*/ 1271 w 19899"/>
                <a:gd name="connsiteY7" fmla="*/ 17 h 20363"/>
                <a:gd name="connsiteX0" fmla="*/ 2132 w 20760"/>
                <a:gd name="connsiteY0" fmla="*/ 17 h 20363"/>
                <a:gd name="connsiteX1" fmla="*/ 2857 w 20760"/>
                <a:gd name="connsiteY1" fmla="*/ 0 h 20363"/>
                <a:gd name="connsiteX2" fmla="*/ 20756 w 20760"/>
                <a:gd name="connsiteY2" fmla="*/ 6806 h 20363"/>
                <a:gd name="connsiteX3" fmla="*/ 20757 w 20760"/>
                <a:gd name="connsiteY3" fmla="*/ 10972 h 20363"/>
                <a:gd name="connsiteX4" fmla="*/ 14791 w 20760"/>
                <a:gd name="connsiteY4" fmla="*/ 20347 h 20363"/>
                <a:gd name="connsiteX5" fmla="*/ 12582 w 20760"/>
                <a:gd name="connsiteY5" fmla="*/ 20363 h 20363"/>
                <a:gd name="connsiteX6" fmla="*/ 861 w 20760"/>
                <a:gd name="connsiteY6" fmla="*/ 7940 h 20363"/>
                <a:gd name="connsiteX7" fmla="*/ 1022 w 20760"/>
                <a:gd name="connsiteY7" fmla="*/ 6379 h 20363"/>
                <a:gd name="connsiteX8" fmla="*/ 2132 w 20760"/>
                <a:gd name="connsiteY8" fmla="*/ 17 h 20363"/>
                <a:gd name="connsiteX0" fmla="*/ 2132 w 20760"/>
                <a:gd name="connsiteY0" fmla="*/ 17 h 20363"/>
                <a:gd name="connsiteX1" fmla="*/ 2857 w 20760"/>
                <a:gd name="connsiteY1" fmla="*/ 0 h 20363"/>
                <a:gd name="connsiteX2" fmla="*/ 20756 w 20760"/>
                <a:gd name="connsiteY2" fmla="*/ 6806 h 20363"/>
                <a:gd name="connsiteX3" fmla="*/ 20757 w 20760"/>
                <a:gd name="connsiteY3" fmla="*/ 10972 h 20363"/>
                <a:gd name="connsiteX4" fmla="*/ 14791 w 20760"/>
                <a:gd name="connsiteY4" fmla="*/ 20347 h 20363"/>
                <a:gd name="connsiteX5" fmla="*/ 12582 w 20760"/>
                <a:gd name="connsiteY5" fmla="*/ 20363 h 20363"/>
                <a:gd name="connsiteX6" fmla="*/ 861 w 20760"/>
                <a:gd name="connsiteY6" fmla="*/ 7940 h 20363"/>
                <a:gd name="connsiteX7" fmla="*/ 1022 w 20760"/>
                <a:gd name="connsiteY7" fmla="*/ 6379 h 20363"/>
                <a:gd name="connsiteX8" fmla="*/ 2132 w 20760"/>
                <a:gd name="connsiteY8" fmla="*/ 17 h 20363"/>
                <a:gd name="connsiteX0" fmla="*/ 2186 w 20814"/>
                <a:gd name="connsiteY0" fmla="*/ 17 h 20363"/>
                <a:gd name="connsiteX1" fmla="*/ 2911 w 20814"/>
                <a:gd name="connsiteY1" fmla="*/ 0 h 20363"/>
                <a:gd name="connsiteX2" fmla="*/ 20810 w 20814"/>
                <a:gd name="connsiteY2" fmla="*/ 6806 h 20363"/>
                <a:gd name="connsiteX3" fmla="*/ 20811 w 20814"/>
                <a:gd name="connsiteY3" fmla="*/ 10972 h 20363"/>
                <a:gd name="connsiteX4" fmla="*/ 14845 w 20814"/>
                <a:gd name="connsiteY4" fmla="*/ 20347 h 20363"/>
                <a:gd name="connsiteX5" fmla="*/ 12636 w 20814"/>
                <a:gd name="connsiteY5" fmla="*/ 20363 h 20363"/>
                <a:gd name="connsiteX6" fmla="*/ 915 w 20814"/>
                <a:gd name="connsiteY6" fmla="*/ 7940 h 20363"/>
                <a:gd name="connsiteX7" fmla="*/ 881 w 20814"/>
                <a:gd name="connsiteY7" fmla="*/ 6191 h 20363"/>
                <a:gd name="connsiteX8" fmla="*/ 2186 w 20814"/>
                <a:gd name="connsiteY8" fmla="*/ 17 h 20363"/>
                <a:gd name="connsiteX0" fmla="*/ 2228 w 20856"/>
                <a:gd name="connsiteY0" fmla="*/ 17 h 20363"/>
                <a:gd name="connsiteX1" fmla="*/ 2953 w 20856"/>
                <a:gd name="connsiteY1" fmla="*/ 0 h 20363"/>
                <a:gd name="connsiteX2" fmla="*/ 20852 w 20856"/>
                <a:gd name="connsiteY2" fmla="*/ 6806 h 20363"/>
                <a:gd name="connsiteX3" fmla="*/ 20853 w 20856"/>
                <a:gd name="connsiteY3" fmla="*/ 10972 h 20363"/>
                <a:gd name="connsiteX4" fmla="*/ 14887 w 20856"/>
                <a:gd name="connsiteY4" fmla="*/ 20347 h 20363"/>
                <a:gd name="connsiteX5" fmla="*/ 12678 w 20856"/>
                <a:gd name="connsiteY5" fmla="*/ 20363 h 20363"/>
                <a:gd name="connsiteX6" fmla="*/ 957 w 20856"/>
                <a:gd name="connsiteY6" fmla="*/ 7940 h 20363"/>
                <a:gd name="connsiteX7" fmla="*/ 923 w 20856"/>
                <a:gd name="connsiteY7" fmla="*/ 6191 h 20363"/>
                <a:gd name="connsiteX8" fmla="*/ 2228 w 20856"/>
                <a:gd name="connsiteY8" fmla="*/ 17 h 20363"/>
                <a:gd name="connsiteX0" fmla="*/ 2179 w 20807"/>
                <a:gd name="connsiteY0" fmla="*/ 17 h 20363"/>
                <a:gd name="connsiteX1" fmla="*/ 2904 w 20807"/>
                <a:gd name="connsiteY1" fmla="*/ 0 h 20363"/>
                <a:gd name="connsiteX2" fmla="*/ 20803 w 20807"/>
                <a:gd name="connsiteY2" fmla="*/ 6806 h 20363"/>
                <a:gd name="connsiteX3" fmla="*/ 20804 w 20807"/>
                <a:gd name="connsiteY3" fmla="*/ 10972 h 20363"/>
                <a:gd name="connsiteX4" fmla="*/ 14838 w 20807"/>
                <a:gd name="connsiteY4" fmla="*/ 20347 h 20363"/>
                <a:gd name="connsiteX5" fmla="*/ 12629 w 20807"/>
                <a:gd name="connsiteY5" fmla="*/ 20363 h 20363"/>
                <a:gd name="connsiteX6" fmla="*/ 908 w 20807"/>
                <a:gd name="connsiteY6" fmla="*/ 7940 h 20363"/>
                <a:gd name="connsiteX7" fmla="*/ 874 w 20807"/>
                <a:gd name="connsiteY7" fmla="*/ 6191 h 20363"/>
                <a:gd name="connsiteX8" fmla="*/ 2179 w 20807"/>
                <a:gd name="connsiteY8" fmla="*/ 17 h 20363"/>
                <a:gd name="connsiteX0" fmla="*/ 1540 w 20168"/>
                <a:gd name="connsiteY0" fmla="*/ 17 h 20363"/>
                <a:gd name="connsiteX1" fmla="*/ 2265 w 20168"/>
                <a:gd name="connsiteY1" fmla="*/ 0 h 20363"/>
                <a:gd name="connsiteX2" fmla="*/ 20164 w 20168"/>
                <a:gd name="connsiteY2" fmla="*/ 6806 h 20363"/>
                <a:gd name="connsiteX3" fmla="*/ 20165 w 20168"/>
                <a:gd name="connsiteY3" fmla="*/ 10972 h 20363"/>
                <a:gd name="connsiteX4" fmla="*/ 14199 w 20168"/>
                <a:gd name="connsiteY4" fmla="*/ 20347 h 20363"/>
                <a:gd name="connsiteX5" fmla="*/ 11990 w 20168"/>
                <a:gd name="connsiteY5" fmla="*/ 20363 h 20363"/>
                <a:gd name="connsiteX6" fmla="*/ 269 w 20168"/>
                <a:gd name="connsiteY6" fmla="*/ 7940 h 20363"/>
                <a:gd name="connsiteX7" fmla="*/ 235 w 20168"/>
                <a:gd name="connsiteY7" fmla="*/ 6191 h 20363"/>
                <a:gd name="connsiteX8" fmla="*/ 1540 w 20168"/>
                <a:gd name="connsiteY8" fmla="*/ 17 h 20363"/>
                <a:gd name="connsiteX0" fmla="*/ 1418 w 20046"/>
                <a:gd name="connsiteY0" fmla="*/ 17 h 20363"/>
                <a:gd name="connsiteX1" fmla="*/ 2143 w 20046"/>
                <a:gd name="connsiteY1" fmla="*/ 0 h 20363"/>
                <a:gd name="connsiteX2" fmla="*/ 20042 w 20046"/>
                <a:gd name="connsiteY2" fmla="*/ 6806 h 20363"/>
                <a:gd name="connsiteX3" fmla="*/ 20043 w 20046"/>
                <a:gd name="connsiteY3" fmla="*/ 10972 h 20363"/>
                <a:gd name="connsiteX4" fmla="*/ 14077 w 20046"/>
                <a:gd name="connsiteY4" fmla="*/ 20347 h 20363"/>
                <a:gd name="connsiteX5" fmla="*/ 11868 w 20046"/>
                <a:gd name="connsiteY5" fmla="*/ 20363 h 20363"/>
                <a:gd name="connsiteX6" fmla="*/ 147 w 20046"/>
                <a:gd name="connsiteY6" fmla="*/ 7940 h 20363"/>
                <a:gd name="connsiteX7" fmla="*/ 113 w 20046"/>
                <a:gd name="connsiteY7" fmla="*/ 6191 h 20363"/>
                <a:gd name="connsiteX8" fmla="*/ 1418 w 20046"/>
                <a:gd name="connsiteY8" fmla="*/ 17 h 20363"/>
                <a:gd name="connsiteX0" fmla="*/ 1471 w 20099"/>
                <a:gd name="connsiteY0" fmla="*/ 17 h 20363"/>
                <a:gd name="connsiteX1" fmla="*/ 2196 w 20099"/>
                <a:gd name="connsiteY1" fmla="*/ 0 h 20363"/>
                <a:gd name="connsiteX2" fmla="*/ 20095 w 20099"/>
                <a:gd name="connsiteY2" fmla="*/ 6806 h 20363"/>
                <a:gd name="connsiteX3" fmla="*/ 20096 w 20099"/>
                <a:gd name="connsiteY3" fmla="*/ 10972 h 20363"/>
                <a:gd name="connsiteX4" fmla="*/ 14130 w 20099"/>
                <a:gd name="connsiteY4" fmla="*/ 20347 h 20363"/>
                <a:gd name="connsiteX5" fmla="*/ 11921 w 20099"/>
                <a:gd name="connsiteY5" fmla="*/ 20363 h 20363"/>
                <a:gd name="connsiteX6" fmla="*/ 200 w 20099"/>
                <a:gd name="connsiteY6" fmla="*/ 7940 h 20363"/>
                <a:gd name="connsiteX7" fmla="*/ 166 w 20099"/>
                <a:gd name="connsiteY7" fmla="*/ 6191 h 20363"/>
                <a:gd name="connsiteX8" fmla="*/ 1471 w 20099"/>
                <a:gd name="connsiteY8" fmla="*/ 17 h 20363"/>
                <a:gd name="connsiteX0" fmla="*/ 1486 w 20114"/>
                <a:gd name="connsiteY0" fmla="*/ 17 h 20363"/>
                <a:gd name="connsiteX1" fmla="*/ 2211 w 20114"/>
                <a:gd name="connsiteY1" fmla="*/ 0 h 20363"/>
                <a:gd name="connsiteX2" fmla="*/ 20110 w 20114"/>
                <a:gd name="connsiteY2" fmla="*/ 6806 h 20363"/>
                <a:gd name="connsiteX3" fmla="*/ 20111 w 20114"/>
                <a:gd name="connsiteY3" fmla="*/ 10972 h 20363"/>
                <a:gd name="connsiteX4" fmla="*/ 14145 w 20114"/>
                <a:gd name="connsiteY4" fmla="*/ 20347 h 20363"/>
                <a:gd name="connsiteX5" fmla="*/ 11936 w 20114"/>
                <a:gd name="connsiteY5" fmla="*/ 20363 h 20363"/>
                <a:gd name="connsiteX6" fmla="*/ 215 w 20114"/>
                <a:gd name="connsiteY6" fmla="*/ 7940 h 20363"/>
                <a:gd name="connsiteX7" fmla="*/ 151 w 20114"/>
                <a:gd name="connsiteY7" fmla="*/ 6363 h 20363"/>
                <a:gd name="connsiteX8" fmla="*/ 1486 w 20114"/>
                <a:gd name="connsiteY8" fmla="*/ 17 h 20363"/>
                <a:gd name="connsiteX0" fmla="*/ 1476 w 20104"/>
                <a:gd name="connsiteY0" fmla="*/ 17 h 20363"/>
                <a:gd name="connsiteX1" fmla="*/ 2201 w 20104"/>
                <a:gd name="connsiteY1" fmla="*/ 0 h 20363"/>
                <a:gd name="connsiteX2" fmla="*/ 20100 w 20104"/>
                <a:gd name="connsiteY2" fmla="*/ 6806 h 20363"/>
                <a:gd name="connsiteX3" fmla="*/ 20101 w 20104"/>
                <a:gd name="connsiteY3" fmla="*/ 10972 h 20363"/>
                <a:gd name="connsiteX4" fmla="*/ 14135 w 20104"/>
                <a:gd name="connsiteY4" fmla="*/ 20347 h 20363"/>
                <a:gd name="connsiteX5" fmla="*/ 11926 w 20104"/>
                <a:gd name="connsiteY5" fmla="*/ 20363 h 20363"/>
                <a:gd name="connsiteX6" fmla="*/ 205 w 20104"/>
                <a:gd name="connsiteY6" fmla="*/ 7940 h 20363"/>
                <a:gd name="connsiteX7" fmla="*/ 141 w 20104"/>
                <a:gd name="connsiteY7" fmla="*/ 6363 h 20363"/>
                <a:gd name="connsiteX8" fmla="*/ 1476 w 20104"/>
                <a:gd name="connsiteY8" fmla="*/ 17 h 20363"/>
                <a:gd name="connsiteX0" fmla="*/ 1470 w 20098"/>
                <a:gd name="connsiteY0" fmla="*/ 17 h 20363"/>
                <a:gd name="connsiteX1" fmla="*/ 2195 w 20098"/>
                <a:gd name="connsiteY1" fmla="*/ 0 h 20363"/>
                <a:gd name="connsiteX2" fmla="*/ 20094 w 20098"/>
                <a:gd name="connsiteY2" fmla="*/ 6806 h 20363"/>
                <a:gd name="connsiteX3" fmla="*/ 20095 w 20098"/>
                <a:gd name="connsiteY3" fmla="*/ 10972 h 20363"/>
                <a:gd name="connsiteX4" fmla="*/ 14129 w 20098"/>
                <a:gd name="connsiteY4" fmla="*/ 20347 h 20363"/>
                <a:gd name="connsiteX5" fmla="*/ 11920 w 20098"/>
                <a:gd name="connsiteY5" fmla="*/ 20363 h 20363"/>
                <a:gd name="connsiteX6" fmla="*/ 199 w 20098"/>
                <a:gd name="connsiteY6" fmla="*/ 7940 h 20363"/>
                <a:gd name="connsiteX7" fmla="*/ 135 w 20098"/>
                <a:gd name="connsiteY7" fmla="*/ 6363 h 20363"/>
                <a:gd name="connsiteX8" fmla="*/ 1470 w 20098"/>
                <a:gd name="connsiteY8" fmla="*/ 17 h 20363"/>
                <a:gd name="connsiteX0" fmla="*/ 1499 w 20127"/>
                <a:gd name="connsiteY0" fmla="*/ 17 h 20363"/>
                <a:gd name="connsiteX1" fmla="*/ 2224 w 20127"/>
                <a:gd name="connsiteY1" fmla="*/ 0 h 20363"/>
                <a:gd name="connsiteX2" fmla="*/ 20123 w 20127"/>
                <a:gd name="connsiteY2" fmla="*/ 6806 h 20363"/>
                <a:gd name="connsiteX3" fmla="*/ 20124 w 20127"/>
                <a:gd name="connsiteY3" fmla="*/ 10972 h 20363"/>
                <a:gd name="connsiteX4" fmla="*/ 14158 w 20127"/>
                <a:gd name="connsiteY4" fmla="*/ 20347 h 20363"/>
                <a:gd name="connsiteX5" fmla="*/ 11949 w 20127"/>
                <a:gd name="connsiteY5" fmla="*/ 20363 h 20363"/>
                <a:gd name="connsiteX6" fmla="*/ 228 w 20127"/>
                <a:gd name="connsiteY6" fmla="*/ 7940 h 20363"/>
                <a:gd name="connsiteX7" fmla="*/ 164 w 20127"/>
                <a:gd name="connsiteY7" fmla="*/ 6363 h 20363"/>
                <a:gd name="connsiteX8" fmla="*/ 1499 w 20127"/>
                <a:gd name="connsiteY8" fmla="*/ 17 h 20363"/>
                <a:gd name="connsiteX0" fmla="*/ 1499 w 20127"/>
                <a:gd name="connsiteY0" fmla="*/ 17 h 20347"/>
                <a:gd name="connsiteX1" fmla="*/ 2224 w 20127"/>
                <a:gd name="connsiteY1" fmla="*/ 0 h 20347"/>
                <a:gd name="connsiteX2" fmla="*/ 20123 w 20127"/>
                <a:gd name="connsiteY2" fmla="*/ 6806 h 20347"/>
                <a:gd name="connsiteX3" fmla="*/ 20124 w 20127"/>
                <a:gd name="connsiteY3" fmla="*/ 10972 h 20347"/>
                <a:gd name="connsiteX4" fmla="*/ 14158 w 20127"/>
                <a:gd name="connsiteY4" fmla="*/ 20347 h 20347"/>
                <a:gd name="connsiteX5" fmla="*/ 11886 w 20127"/>
                <a:gd name="connsiteY5" fmla="*/ 20288 h 20347"/>
                <a:gd name="connsiteX6" fmla="*/ 228 w 20127"/>
                <a:gd name="connsiteY6" fmla="*/ 7940 h 20347"/>
                <a:gd name="connsiteX7" fmla="*/ 164 w 20127"/>
                <a:gd name="connsiteY7" fmla="*/ 6363 h 20347"/>
                <a:gd name="connsiteX8" fmla="*/ 1499 w 20127"/>
                <a:gd name="connsiteY8" fmla="*/ 17 h 20347"/>
                <a:gd name="connsiteX0" fmla="*/ 1499 w 20127"/>
                <a:gd name="connsiteY0" fmla="*/ 17 h 20288"/>
                <a:gd name="connsiteX1" fmla="*/ 2224 w 20127"/>
                <a:gd name="connsiteY1" fmla="*/ 0 h 20288"/>
                <a:gd name="connsiteX2" fmla="*/ 20123 w 20127"/>
                <a:gd name="connsiteY2" fmla="*/ 6806 h 20288"/>
                <a:gd name="connsiteX3" fmla="*/ 20124 w 20127"/>
                <a:gd name="connsiteY3" fmla="*/ 10972 h 20288"/>
                <a:gd name="connsiteX4" fmla="*/ 14185 w 20127"/>
                <a:gd name="connsiteY4" fmla="*/ 20272 h 20288"/>
                <a:gd name="connsiteX5" fmla="*/ 11886 w 20127"/>
                <a:gd name="connsiteY5" fmla="*/ 20288 h 20288"/>
                <a:gd name="connsiteX6" fmla="*/ 228 w 20127"/>
                <a:gd name="connsiteY6" fmla="*/ 7940 h 20288"/>
                <a:gd name="connsiteX7" fmla="*/ 164 w 20127"/>
                <a:gd name="connsiteY7" fmla="*/ 6363 h 20288"/>
                <a:gd name="connsiteX8" fmla="*/ 1499 w 20127"/>
                <a:gd name="connsiteY8" fmla="*/ 17 h 20288"/>
                <a:gd name="connsiteX0" fmla="*/ 1499 w 20123"/>
                <a:gd name="connsiteY0" fmla="*/ 17 h 20288"/>
                <a:gd name="connsiteX1" fmla="*/ 2224 w 20123"/>
                <a:gd name="connsiteY1" fmla="*/ 0 h 20288"/>
                <a:gd name="connsiteX2" fmla="*/ 20123 w 20123"/>
                <a:gd name="connsiteY2" fmla="*/ 6806 h 20288"/>
                <a:gd name="connsiteX3" fmla="*/ 20066 w 20123"/>
                <a:gd name="connsiteY3" fmla="*/ 11052 h 20288"/>
                <a:gd name="connsiteX4" fmla="*/ 14185 w 20123"/>
                <a:gd name="connsiteY4" fmla="*/ 20272 h 20288"/>
                <a:gd name="connsiteX5" fmla="*/ 11886 w 20123"/>
                <a:gd name="connsiteY5" fmla="*/ 20288 h 20288"/>
                <a:gd name="connsiteX6" fmla="*/ 228 w 20123"/>
                <a:gd name="connsiteY6" fmla="*/ 7940 h 20288"/>
                <a:gd name="connsiteX7" fmla="*/ 164 w 20123"/>
                <a:gd name="connsiteY7" fmla="*/ 6363 h 20288"/>
                <a:gd name="connsiteX8" fmla="*/ 1499 w 20123"/>
                <a:gd name="connsiteY8" fmla="*/ 17 h 20288"/>
                <a:gd name="connsiteX0" fmla="*/ 1499 w 20084"/>
                <a:gd name="connsiteY0" fmla="*/ 17 h 20288"/>
                <a:gd name="connsiteX1" fmla="*/ 2224 w 20084"/>
                <a:gd name="connsiteY1" fmla="*/ 0 h 20288"/>
                <a:gd name="connsiteX2" fmla="*/ 20084 w 20084"/>
                <a:gd name="connsiteY2" fmla="*/ 6796 h 20288"/>
                <a:gd name="connsiteX3" fmla="*/ 20066 w 20084"/>
                <a:gd name="connsiteY3" fmla="*/ 11052 h 20288"/>
                <a:gd name="connsiteX4" fmla="*/ 14185 w 20084"/>
                <a:gd name="connsiteY4" fmla="*/ 20272 h 20288"/>
                <a:gd name="connsiteX5" fmla="*/ 11886 w 20084"/>
                <a:gd name="connsiteY5" fmla="*/ 20288 h 20288"/>
                <a:gd name="connsiteX6" fmla="*/ 228 w 20084"/>
                <a:gd name="connsiteY6" fmla="*/ 7940 h 20288"/>
                <a:gd name="connsiteX7" fmla="*/ 164 w 20084"/>
                <a:gd name="connsiteY7" fmla="*/ 6363 h 20288"/>
                <a:gd name="connsiteX8" fmla="*/ 1499 w 20084"/>
                <a:gd name="connsiteY8" fmla="*/ 17 h 2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84" h="20288">
                  <a:moveTo>
                    <a:pt x="1499" y="17"/>
                  </a:moveTo>
                  <a:lnTo>
                    <a:pt x="2224" y="0"/>
                  </a:lnTo>
                  <a:lnTo>
                    <a:pt x="20084" y="6796"/>
                  </a:lnTo>
                  <a:cubicBezTo>
                    <a:pt x="20073" y="8162"/>
                    <a:pt x="20077" y="9686"/>
                    <a:pt x="20066" y="11052"/>
                  </a:cubicBezTo>
                  <a:lnTo>
                    <a:pt x="14185" y="20272"/>
                  </a:lnTo>
                  <a:lnTo>
                    <a:pt x="11886" y="20288"/>
                  </a:lnTo>
                  <a:lnTo>
                    <a:pt x="228" y="7940"/>
                  </a:lnTo>
                  <a:cubicBezTo>
                    <a:pt x="-154" y="7593"/>
                    <a:pt x="27" y="7059"/>
                    <a:pt x="164" y="6363"/>
                  </a:cubicBezTo>
                  <a:cubicBezTo>
                    <a:pt x="301" y="5667"/>
                    <a:pt x="1193" y="1080"/>
                    <a:pt x="1499" y="1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 name="Slide Number Placeholder 5">
            <a:extLst>
              <a:ext uri="{FF2B5EF4-FFF2-40B4-BE49-F238E27FC236}">
                <a16:creationId xmlns:a16="http://schemas.microsoft.com/office/drawing/2014/main" id="{5F816A80-5BBF-1E47-88C4-EBA80563F44D}"/>
              </a:ext>
            </a:extLst>
          </p:cNvPr>
          <p:cNvSpPr>
            <a:spLocks noGrp="1"/>
          </p:cNvSpPr>
          <p:nvPr>
            <p:ph type="sldNum" sz="quarter" idx="4"/>
          </p:nvPr>
        </p:nvSpPr>
        <p:spPr>
          <a:xfrm>
            <a:off x="359999" y="6264872"/>
            <a:ext cx="360000" cy="360000"/>
          </a:xfrm>
          <a:prstGeom prst="rect">
            <a:avLst/>
          </a:prstGeom>
        </p:spPr>
        <p:txBody>
          <a:bodyPr vert="horz" lIns="91440" tIns="45720" rIns="91440" bIns="45720" rtlCol="0" anchor="ctr"/>
          <a:lstStyle>
            <a:lvl1pPr algn="l">
              <a:defRPr sz="800" b="0" i="0">
                <a:solidFill>
                  <a:schemeClr val="tx1"/>
                </a:solidFill>
                <a:latin typeface="Arial" panose="020B0604020202020204" pitchFamily="34" charset="0"/>
                <a:cs typeface="Arial" panose="020B0604020202020204" pitchFamily="34" charset="0"/>
              </a:defRPr>
            </a:lvl1pPr>
          </a:lstStyle>
          <a:p>
            <a:fld id="{52BD4378-72E1-444F-8B73-E4C8D03E6D72}" type="slidenum">
              <a:rPr lang="en-MY" smtClean="0"/>
              <a:t>‹#›</a:t>
            </a:fld>
            <a:endParaRPr lang="en-MY"/>
          </a:p>
        </p:txBody>
      </p:sp>
      <p:sp>
        <p:nvSpPr>
          <p:cNvPr id="26" name="Text Placeholder 4">
            <a:extLst>
              <a:ext uri="{FF2B5EF4-FFF2-40B4-BE49-F238E27FC236}">
                <a16:creationId xmlns:a16="http://schemas.microsoft.com/office/drawing/2014/main" id="{DC2EF7AB-FA76-E740-AA3A-B85DC08846B9}"/>
              </a:ext>
            </a:extLst>
          </p:cNvPr>
          <p:cNvSpPr>
            <a:spLocks noGrp="1"/>
          </p:cNvSpPr>
          <p:nvPr>
            <p:ph type="body" sz="quarter" idx="12" hasCustomPrompt="1"/>
          </p:nvPr>
        </p:nvSpPr>
        <p:spPr>
          <a:xfrm>
            <a:off x="360000" y="1800000"/>
            <a:ext cx="3600000" cy="2916793"/>
          </a:xfrm>
        </p:spPr>
        <p:txBody>
          <a:bodyPr>
            <a:noAutofit/>
          </a:bodyPr>
          <a:lstStyle>
            <a:lvl1pPr marL="0" indent="0">
              <a:buClr>
                <a:schemeClr val="tx2"/>
              </a:buClr>
              <a:buSzPct val="125000"/>
              <a:buFontTx/>
              <a:buNone/>
              <a:defRPr/>
            </a:lvl1pPr>
            <a:lvl2pPr marL="742950" indent="-285750">
              <a:buClr>
                <a:schemeClr val="tx2"/>
              </a:buClr>
              <a:buSzPct val="125000"/>
              <a:buFont typeface="Courier New" panose="02070309020205020404" pitchFamily="49" charset="0"/>
              <a:buChar char="o"/>
              <a:defRPr/>
            </a:lvl2pPr>
            <a:lvl3pPr marL="1143000" indent="-228600">
              <a:buClr>
                <a:schemeClr val="tx2"/>
              </a:buClr>
              <a:buSzPct val="125000"/>
              <a:buFont typeface="Courier New" panose="02070309020205020404" pitchFamily="49" charset="0"/>
              <a:buChar char="o"/>
              <a:defRPr/>
            </a:lvl3pPr>
            <a:lvl4pPr marL="1600200" indent="-228600">
              <a:buClr>
                <a:schemeClr val="tx2"/>
              </a:buClr>
              <a:buSzPct val="125000"/>
              <a:buFont typeface="Courier New" panose="02070309020205020404" pitchFamily="49" charset="0"/>
              <a:buChar char="o"/>
              <a:defRPr/>
            </a:lvl4pPr>
            <a:lvl5pPr marL="2057400" indent="-228600">
              <a:buClr>
                <a:schemeClr val="tx2"/>
              </a:buClr>
              <a:buSzPct val="125000"/>
              <a:buFont typeface="Courier New" panose="02070309020205020404" pitchFamily="49" charset="0"/>
              <a:buChar char="o"/>
              <a:defRPr/>
            </a:lvl5pPr>
          </a:lstStyle>
          <a:p>
            <a:pPr lvl="0"/>
            <a:r>
              <a:rPr lang="en-GB" err="1"/>
              <a:t>Bodycopy</a:t>
            </a:r>
            <a:r>
              <a:rPr lang="en-GB"/>
              <a:t> in here</a:t>
            </a:r>
            <a:endParaRPr lang="en-US"/>
          </a:p>
        </p:txBody>
      </p:sp>
      <p:sp>
        <p:nvSpPr>
          <p:cNvPr id="11" name="Text Placeholder 11">
            <a:extLst>
              <a:ext uri="{FF2B5EF4-FFF2-40B4-BE49-F238E27FC236}">
                <a16:creationId xmlns:a16="http://schemas.microsoft.com/office/drawing/2014/main" id="{C416DFEB-DACB-924F-A0DE-B4316BAC521B}"/>
              </a:ext>
            </a:extLst>
          </p:cNvPr>
          <p:cNvSpPr>
            <a:spLocks noGrp="1"/>
          </p:cNvSpPr>
          <p:nvPr>
            <p:ph type="body" sz="quarter" idx="10" hasCustomPrompt="1"/>
          </p:nvPr>
        </p:nvSpPr>
        <p:spPr>
          <a:xfrm>
            <a:off x="360000" y="540000"/>
            <a:ext cx="4703377" cy="1338676"/>
          </a:xfrm>
          <a:prstGeom prst="rect">
            <a:avLst/>
          </a:prstGeom>
          <a:noFill/>
        </p:spPr>
        <p:txBody>
          <a:bodyPr>
            <a:noAutofit/>
          </a:bodyPr>
          <a:lstStyle>
            <a:lvl1pPr>
              <a:lnSpc>
                <a:spcPts val="3200"/>
              </a:lnSpc>
              <a:defRPr sz="3600">
                <a:solidFill>
                  <a:srgbClr val="333D47"/>
                </a:solidFill>
              </a:defRPr>
            </a:lvl1pPr>
            <a:lvl2pPr marL="457200" indent="0">
              <a:buNone/>
              <a:defRPr/>
            </a:lvl2pPr>
          </a:lstStyle>
          <a:p>
            <a:pPr lvl="0"/>
            <a:r>
              <a:rPr lang="en-US"/>
              <a:t>Headline</a:t>
            </a:r>
          </a:p>
        </p:txBody>
      </p:sp>
      <p:sp>
        <p:nvSpPr>
          <p:cNvPr id="13" name="TextBox 12">
            <a:extLst>
              <a:ext uri="{FF2B5EF4-FFF2-40B4-BE49-F238E27FC236}">
                <a16:creationId xmlns:a16="http://schemas.microsoft.com/office/drawing/2014/main" id="{20EFCF51-C41D-BA4F-BDFF-31E461EE73D2}"/>
              </a:ext>
            </a:extLst>
          </p:cNvPr>
          <p:cNvSpPr txBox="1"/>
          <p:nvPr/>
        </p:nvSpPr>
        <p:spPr>
          <a:xfrm>
            <a:off x="-1170000" y="2440557"/>
            <a:ext cx="1052488" cy="1785104"/>
          </a:xfrm>
          <a:prstGeom prst="rect">
            <a:avLst/>
          </a:prstGeom>
          <a:solidFill>
            <a:schemeClr val="bg1"/>
          </a:solidFill>
        </p:spPr>
        <p:txBody>
          <a:bodyPr wrap="square" rtlCol="0">
            <a:spAutoFit/>
          </a:bodyPr>
          <a:lstStyle/>
          <a:p>
            <a:pPr algn="l"/>
            <a:r>
              <a:rPr lang="en-US" sz="1000">
                <a:solidFill>
                  <a:srgbClr val="333D47"/>
                </a:solidFill>
                <a:latin typeface="Arial" panose="020B0604020202020204" pitchFamily="34" charset="0"/>
                <a:cs typeface="Arial" panose="020B0604020202020204" pitchFamily="34" charset="0"/>
              </a:rPr>
              <a:t>The image can be replaced here and master view</a:t>
            </a:r>
          </a:p>
          <a:p>
            <a:pPr algn="l"/>
            <a:endParaRPr lang="en-US" sz="1000">
              <a:solidFill>
                <a:srgbClr val="333D47"/>
              </a:solidFill>
              <a:latin typeface="Arial" panose="020B0604020202020204" pitchFamily="34" charset="0"/>
              <a:cs typeface="Arial" panose="020B0604020202020204" pitchFamily="34" charset="0"/>
            </a:endParaRPr>
          </a:p>
          <a:p>
            <a:pPr algn="l"/>
            <a:r>
              <a:rPr lang="en-GB" sz="1000">
                <a:latin typeface="Helvetica Neue" panose="02000503000000020004" pitchFamily="2" charset="0"/>
              </a:rPr>
              <a:t>Please </a:t>
            </a:r>
            <a:r>
              <a:rPr lang="en-GB" sz="1000" b="1">
                <a:latin typeface="Helvetica Neue" panose="02000503000000020004" pitchFamily="2" charset="0"/>
              </a:rPr>
              <a:t>do not </a:t>
            </a:r>
            <a:r>
              <a:rPr lang="en-GB" sz="1000">
                <a:latin typeface="Helvetica Neue" panose="02000503000000020004" pitchFamily="2" charset="0"/>
              </a:rPr>
              <a:t>use any internal photo competition participants’ images</a:t>
            </a:r>
            <a:endParaRPr lang="en-US" sz="1000">
              <a:solidFill>
                <a:srgbClr val="333D47"/>
              </a:solidFill>
            </a:endParaRPr>
          </a:p>
        </p:txBody>
      </p:sp>
      <p:sp>
        <p:nvSpPr>
          <p:cNvPr id="9" name="Trapezoid 5">
            <a:extLst>
              <a:ext uri="{FF2B5EF4-FFF2-40B4-BE49-F238E27FC236}">
                <a16:creationId xmlns:a16="http://schemas.microsoft.com/office/drawing/2014/main" id="{85CACE13-5B9C-0341-8ED9-D566C17DA216}"/>
              </a:ext>
            </a:extLst>
          </p:cNvPr>
          <p:cNvSpPr/>
          <p:nvPr/>
        </p:nvSpPr>
        <p:spPr>
          <a:xfrm>
            <a:off x="5115600" y="315416"/>
            <a:ext cx="7095600" cy="6560112"/>
          </a:xfrm>
          <a:custGeom>
            <a:avLst/>
            <a:gdLst>
              <a:gd name="connsiteX0" fmla="*/ 0 w 3508169"/>
              <a:gd name="connsiteY0" fmla="*/ 3543337 h 3543337"/>
              <a:gd name="connsiteX1" fmla="*/ 877042 w 3508169"/>
              <a:gd name="connsiteY1" fmla="*/ 0 h 3543337"/>
              <a:gd name="connsiteX2" fmla="*/ 2631127 w 3508169"/>
              <a:gd name="connsiteY2" fmla="*/ 0 h 3543337"/>
              <a:gd name="connsiteX3" fmla="*/ 3508169 w 3508169"/>
              <a:gd name="connsiteY3" fmla="*/ 3543337 h 3543337"/>
              <a:gd name="connsiteX4" fmla="*/ 0 w 3508169"/>
              <a:gd name="connsiteY4" fmla="*/ 3543337 h 3543337"/>
              <a:gd name="connsiteX0" fmla="*/ 0 w 6086008"/>
              <a:gd name="connsiteY0" fmla="*/ 5470415 h 5470415"/>
              <a:gd name="connsiteX1" fmla="*/ 877042 w 6086008"/>
              <a:gd name="connsiteY1" fmla="*/ 1927078 h 5470415"/>
              <a:gd name="connsiteX2" fmla="*/ 6086008 w 6086008"/>
              <a:gd name="connsiteY2" fmla="*/ 0 h 5470415"/>
              <a:gd name="connsiteX3" fmla="*/ 3508169 w 6086008"/>
              <a:gd name="connsiteY3" fmla="*/ 5470415 h 5470415"/>
              <a:gd name="connsiteX4" fmla="*/ 0 w 6086008"/>
              <a:gd name="connsiteY4" fmla="*/ 5470415 h 5470415"/>
              <a:gd name="connsiteX0" fmla="*/ 0 w 6086008"/>
              <a:gd name="connsiteY0" fmla="*/ 5470415 h 5470415"/>
              <a:gd name="connsiteX1" fmla="*/ 877042 w 6086008"/>
              <a:gd name="connsiteY1" fmla="*/ 1927078 h 5470415"/>
              <a:gd name="connsiteX2" fmla="*/ 6086008 w 6086008"/>
              <a:gd name="connsiteY2" fmla="*/ 0 h 5470415"/>
              <a:gd name="connsiteX3" fmla="*/ 6057143 w 6086008"/>
              <a:gd name="connsiteY3" fmla="*/ 3419009 h 5470415"/>
              <a:gd name="connsiteX4" fmla="*/ 0 w 6086008"/>
              <a:gd name="connsiteY4" fmla="*/ 5470415 h 5470415"/>
              <a:gd name="connsiteX0" fmla="*/ 3048556 w 5208966"/>
              <a:gd name="connsiteY0" fmla="*/ 6607124 h 6607124"/>
              <a:gd name="connsiteX1" fmla="*/ 0 w 5208966"/>
              <a:gd name="connsiteY1" fmla="*/ 1927078 h 6607124"/>
              <a:gd name="connsiteX2" fmla="*/ 5208966 w 5208966"/>
              <a:gd name="connsiteY2" fmla="*/ 0 h 6607124"/>
              <a:gd name="connsiteX3" fmla="*/ 5180101 w 5208966"/>
              <a:gd name="connsiteY3" fmla="*/ 3419009 h 6607124"/>
              <a:gd name="connsiteX4" fmla="*/ 3048556 w 5208966"/>
              <a:gd name="connsiteY4" fmla="*/ 6607124 h 6607124"/>
              <a:gd name="connsiteX0" fmla="*/ 4833726 w 6994136"/>
              <a:gd name="connsiteY0" fmla="*/ 6607124 h 6607124"/>
              <a:gd name="connsiteX1" fmla="*/ 0 w 6994136"/>
              <a:gd name="connsiteY1" fmla="*/ 2193494 h 6607124"/>
              <a:gd name="connsiteX2" fmla="*/ 6994136 w 6994136"/>
              <a:gd name="connsiteY2" fmla="*/ 0 h 6607124"/>
              <a:gd name="connsiteX3" fmla="*/ 6965271 w 6994136"/>
              <a:gd name="connsiteY3" fmla="*/ 3419009 h 6607124"/>
              <a:gd name="connsiteX4" fmla="*/ 4833726 w 6994136"/>
              <a:gd name="connsiteY4" fmla="*/ 6607124 h 6607124"/>
              <a:gd name="connsiteX0" fmla="*/ 4833726 w 6994136"/>
              <a:gd name="connsiteY0" fmla="*/ 6607124 h 6607124"/>
              <a:gd name="connsiteX1" fmla="*/ 1405487 w 6994136"/>
              <a:gd name="connsiteY1" fmla="*/ 3490053 h 6607124"/>
              <a:gd name="connsiteX2" fmla="*/ 0 w 6994136"/>
              <a:gd name="connsiteY2" fmla="*/ 2193494 h 6607124"/>
              <a:gd name="connsiteX3" fmla="*/ 6994136 w 6994136"/>
              <a:gd name="connsiteY3" fmla="*/ 0 h 6607124"/>
              <a:gd name="connsiteX4" fmla="*/ 6965271 w 6994136"/>
              <a:gd name="connsiteY4" fmla="*/ 3419009 h 6607124"/>
              <a:gd name="connsiteX5" fmla="*/ 4833726 w 6994136"/>
              <a:gd name="connsiteY5" fmla="*/ 6607124 h 6607124"/>
              <a:gd name="connsiteX0" fmla="*/ 4833726 w 6994136"/>
              <a:gd name="connsiteY0" fmla="*/ 6607124 h 6607124"/>
              <a:gd name="connsiteX1" fmla="*/ 4078801 w 6994136"/>
              <a:gd name="connsiteY1" fmla="*/ 6571601 h 6607124"/>
              <a:gd name="connsiteX2" fmla="*/ 0 w 6994136"/>
              <a:gd name="connsiteY2" fmla="*/ 2193494 h 6607124"/>
              <a:gd name="connsiteX3" fmla="*/ 6994136 w 6994136"/>
              <a:gd name="connsiteY3" fmla="*/ 0 h 6607124"/>
              <a:gd name="connsiteX4" fmla="*/ 6965271 w 6994136"/>
              <a:gd name="connsiteY4" fmla="*/ 3419009 h 6607124"/>
              <a:gd name="connsiteX5" fmla="*/ 4833726 w 6994136"/>
              <a:gd name="connsiteY5" fmla="*/ 6607124 h 6607124"/>
              <a:gd name="connsiteX0" fmla="*/ 4833726 w 6994136"/>
              <a:gd name="connsiteY0" fmla="*/ 6553841 h 6571601"/>
              <a:gd name="connsiteX1" fmla="*/ 4078801 w 6994136"/>
              <a:gd name="connsiteY1" fmla="*/ 6571601 h 6571601"/>
              <a:gd name="connsiteX2" fmla="*/ 0 w 6994136"/>
              <a:gd name="connsiteY2" fmla="*/ 2193494 h 6571601"/>
              <a:gd name="connsiteX3" fmla="*/ 6994136 w 6994136"/>
              <a:gd name="connsiteY3" fmla="*/ 0 h 6571601"/>
              <a:gd name="connsiteX4" fmla="*/ 6965271 w 6994136"/>
              <a:gd name="connsiteY4" fmla="*/ 3419009 h 6571601"/>
              <a:gd name="connsiteX5" fmla="*/ 4833726 w 6994136"/>
              <a:gd name="connsiteY5" fmla="*/ 6553841 h 6571601"/>
              <a:gd name="connsiteX0" fmla="*/ 4833726 w 6994136"/>
              <a:gd name="connsiteY0" fmla="*/ 6553841 h 6553841"/>
              <a:gd name="connsiteX1" fmla="*/ 4061039 w 6994136"/>
              <a:gd name="connsiteY1" fmla="*/ 6544959 h 6553841"/>
              <a:gd name="connsiteX2" fmla="*/ 0 w 6994136"/>
              <a:gd name="connsiteY2" fmla="*/ 2193494 h 6553841"/>
              <a:gd name="connsiteX3" fmla="*/ 6994136 w 6994136"/>
              <a:gd name="connsiteY3" fmla="*/ 0 h 6553841"/>
              <a:gd name="connsiteX4" fmla="*/ 6965271 w 6994136"/>
              <a:gd name="connsiteY4" fmla="*/ 3419009 h 6553841"/>
              <a:gd name="connsiteX5" fmla="*/ 4833726 w 6994136"/>
              <a:gd name="connsiteY5" fmla="*/ 6553841 h 6553841"/>
              <a:gd name="connsiteX0" fmla="*/ 4895896 w 7056306"/>
              <a:gd name="connsiteY0" fmla="*/ 6553841 h 6553841"/>
              <a:gd name="connsiteX1" fmla="*/ 4123209 w 7056306"/>
              <a:gd name="connsiteY1" fmla="*/ 6544959 h 6553841"/>
              <a:gd name="connsiteX2" fmla="*/ 0 w 7056306"/>
              <a:gd name="connsiteY2" fmla="*/ 2193494 h 6553841"/>
              <a:gd name="connsiteX3" fmla="*/ 7056306 w 7056306"/>
              <a:gd name="connsiteY3" fmla="*/ 0 h 6553841"/>
              <a:gd name="connsiteX4" fmla="*/ 7027441 w 7056306"/>
              <a:gd name="connsiteY4" fmla="*/ 3419009 h 6553841"/>
              <a:gd name="connsiteX5" fmla="*/ 4895896 w 7056306"/>
              <a:gd name="connsiteY5" fmla="*/ 6553841 h 6553841"/>
              <a:gd name="connsiteX0" fmla="*/ 4895896 w 7056306"/>
              <a:gd name="connsiteY0" fmla="*/ 6553841 h 6553841"/>
              <a:gd name="connsiteX1" fmla="*/ 4123209 w 7056306"/>
              <a:gd name="connsiteY1" fmla="*/ 6544959 h 6553841"/>
              <a:gd name="connsiteX2" fmla="*/ 197612 w 7056306"/>
              <a:gd name="connsiteY2" fmla="*/ 2397746 h 6553841"/>
              <a:gd name="connsiteX3" fmla="*/ 0 w 7056306"/>
              <a:gd name="connsiteY3" fmla="*/ 2193494 h 6553841"/>
              <a:gd name="connsiteX4" fmla="*/ 7056306 w 7056306"/>
              <a:gd name="connsiteY4" fmla="*/ 0 h 6553841"/>
              <a:gd name="connsiteX5" fmla="*/ 7027441 w 7056306"/>
              <a:gd name="connsiteY5" fmla="*/ 3419009 h 6553841"/>
              <a:gd name="connsiteX6" fmla="*/ 4895896 w 7056306"/>
              <a:gd name="connsiteY6" fmla="*/ 6553841 h 6553841"/>
              <a:gd name="connsiteX0" fmla="*/ 4895896 w 7056306"/>
              <a:gd name="connsiteY0" fmla="*/ 6553841 h 6553841"/>
              <a:gd name="connsiteX1" fmla="*/ 4123209 w 7056306"/>
              <a:gd name="connsiteY1" fmla="*/ 6544959 h 6553841"/>
              <a:gd name="connsiteX2" fmla="*/ 91034 w 7056306"/>
              <a:gd name="connsiteY2" fmla="*/ 2442148 h 6553841"/>
              <a:gd name="connsiteX3" fmla="*/ 0 w 7056306"/>
              <a:gd name="connsiteY3" fmla="*/ 2193494 h 6553841"/>
              <a:gd name="connsiteX4" fmla="*/ 7056306 w 7056306"/>
              <a:gd name="connsiteY4" fmla="*/ 0 h 6553841"/>
              <a:gd name="connsiteX5" fmla="*/ 7027441 w 7056306"/>
              <a:gd name="connsiteY5" fmla="*/ 3419009 h 6553841"/>
              <a:gd name="connsiteX6" fmla="*/ 4895896 w 7056306"/>
              <a:gd name="connsiteY6" fmla="*/ 6553841 h 6553841"/>
              <a:gd name="connsiteX0" fmla="*/ 4922142 w 7082552"/>
              <a:gd name="connsiteY0" fmla="*/ 6553841 h 6553841"/>
              <a:gd name="connsiteX1" fmla="*/ 4149455 w 7082552"/>
              <a:gd name="connsiteY1" fmla="*/ 6544959 h 6553841"/>
              <a:gd name="connsiteX2" fmla="*/ 117280 w 7082552"/>
              <a:gd name="connsiteY2" fmla="*/ 2442148 h 6553841"/>
              <a:gd name="connsiteX3" fmla="*/ 26246 w 7082552"/>
              <a:gd name="connsiteY3" fmla="*/ 2193494 h 6553841"/>
              <a:gd name="connsiteX4" fmla="*/ 7082552 w 7082552"/>
              <a:gd name="connsiteY4" fmla="*/ 0 h 6553841"/>
              <a:gd name="connsiteX5" fmla="*/ 7053687 w 7082552"/>
              <a:gd name="connsiteY5" fmla="*/ 3419009 h 6553841"/>
              <a:gd name="connsiteX6" fmla="*/ 4922142 w 7082552"/>
              <a:gd name="connsiteY6" fmla="*/ 6553841 h 6553841"/>
              <a:gd name="connsiteX0" fmla="*/ 4950971 w 7111381"/>
              <a:gd name="connsiteY0" fmla="*/ 6553841 h 6553841"/>
              <a:gd name="connsiteX1" fmla="*/ 4178284 w 7111381"/>
              <a:gd name="connsiteY1" fmla="*/ 6544959 h 6553841"/>
              <a:gd name="connsiteX2" fmla="*/ 146109 w 7111381"/>
              <a:gd name="connsiteY2" fmla="*/ 2442148 h 6553841"/>
              <a:gd name="connsiteX3" fmla="*/ 55075 w 7111381"/>
              <a:gd name="connsiteY3" fmla="*/ 2193494 h 6553841"/>
              <a:gd name="connsiteX4" fmla="*/ 7111381 w 7111381"/>
              <a:gd name="connsiteY4" fmla="*/ 0 h 6553841"/>
              <a:gd name="connsiteX5" fmla="*/ 7082516 w 7111381"/>
              <a:gd name="connsiteY5" fmla="*/ 3419009 h 6553841"/>
              <a:gd name="connsiteX6" fmla="*/ 4950971 w 7111381"/>
              <a:gd name="connsiteY6" fmla="*/ 6553841 h 6553841"/>
              <a:gd name="connsiteX0" fmla="*/ 4963653 w 7124063"/>
              <a:gd name="connsiteY0" fmla="*/ 6553841 h 6553841"/>
              <a:gd name="connsiteX1" fmla="*/ 4190966 w 7124063"/>
              <a:gd name="connsiteY1" fmla="*/ 6544959 h 6553841"/>
              <a:gd name="connsiteX2" fmla="*/ 158791 w 7124063"/>
              <a:gd name="connsiteY2" fmla="*/ 2442148 h 6553841"/>
              <a:gd name="connsiteX3" fmla="*/ 67757 w 7124063"/>
              <a:gd name="connsiteY3" fmla="*/ 2193494 h 6553841"/>
              <a:gd name="connsiteX4" fmla="*/ 7124063 w 7124063"/>
              <a:gd name="connsiteY4" fmla="*/ 0 h 6553841"/>
              <a:gd name="connsiteX5" fmla="*/ 7095198 w 7124063"/>
              <a:gd name="connsiteY5" fmla="*/ 3419009 h 6553841"/>
              <a:gd name="connsiteX6" fmla="*/ 4963653 w 7124063"/>
              <a:gd name="connsiteY6" fmla="*/ 6553841 h 6553841"/>
              <a:gd name="connsiteX0" fmla="*/ 4951680 w 7112090"/>
              <a:gd name="connsiteY0" fmla="*/ 6553841 h 6553841"/>
              <a:gd name="connsiteX1" fmla="*/ 4178993 w 7112090"/>
              <a:gd name="connsiteY1" fmla="*/ 6544959 h 6553841"/>
              <a:gd name="connsiteX2" fmla="*/ 146818 w 7112090"/>
              <a:gd name="connsiteY2" fmla="*/ 2442148 h 6553841"/>
              <a:gd name="connsiteX3" fmla="*/ 78234 w 7112090"/>
              <a:gd name="connsiteY3" fmla="*/ 2187080 h 6553841"/>
              <a:gd name="connsiteX4" fmla="*/ 7112090 w 7112090"/>
              <a:gd name="connsiteY4" fmla="*/ 0 h 6553841"/>
              <a:gd name="connsiteX5" fmla="*/ 7083225 w 7112090"/>
              <a:gd name="connsiteY5" fmla="*/ 3419009 h 6553841"/>
              <a:gd name="connsiteX6" fmla="*/ 4951680 w 7112090"/>
              <a:gd name="connsiteY6" fmla="*/ 6553841 h 6553841"/>
              <a:gd name="connsiteX0" fmla="*/ 4951680 w 7083225"/>
              <a:gd name="connsiteY0" fmla="*/ 6527921 h 6527921"/>
              <a:gd name="connsiteX1" fmla="*/ 4178993 w 7083225"/>
              <a:gd name="connsiteY1" fmla="*/ 6519039 h 6527921"/>
              <a:gd name="connsiteX2" fmla="*/ 146818 w 7083225"/>
              <a:gd name="connsiteY2" fmla="*/ 2416228 h 6527921"/>
              <a:gd name="connsiteX3" fmla="*/ 78234 w 7083225"/>
              <a:gd name="connsiteY3" fmla="*/ 2161160 h 6527921"/>
              <a:gd name="connsiteX4" fmla="*/ 7077534 w 7083225"/>
              <a:gd name="connsiteY4" fmla="*/ 0 h 6527921"/>
              <a:gd name="connsiteX5" fmla="*/ 7083225 w 7083225"/>
              <a:gd name="connsiteY5" fmla="*/ 3393089 h 6527921"/>
              <a:gd name="connsiteX6" fmla="*/ 4951680 w 7083225"/>
              <a:gd name="connsiteY6" fmla="*/ 6527921 h 6527921"/>
              <a:gd name="connsiteX0" fmla="*/ 4996130 w 7083225"/>
              <a:gd name="connsiteY0" fmla="*/ 6521571 h 6521571"/>
              <a:gd name="connsiteX1" fmla="*/ 4178993 w 7083225"/>
              <a:gd name="connsiteY1" fmla="*/ 6519039 h 6521571"/>
              <a:gd name="connsiteX2" fmla="*/ 146818 w 7083225"/>
              <a:gd name="connsiteY2" fmla="*/ 2416228 h 6521571"/>
              <a:gd name="connsiteX3" fmla="*/ 78234 w 7083225"/>
              <a:gd name="connsiteY3" fmla="*/ 2161160 h 6521571"/>
              <a:gd name="connsiteX4" fmla="*/ 7077534 w 7083225"/>
              <a:gd name="connsiteY4" fmla="*/ 0 h 6521571"/>
              <a:gd name="connsiteX5" fmla="*/ 7083225 w 7083225"/>
              <a:gd name="connsiteY5" fmla="*/ 3393089 h 6521571"/>
              <a:gd name="connsiteX6" fmla="*/ 4996130 w 7083225"/>
              <a:gd name="connsiteY6" fmla="*/ 6521571 h 6521571"/>
              <a:gd name="connsiteX0" fmla="*/ 4996130 w 7083225"/>
              <a:gd name="connsiteY0" fmla="*/ 6521571 h 6525389"/>
              <a:gd name="connsiteX1" fmla="*/ 4182168 w 7083225"/>
              <a:gd name="connsiteY1" fmla="*/ 6525389 h 6525389"/>
              <a:gd name="connsiteX2" fmla="*/ 146818 w 7083225"/>
              <a:gd name="connsiteY2" fmla="*/ 2416228 h 6525389"/>
              <a:gd name="connsiteX3" fmla="*/ 78234 w 7083225"/>
              <a:gd name="connsiteY3" fmla="*/ 2161160 h 6525389"/>
              <a:gd name="connsiteX4" fmla="*/ 7077534 w 7083225"/>
              <a:gd name="connsiteY4" fmla="*/ 0 h 6525389"/>
              <a:gd name="connsiteX5" fmla="*/ 7083225 w 7083225"/>
              <a:gd name="connsiteY5" fmla="*/ 3393089 h 6525389"/>
              <a:gd name="connsiteX6" fmla="*/ 4996130 w 7083225"/>
              <a:gd name="connsiteY6" fmla="*/ 6521571 h 6525389"/>
              <a:gd name="connsiteX0" fmla="*/ 4996130 w 7084961"/>
              <a:gd name="connsiteY0" fmla="*/ 6532712 h 6536530"/>
              <a:gd name="connsiteX1" fmla="*/ 4182168 w 7084961"/>
              <a:gd name="connsiteY1" fmla="*/ 6536530 h 6536530"/>
              <a:gd name="connsiteX2" fmla="*/ 146818 w 7084961"/>
              <a:gd name="connsiteY2" fmla="*/ 2427369 h 6536530"/>
              <a:gd name="connsiteX3" fmla="*/ 78234 w 7084961"/>
              <a:gd name="connsiteY3" fmla="*/ 2172301 h 6536530"/>
              <a:gd name="connsiteX4" fmla="*/ 7084961 w 7084961"/>
              <a:gd name="connsiteY4" fmla="*/ 0 h 6536530"/>
              <a:gd name="connsiteX5" fmla="*/ 7083225 w 7084961"/>
              <a:gd name="connsiteY5" fmla="*/ 3404230 h 6536530"/>
              <a:gd name="connsiteX6" fmla="*/ 4996130 w 7084961"/>
              <a:gd name="connsiteY6" fmla="*/ 6532712 h 6536530"/>
              <a:gd name="connsiteX0" fmla="*/ 5013784 w 7084961"/>
              <a:gd name="connsiteY0" fmla="*/ 6536242 h 6536530"/>
              <a:gd name="connsiteX1" fmla="*/ 4182168 w 7084961"/>
              <a:gd name="connsiteY1" fmla="*/ 6536530 h 6536530"/>
              <a:gd name="connsiteX2" fmla="*/ 146818 w 7084961"/>
              <a:gd name="connsiteY2" fmla="*/ 2427369 h 6536530"/>
              <a:gd name="connsiteX3" fmla="*/ 78234 w 7084961"/>
              <a:gd name="connsiteY3" fmla="*/ 2172301 h 6536530"/>
              <a:gd name="connsiteX4" fmla="*/ 7084961 w 7084961"/>
              <a:gd name="connsiteY4" fmla="*/ 0 h 6536530"/>
              <a:gd name="connsiteX5" fmla="*/ 7083225 w 7084961"/>
              <a:gd name="connsiteY5" fmla="*/ 3404230 h 6536530"/>
              <a:gd name="connsiteX6" fmla="*/ 5013784 w 7084961"/>
              <a:gd name="connsiteY6" fmla="*/ 6536242 h 6536530"/>
              <a:gd name="connsiteX0" fmla="*/ 5013784 w 7084961"/>
              <a:gd name="connsiteY0" fmla="*/ 6536242 h 6547121"/>
              <a:gd name="connsiteX1" fmla="*/ 4185699 w 7084961"/>
              <a:gd name="connsiteY1" fmla="*/ 6547121 h 6547121"/>
              <a:gd name="connsiteX2" fmla="*/ 146818 w 7084961"/>
              <a:gd name="connsiteY2" fmla="*/ 2427369 h 6547121"/>
              <a:gd name="connsiteX3" fmla="*/ 78234 w 7084961"/>
              <a:gd name="connsiteY3" fmla="*/ 2172301 h 6547121"/>
              <a:gd name="connsiteX4" fmla="*/ 7084961 w 7084961"/>
              <a:gd name="connsiteY4" fmla="*/ 0 h 6547121"/>
              <a:gd name="connsiteX5" fmla="*/ 7083225 w 7084961"/>
              <a:gd name="connsiteY5" fmla="*/ 3404230 h 6547121"/>
              <a:gd name="connsiteX6" fmla="*/ 5013784 w 7084961"/>
              <a:gd name="connsiteY6" fmla="*/ 6536242 h 6547121"/>
              <a:gd name="connsiteX0" fmla="*/ 5013784 w 7086830"/>
              <a:gd name="connsiteY0" fmla="*/ 6536242 h 6547121"/>
              <a:gd name="connsiteX1" fmla="*/ 4185699 w 7086830"/>
              <a:gd name="connsiteY1" fmla="*/ 6547121 h 6547121"/>
              <a:gd name="connsiteX2" fmla="*/ 146818 w 7086830"/>
              <a:gd name="connsiteY2" fmla="*/ 2427369 h 6547121"/>
              <a:gd name="connsiteX3" fmla="*/ 78234 w 7086830"/>
              <a:gd name="connsiteY3" fmla="*/ 2172301 h 6547121"/>
              <a:gd name="connsiteX4" fmla="*/ 7084961 w 7086830"/>
              <a:gd name="connsiteY4" fmla="*/ 0 h 6547121"/>
              <a:gd name="connsiteX5" fmla="*/ 7086755 w 7086830"/>
              <a:gd name="connsiteY5" fmla="*/ 3425413 h 6547121"/>
              <a:gd name="connsiteX6" fmla="*/ 5013784 w 7086830"/>
              <a:gd name="connsiteY6" fmla="*/ 6536242 h 6547121"/>
              <a:gd name="connsiteX0" fmla="*/ 5013784 w 7099083"/>
              <a:gd name="connsiteY0" fmla="*/ 6543303 h 6554182"/>
              <a:gd name="connsiteX1" fmla="*/ 4185699 w 7099083"/>
              <a:gd name="connsiteY1" fmla="*/ 6554182 h 6554182"/>
              <a:gd name="connsiteX2" fmla="*/ 146818 w 7099083"/>
              <a:gd name="connsiteY2" fmla="*/ 2434430 h 6554182"/>
              <a:gd name="connsiteX3" fmla="*/ 78234 w 7099083"/>
              <a:gd name="connsiteY3" fmla="*/ 2179362 h 6554182"/>
              <a:gd name="connsiteX4" fmla="*/ 7099083 w 7099083"/>
              <a:gd name="connsiteY4" fmla="*/ 0 h 6554182"/>
              <a:gd name="connsiteX5" fmla="*/ 7086755 w 7099083"/>
              <a:gd name="connsiteY5" fmla="*/ 3432474 h 6554182"/>
              <a:gd name="connsiteX6" fmla="*/ 5013784 w 7099083"/>
              <a:gd name="connsiteY6" fmla="*/ 6543303 h 6554182"/>
              <a:gd name="connsiteX0" fmla="*/ 4996305 w 7081604"/>
              <a:gd name="connsiteY0" fmla="*/ 6543303 h 6554182"/>
              <a:gd name="connsiteX1" fmla="*/ 4168220 w 7081604"/>
              <a:gd name="connsiteY1" fmla="*/ 6554182 h 6554182"/>
              <a:gd name="connsiteX2" fmla="*/ 129339 w 7081604"/>
              <a:gd name="connsiteY2" fmla="*/ 2434430 h 6554182"/>
              <a:gd name="connsiteX3" fmla="*/ 98856 w 7081604"/>
              <a:gd name="connsiteY3" fmla="*/ 2169837 h 6554182"/>
              <a:gd name="connsiteX4" fmla="*/ 7081604 w 7081604"/>
              <a:gd name="connsiteY4" fmla="*/ 0 h 6554182"/>
              <a:gd name="connsiteX5" fmla="*/ 7069276 w 7081604"/>
              <a:gd name="connsiteY5" fmla="*/ 3432474 h 6554182"/>
              <a:gd name="connsiteX6" fmla="*/ 4996305 w 7081604"/>
              <a:gd name="connsiteY6" fmla="*/ 6543303 h 6554182"/>
              <a:gd name="connsiteX0" fmla="*/ 4989581 w 7081604"/>
              <a:gd name="connsiteY0" fmla="*/ 6553388 h 6554182"/>
              <a:gd name="connsiteX1" fmla="*/ 4168220 w 7081604"/>
              <a:gd name="connsiteY1" fmla="*/ 6554182 h 6554182"/>
              <a:gd name="connsiteX2" fmla="*/ 129339 w 7081604"/>
              <a:gd name="connsiteY2" fmla="*/ 2434430 h 6554182"/>
              <a:gd name="connsiteX3" fmla="*/ 98856 w 7081604"/>
              <a:gd name="connsiteY3" fmla="*/ 2169837 h 6554182"/>
              <a:gd name="connsiteX4" fmla="*/ 7081604 w 7081604"/>
              <a:gd name="connsiteY4" fmla="*/ 0 h 6554182"/>
              <a:gd name="connsiteX5" fmla="*/ 7069276 w 7081604"/>
              <a:gd name="connsiteY5" fmla="*/ 3432474 h 6554182"/>
              <a:gd name="connsiteX6" fmla="*/ 4989581 w 7081604"/>
              <a:gd name="connsiteY6" fmla="*/ 6553388 h 6554182"/>
              <a:gd name="connsiteX0" fmla="*/ 5006391 w 7081604"/>
              <a:gd name="connsiteY0" fmla="*/ 6556750 h 6556750"/>
              <a:gd name="connsiteX1" fmla="*/ 4168220 w 7081604"/>
              <a:gd name="connsiteY1" fmla="*/ 6554182 h 6556750"/>
              <a:gd name="connsiteX2" fmla="*/ 129339 w 7081604"/>
              <a:gd name="connsiteY2" fmla="*/ 2434430 h 6556750"/>
              <a:gd name="connsiteX3" fmla="*/ 98856 w 7081604"/>
              <a:gd name="connsiteY3" fmla="*/ 2169837 h 6556750"/>
              <a:gd name="connsiteX4" fmla="*/ 7081604 w 7081604"/>
              <a:gd name="connsiteY4" fmla="*/ 0 h 6556750"/>
              <a:gd name="connsiteX5" fmla="*/ 7069276 w 7081604"/>
              <a:gd name="connsiteY5" fmla="*/ 3432474 h 6556750"/>
              <a:gd name="connsiteX6" fmla="*/ 5006391 w 7081604"/>
              <a:gd name="connsiteY6" fmla="*/ 6556750 h 6556750"/>
              <a:gd name="connsiteX0" fmla="*/ 5006391 w 7092829"/>
              <a:gd name="connsiteY0" fmla="*/ 6556750 h 6556750"/>
              <a:gd name="connsiteX1" fmla="*/ 4168220 w 7092829"/>
              <a:gd name="connsiteY1" fmla="*/ 6554182 h 6556750"/>
              <a:gd name="connsiteX2" fmla="*/ 129339 w 7092829"/>
              <a:gd name="connsiteY2" fmla="*/ 2434430 h 6556750"/>
              <a:gd name="connsiteX3" fmla="*/ 98856 w 7092829"/>
              <a:gd name="connsiteY3" fmla="*/ 2169837 h 6556750"/>
              <a:gd name="connsiteX4" fmla="*/ 7081604 w 7092829"/>
              <a:gd name="connsiteY4" fmla="*/ 0 h 6556750"/>
              <a:gd name="connsiteX5" fmla="*/ 7092810 w 7092829"/>
              <a:gd name="connsiteY5" fmla="*/ 3405580 h 6556750"/>
              <a:gd name="connsiteX6" fmla="*/ 5006391 w 7092829"/>
              <a:gd name="connsiteY6" fmla="*/ 6556750 h 6556750"/>
              <a:gd name="connsiteX0" fmla="*/ 5006391 w 7095052"/>
              <a:gd name="connsiteY0" fmla="*/ 6560112 h 6560112"/>
              <a:gd name="connsiteX1" fmla="*/ 4168220 w 7095052"/>
              <a:gd name="connsiteY1" fmla="*/ 6557544 h 6560112"/>
              <a:gd name="connsiteX2" fmla="*/ 129339 w 7095052"/>
              <a:gd name="connsiteY2" fmla="*/ 2437792 h 6560112"/>
              <a:gd name="connsiteX3" fmla="*/ 98856 w 7095052"/>
              <a:gd name="connsiteY3" fmla="*/ 2173199 h 6560112"/>
              <a:gd name="connsiteX4" fmla="*/ 7095052 w 7095052"/>
              <a:gd name="connsiteY4" fmla="*/ 0 h 6560112"/>
              <a:gd name="connsiteX5" fmla="*/ 7092810 w 7095052"/>
              <a:gd name="connsiteY5" fmla="*/ 3408942 h 6560112"/>
              <a:gd name="connsiteX6" fmla="*/ 5006391 w 7095052"/>
              <a:gd name="connsiteY6" fmla="*/ 6560112 h 6560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5052" h="6560112">
                <a:moveTo>
                  <a:pt x="5006391" y="6560112"/>
                </a:moveTo>
                <a:lnTo>
                  <a:pt x="4168220" y="6557544"/>
                </a:lnTo>
                <a:lnTo>
                  <a:pt x="129339" y="2437792"/>
                </a:lnTo>
                <a:cubicBezTo>
                  <a:pt x="-87432" y="2226747"/>
                  <a:pt x="15569" y="2212951"/>
                  <a:pt x="98856" y="2173199"/>
                </a:cubicBezTo>
                <a:lnTo>
                  <a:pt x="7095052" y="0"/>
                </a:lnTo>
                <a:cubicBezTo>
                  <a:pt x="7094473" y="1134743"/>
                  <a:pt x="7093389" y="2274199"/>
                  <a:pt x="7092810" y="3408942"/>
                </a:cubicBezTo>
                <a:lnTo>
                  <a:pt x="5006391" y="6560112"/>
                </a:lnTo>
                <a:close/>
              </a:path>
            </a:pathLst>
          </a:custGeom>
          <a:blipFill dpi="0" rotWithShape="1">
            <a:blip r:embed="rId2" cstate="print">
              <a:extLst>
                <a:ext uri="{28A0092B-C50C-407E-A947-70E740481C1C}">
                  <a14:useLocalDpi xmlns:a14="http://schemas.microsoft.com/office/drawing/2010/main"/>
                </a:ext>
              </a:extLst>
            </a:blip>
            <a:srcRect/>
            <a:stretch>
              <a:fillRect t="33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a:p>
        </p:txBody>
      </p:sp>
    </p:spTree>
    <p:extLst>
      <p:ext uri="{BB962C8B-B14F-4D97-AF65-F5344CB8AC3E}">
        <p14:creationId xmlns:p14="http://schemas.microsoft.com/office/powerpoint/2010/main" val="284813316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451061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34109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434"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827573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1114887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98470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482"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156533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10303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896859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478984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489902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7747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482968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IA_Image Bullet Points">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7A9C2DFE-FC06-A548-89EB-E2FF0A7831BC}"/>
              </a:ext>
            </a:extLst>
          </p:cNvPr>
          <p:cNvGrpSpPr/>
          <p:nvPr/>
        </p:nvGrpSpPr>
        <p:grpSpPr>
          <a:xfrm>
            <a:off x="5106938" y="-11628"/>
            <a:ext cx="7088670" cy="6870279"/>
            <a:chOff x="5106938" y="-11628"/>
            <a:chExt cx="7088670" cy="6870279"/>
          </a:xfrm>
        </p:grpSpPr>
        <p:sp>
          <p:nvSpPr>
            <p:cNvPr id="18" name="Manual Input 7">
              <a:extLst>
                <a:ext uri="{FF2B5EF4-FFF2-40B4-BE49-F238E27FC236}">
                  <a16:creationId xmlns:a16="http://schemas.microsoft.com/office/drawing/2014/main" id="{7A4D7415-91EB-2D48-9A63-B3A540D994D4}"/>
                </a:ext>
              </a:extLst>
            </p:cNvPr>
            <p:cNvSpPr/>
            <p:nvPr userDrawn="1"/>
          </p:nvSpPr>
          <p:spPr>
            <a:xfrm>
              <a:off x="5129811" y="-1"/>
              <a:ext cx="7065797" cy="685801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4419 h 12419"/>
                <a:gd name="connsiteX1" fmla="*/ 4692 w 10000"/>
                <a:gd name="connsiteY1" fmla="*/ 0 h 12419"/>
                <a:gd name="connsiteX2" fmla="*/ 10000 w 10000"/>
                <a:gd name="connsiteY2" fmla="*/ 12419 h 12419"/>
                <a:gd name="connsiteX3" fmla="*/ 0 w 10000"/>
                <a:gd name="connsiteY3" fmla="*/ 12419 h 12419"/>
                <a:gd name="connsiteX4" fmla="*/ 0 w 10000"/>
                <a:gd name="connsiteY4" fmla="*/ 4419 h 12419"/>
                <a:gd name="connsiteX0" fmla="*/ 0 w 12463"/>
                <a:gd name="connsiteY0" fmla="*/ 4419 h 12419"/>
                <a:gd name="connsiteX1" fmla="*/ 4692 w 12463"/>
                <a:gd name="connsiteY1" fmla="*/ 0 h 12419"/>
                <a:gd name="connsiteX2" fmla="*/ 12463 w 12463"/>
                <a:gd name="connsiteY2" fmla="*/ 109 h 12419"/>
                <a:gd name="connsiteX3" fmla="*/ 0 w 12463"/>
                <a:gd name="connsiteY3" fmla="*/ 12419 h 12419"/>
                <a:gd name="connsiteX4" fmla="*/ 0 w 12463"/>
                <a:gd name="connsiteY4" fmla="*/ 4419 h 12419"/>
                <a:gd name="connsiteX0" fmla="*/ 0 w 12463"/>
                <a:gd name="connsiteY0" fmla="*/ 4419 h 12419"/>
                <a:gd name="connsiteX1" fmla="*/ 4692 w 12463"/>
                <a:gd name="connsiteY1" fmla="*/ 0 h 12419"/>
                <a:gd name="connsiteX2" fmla="*/ 12463 w 12463"/>
                <a:gd name="connsiteY2" fmla="*/ 109 h 12419"/>
                <a:gd name="connsiteX3" fmla="*/ 11261 w 12463"/>
                <a:gd name="connsiteY3" fmla="*/ 1300 h 12419"/>
                <a:gd name="connsiteX4" fmla="*/ 0 w 12463"/>
                <a:gd name="connsiteY4" fmla="*/ 12419 h 12419"/>
                <a:gd name="connsiteX5" fmla="*/ 0 w 12463"/>
                <a:gd name="connsiteY5" fmla="*/ 4419 h 12419"/>
                <a:gd name="connsiteX0" fmla="*/ 0 w 12463"/>
                <a:gd name="connsiteY0" fmla="*/ 4419 h 12419"/>
                <a:gd name="connsiteX1" fmla="*/ 4692 w 12463"/>
                <a:gd name="connsiteY1" fmla="*/ 0 h 12419"/>
                <a:gd name="connsiteX2" fmla="*/ 12463 w 12463"/>
                <a:gd name="connsiteY2" fmla="*/ 109 h 12419"/>
                <a:gd name="connsiteX3" fmla="*/ 12405 w 12463"/>
                <a:gd name="connsiteY3" fmla="*/ 1083 h 12419"/>
                <a:gd name="connsiteX4" fmla="*/ 0 w 12463"/>
                <a:gd name="connsiteY4" fmla="*/ 12419 h 12419"/>
                <a:gd name="connsiteX5" fmla="*/ 0 w 12463"/>
                <a:gd name="connsiteY5" fmla="*/ 4419 h 12419"/>
                <a:gd name="connsiteX0" fmla="*/ 0 w 17771"/>
                <a:gd name="connsiteY0" fmla="*/ 7849 h 12419"/>
                <a:gd name="connsiteX1" fmla="*/ 10000 w 17771"/>
                <a:gd name="connsiteY1" fmla="*/ 0 h 12419"/>
                <a:gd name="connsiteX2" fmla="*/ 17771 w 17771"/>
                <a:gd name="connsiteY2" fmla="*/ 109 h 12419"/>
                <a:gd name="connsiteX3" fmla="*/ 17713 w 17771"/>
                <a:gd name="connsiteY3" fmla="*/ 1083 h 12419"/>
                <a:gd name="connsiteX4" fmla="*/ 5308 w 17771"/>
                <a:gd name="connsiteY4" fmla="*/ 12419 h 12419"/>
                <a:gd name="connsiteX5" fmla="*/ 0 w 17771"/>
                <a:gd name="connsiteY5" fmla="*/ 7849 h 12419"/>
                <a:gd name="connsiteX0" fmla="*/ 0 w 17771"/>
                <a:gd name="connsiteY0" fmla="*/ 7849 h 21444"/>
                <a:gd name="connsiteX1" fmla="*/ 10000 w 17771"/>
                <a:gd name="connsiteY1" fmla="*/ 0 h 21444"/>
                <a:gd name="connsiteX2" fmla="*/ 17771 w 17771"/>
                <a:gd name="connsiteY2" fmla="*/ 109 h 21444"/>
                <a:gd name="connsiteX3" fmla="*/ 17713 w 17771"/>
                <a:gd name="connsiteY3" fmla="*/ 1083 h 21444"/>
                <a:gd name="connsiteX4" fmla="*/ 10645 w 17771"/>
                <a:gd name="connsiteY4" fmla="*/ 21444 h 21444"/>
                <a:gd name="connsiteX5" fmla="*/ 0 w 17771"/>
                <a:gd name="connsiteY5" fmla="*/ 7849 h 21444"/>
                <a:gd name="connsiteX0" fmla="*/ 0 w 17771"/>
                <a:gd name="connsiteY0" fmla="*/ 7849 h 21444"/>
                <a:gd name="connsiteX1" fmla="*/ 10000 w 17771"/>
                <a:gd name="connsiteY1" fmla="*/ 0 h 21444"/>
                <a:gd name="connsiteX2" fmla="*/ 17771 w 17771"/>
                <a:gd name="connsiteY2" fmla="*/ 109 h 21444"/>
                <a:gd name="connsiteX3" fmla="*/ 17713 w 17771"/>
                <a:gd name="connsiteY3" fmla="*/ 1083 h 21444"/>
                <a:gd name="connsiteX4" fmla="*/ 11906 w 17771"/>
                <a:gd name="connsiteY4" fmla="*/ 17726 h 21444"/>
                <a:gd name="connsiteX5" fmla="*/ 10645 w 17771"/>
                <a:gd name="connsiteY5" fmla="*/ 21444 h 21444"/>
                <a:gd name="connsiteX6" fmla="*/ 0 w 17771"/>
                <a:gd name="connsiteY6" fmla="*/ 7849 h 21444"/>
                <a:gd name="connsiteX0" fmla="*/ 0 w 17771"/>
                <a:gd name="connsiteY0" fmla="*/ 7849 h 21444"/>
                <a:gd name="connsiteX1" fmla="*/ 10000 w 17771"/>
                <a:gd name="connsiteY1" fmla="*/ 0 h 21444"/>
                <a:gd name="connsiteX2" fmla="*/ 17771 w 17771"/>
                <a:gd name="connsiteY2" fmla="*/ 109 h 21444"/>
                <a:gd name="connsiteX3" fmla="*/ 17713 w 17771"/>
                <a:gd name="connsiteY3" fmla="*/ 1083 h 21444"/>
                <a:gd name="connsiteX4" fmla="*/ 12463 w 17771"/>
                <a:gd name="connsiteY4" fmla="*/ 21192 h 21444"/>
                <a:gd name="connsiteX5" fmla="*/ 10645 w 17771"/>
                <a:gd name="connsiteY5" fmla="*/ 21444 h 21444"/>
                <a:gd name="connsiteX6" fmla="*/ 0 w 17771"/>
                <a:gd name="connsiteY6" fmla="*/ 7849 h 21444"/>
                <a:gd name="connsiteX0" fmla="*/ 0 w 17771"/>
                <a:gd name="connsiteY0" fmla="*/ 7849 h 21192"/>
                <a:gd name="connsiteX1" fmla="*/ 10000 w 17771"/>
                <a:gd name="connsiteY1" fmla="*/ 0 h 21192"/>
                <a:gd name="connsiteX2" fmla="*/ 17771 w 17771"/>
                <a:gd name="connsiteY2" fmla="*/ 109 h 21192"/>
                <a:gd name="connsiteX3" fmla="*/ 17713 w 17771"/>
                <a:gd name="connsiteY3" fmla="*/ 1083 h 21192"/>
                <a:gd name="connsiteX4" fmla="*/ 12463 w 17771"/>
                <a:gd name="connsiteY4" fmla="*/ 21192 h 21192"/>
                <a:gd name="connsiteX5" fmla="*/ 10469 w 17771"/>
                <a:gd name="connsiteY5" fmla="*/ 21191 h 21192"/>
                <a:gd name="connsiteX6" fmla="*/ 0 w 17771"/>
                <a:gd name="connsiteY6" fmla="*/ 7849 h 21192"/>
                <a:gd name="connsiteX0" fmla="*/ 0 w 17771"/>
                <a:gd name="connsiteY0" fmla="*/ 7849 h 21192"/>
                <a:gd name="connsiteX1" fmla="*/ 10000 w 17771"/>
                <a:gd name="connsiteY1" fmla="*/ 0 h 21192"/>
                <a:gd name="connsiteX2" fmla="*/ 17771 w 17771"/>
                <a:gd name="connsiteY2" fmla="*/ 109 h 21192"/>
                <a:gd name="connsiteX3" fmla="*/ 17684 w 17771"/>
                <a:gd name="connsiteY3" fmla="*/ 11227 h 21192"/>
                <a:gd name="connsiteX4" fmla="*/ 12463 w 17771"/>
                <a:gd name="connsiteY4" fmla="*/ 21192 h 21192"/>
                <a:gd name="connsiteX5" fmla="*/ 10469 w 17771"/>
                <a:gd name="connsiteY5" fmla="*/ 21191 h 21192"/>
                <a:gd name="connsiteX6" fmla="*/ 0 w 17771"/>
                <a:gd name="connsiteY6" fmla="*/ 7849 h 21192"/>
                <a:gd name="connsiteX0" fmla="*/ 0 w 17712"/>
                <a:gd name="connsiteY0" fmla="*/ 8174 h 21192"/>
                <a:gd name="connsiteX1" fmla="*/ 9941 w 17712"/>
                <a:gd name="connsiteY1" fmla="*/ 0 h 21192"/>
                <a:gd name="connsiteX2" fmla="*/ 17712 w 17712"/>
                <a:gd name="connsiteY2" fmla="*/ 109 h 21192"/>
                <a:gd name="connsiteX3" fmla="*/ 17625 w 17712"/>
                <a:gd name="connsiteY3" fmla="*/ 11227 h 21192"/>
                <a:gd name="connsiteX4" fmla="*/ 12404 w 17712"/>
                <a:gd name="connsiteY4" fmla="*/ 21192 h 21192"/>
                <a:gd name="connsiteX5" fmla="*/ 10410 w 17712"/>
                <a:gd name="connsiteY5" fmla="*/ 21191 h 21192"/>
                <a:gd name="connsiteX6" fmla="*/ 0 w 17712"/>
                <a:gd name="connsiteY6" fmla="*/ 8174 h 21192"/>
                <a:gd name="connsiteX0" fmla="*/ 0 w 17712"/>
                <a:gd name="connsiteY0" fmla="*/ 8174 h 21192"/>
                <a:gd name="connsiteX1" fmla="*/ 394 w 17712"/>
                <a:gd name="connsiteY1" fmla="*/ 7814 h 21192"/>
                <a:gd name="connsiteX2" fmla="*/ 9941 w 17712"/>
                <a:gd name="connsiteY2" fmla="*/ 0 h 21192"/>
                <a:gd name="connsiteX3" fmla="*/ 17712 w 17712"/>
                <a:gd name="connsiteY3" fmla="*/ 109 h 21192"/>
                <a:gd name="connsiteX4" fmla="*/ 17625 w 17712"/>
                <a:gd name="connsiteY4" fmla="*/ 11227 h 21192"/>
                <a:gd name="connsiteX5" fmla="*/ 12404 w 17712"/>
                <a:gd name="connsiteY5" fmla="*/ 21192 h 21192"/>
                <a:gd name="connsiteX6" fmla="*/ 10410 w 17712"/>
                <a:gd name="connsiteY6" fmla="*/ 21191 h 21192"/>
                <a:gd name="connsiteX7" fmla="*/ 0 w 17712"/>
                <a:gd name="connsiteY7" fmla="*/ 8174 h 21192"/>
                <a:gd name="connsiteX0" fmla="*/ 0 w 17712"/>
                <a:gd name="connsiteY0" fmla="*/ 8174 h 21192"/>
                <a:gd name="connsiteX1" fmla="*/ 211 w 17712"/>
                <a:gd name="connsiteY1" fmla="*/ 7708 h 21192"/>
                <a:gd name="connsiteX2" fmla="*/ 9941 w 17712"/>
                <a:gd name="connsiteY2" fmla="*/ 0 h 21192"/>
                <a:gd name="connsiteX3" fmla="*/ 17712 w 17712"/>
                <a:gd name="connsiteY3" fmla="*/ 109 h 21192"/>
                <a:gd name="connsiteX4" fmla="*/ 17625 w 17712"/>
                <a:gd name="connsiteY4" fmla="*/ 11227 h 21192"/>
                <a:gd name="connsiteX5" fmla="*/ 12404 w 17712"/>
                <a:gd name="connsiteY5" fmla="*/ 21192 h 21192"/>
                <a:gd name="connsiteX6" fmla="*/ 10410 w 17712"/>
                <a:gd name="connsiteY6" fmla="*/ 21191 h 21192"/>
                <a:gd name="connsiteX7" fmla="*/ 0 w 17712"/>
                <a:gd name="connsiteY7" fmla="*/ 8174 h 21192"/>
                <a:gd name="connsiteX0" fmla="*/ 7 w 17719"/>
                <a:gd name="connsiteY0" fmla="*/ 8174 h 21192"/>
                <a:gd name="connsiteX1" fmla="*/ 218 w 17719"/>
                <a:gd name="connsiteY1" fmla="*/ 7708 h 21192"/>
                <a:gd name="connsiteX2" fmla="*/ 9948 w 17719"/>
                <a:gd name="connsiteY2" fmla="*/ 0 h 21192"/>
                <a:gd name="connsiteX3" fmla="*/ 17719 w 17719"/>
                <a:gd name="connsiteY3" fmla="*/ 109 h 21192"/>
                <a:gd name="connsiteX4" fmla="*/ 17632 w 17719"/>
                <a:gd name="connsiteY4" fmla="*/ 11227 h 21192"/>
                <a:gd name="connsiteX5" fmla="*/ 12411 w 17719"/>
                <a:gd name="connsiteY5" fmla="*/ 21192 h 21192"/>
                <a:gd name="connsiteX6" fmla="*/ 10417 w 17719"/>
                <a:gd name="connsiteY6" fmla="*/ 21191 h 21192"/>
                <a:gd name="connsiteX7" fmla="*/ 7 w 17719"/>
                <a:gd name="connsiteY7" fmla="*/ 8174 h 21192"/>
                <a:gd name="connsiteX0" fmla="*/ 51 w 17763"/>
                <a:gd name="connsiteY0" fmla="*/ 8174 h 21192"/>
                <a:gd name="connsiteX1" fmla="*/ 262 w 17763"/>
                <a:gd name="connsiteY1" fmla="*/ 7708 h 21192"/>
                <a:gd name="connsiteX2" fmla="*/ 9992 w 17763"/>
                <a:gd name="connsiteY2" fmla="*/ 0 h 21192"/>
                <a:gd name="connsiteX3" fmla="*/ 17763 w 17763"/>
                <a:gd name="connsiteY3" fmla="*/ 109 h 21192"/>
                <a:gd name="connsiteX4" fmla="*/ 17676 w 17763"/>
                <a:gd name="connsiteY4" fmla="*/ 11227 h 21192"/>
                <a:gd name="connsiteX5" fmla="*/ 12455 w 17763"/>
                <a:gd name="connsiteY5" fmla="*/ 21192 h 21192"/>
                <a:gd name="connsiteX6" fmla="*/ 10461 w 17763"/>
                <a:gd name="connsiteY6" fmla="*/ 21191 h 21192"/>
                <a:gd name="connsiteX7" fmla="*/ 51 w 17763"/>
                <a:gd name="connsiteY7" fmla="*/ 8174 h 21192"/>
                <a:gd name="connsiteX0" fmla="*/ 104 w 17713"/>
                <a:gd name="connsiteY0" fmla="*/ 8301 h 21192"/>
                <a:gd name="connsiteX1" fmla="*/ 212 w 17713"/>
                <a:gd name="connsiteY1" fmla="*/ 7708 h 21192"/>
                <a:gd name="connsiteX2" fmla="*/ 9942 w 17713"/>
                <a:gd name="connsiteY2" fmla="*/ 0 h 21192"/>
                <a:gd name="connsiteX3" fmla="*/ 17713 w 17713"/>
                <a:gd name="connsiteY3" fmla="*/ 109 h 21192"/>
                <a:gd name="connsiteX4" fmla="*/ 17626 w 17713"/>
                <a:gd name="connsiteY4" fmla="*/ 11227 h 21192"/>
                <a:gd name="connsiteX5" fmla="*/ 12405 w 17713"/>
                <a:gd name="connsiteY5" fmla="*/ 21192 h 21192"/>
                <a:gd name="connsiteX6" fmla="*/ 10411 w 17713"/>
                <a:gd name="connsiteY6" fmla="*/ 21191 h 21192"/>
                <a:gd name="connsiteX7" fmla="*/ 104 w 17713"/>
                <a:gd name="connsiteY7" fmla="*/ 8301 h 21192"/>
                <a:gd name="connsiteX0" fmla="*/ 136 w 17745"/>
                <a:gd name="connsiteY0" fmla="*/ 8301 h 21192"/>
                <a:gd name="connsiteX1" fmla="*/ 244 w 17745"/>
                <a:gd name="connsiteY1" fmla="*/ 7708 h 21192"/>
                <a:gd name="connsiteX2" fmla="*/ 9974 w 17745"/>
                <a:gd name="connsiteY2" fmla="*/ 0 h 21192"/>
                <a:gd name="connsiteX3" fmla="*/ 17745 w 17745"/>
                <a:gd name="connsiteY3" fmla="*/ 109 h 21192"/>
                <a:gd name="connsiteX4" fmla="*/ 17658 w 17745"/>
                <a:gd name="connsiteY4" fmla="*/ 11227 h 21192"/>
                <a:gd name="connsiteX5" fmla="*/ 12437 w 17745"/>
                <a:gd name="connsiteY5" fmla="*/ 21192 h 21192"/>
                <a:gd name="connsiteX6" fmla="*/ 10443 w 17745"/>
                <a:gd name="connsiteY6" fmla="*/ 21191 h 21192"/>
                <a:gd name="connsiteX7" fmla="*/ 136 w 17745"/>
                <a:gd name="connsiteY7" fmla="*/ 8301 h 21192"/>
                <a:gd name="connsiteX0" fmla="*/ 136 w 17745"/>
                <a:gd name="connsiteY0" fmla="*/ 8301 h 21192"/>
                <a:gd name="connsiteX1" fmla="*/ 244 w 17745"/>
                <a:gd name="connsiteY1" fmla="*/ 7708 h 21192"/>
                <a:gd name="connsiteX2" fmla="*/ 9974 w 17745"/>
                <a:gd name="connsiteY2" fmla="*/ 0 h 21192"/>
                <a:gd name="connsiteX3" fmla="*/ 17745 w 17745"/>
                <a:gd name="connsiteY3" fmla="*/ 109 h 21192"/>
                <a:gd name="connsiteX4" fmla="*/ 17658 w 17745"/>
                <a:gd name="connsiteY4" fmla="*/ 11227 h 21192"/>
                <a:gd name="connsiteX5" fmla="*/ 12437 w 17745"/>
                <a:gd name="connsiteY5" fmla="*/ 21192 h 21192"/>
                <a:gd name="connsiteX6" fmla="*/ 10372 w 17745"/>
                <a:gd name="connsiteY6" fmla="*/ 21191 h 21192"/>
                <a:gd name="connsiteX7" fmla="*/ 136 w 17745"/>
                <a:gd name="connsiteY7" fmla="*/ 8301 h 21192"/>
                <a:gd name="connsiteX0" fmla="*/ 136 w 17745"/>
                <a:gd name="connsiteY0" fmla="*/ 8301 h 21192"/>
                <a:gd name="connsiteX1" fmla="*/ 244 w 17745"/>
                <a:gd name="connsiteY1" fmla="*/ 7708 h 21192"/>
                <a:gd name="connsiteX2" fmla="*/ 9974 w 17745"/>
                <a:gd name="connsiteY2" fmla="*/ 0 h 21192"/>
                <a:gd name="connsiteX3" fmla="*/ 17745 w 17745"/>
                <a:gd name="connsiteY3" fmla="*/ 109 h 21192"/>
                <a:gd name="connsiteX4" fmla="*/ 17595 w 17745"/>
                <a:gd name="connsiteY4" fmla="*/ 11549 h 21192"/>
                <a:gd name="connsiteX5" fmla="*/ 12437 w 17745"/>
                <a:gd name="connsiteY5" fmla="*/ 21192 h 21192"/>
                <a:gd name="connsiteX6" fmla="*/ 10372 w 17745"/>
                <a:gd name="connsiteY6" fmla="*/ 21191 h 21192"/>
                <a:gd name="connsiteX7" fmla="*/ 136 w 17745"/>
                <a:gd name="connsiteY7" fmla="*/ 8301 h 21192"/>
                <a:gd name="connsiteX0" fmla="*/ 136 w 17600"/>
                <a:gd name="connsiteY0" fmla="*/ 8301 h 21192"/>
                <a:gd name="connsiteX1" fmla="*/ 244 w 17600"/>
                <a:gd name="connsiteY1" fmla="*/ 7708 h 21192"/>
                <a:gd name="connsiteX2" fmla="*/ 9974 w 17600"/>
                <a:gd name="connsiteY2" fmla="*/ 0 h 21192"/>
                <a:gd name="connsiteX3" fmla="*/ 17595 w 17600"/>
                <a:gd name="connsiteY3" fmla="*/ 128 h 21192"/>
                <a:gd name="connsiteX4" fmla="*/ 17595 w 17600"/>
                <a:gd name="connsiteY4" fmla="*/ 11549 h 21192"/>
                <a:gd name="connsiteX5" fmla="*/ 12437 w 17600"/>
                <a:gd name="connsiteY5" fmla="*/ 21192 h 21192"/>
                <a:gd name="connsiteX6" fmla="*/ 10372 w 17600"/>
                <a:gd name="connsiteY6" fmla="*/ 21191 h 21192"/>
                <a:gd name="connsiteX7" fmla="*/ 136 w 17600"/>
                <a:gd name="connsiteY7" fmla="*/ 8301 h 21192"/>
                <a:gd name="connsiteX0" fmla="*/ 136 w 17596"/>
                <a:gd name="connsiteY0" fmla="*/ 8301 h 21192"/>
                <a:gd name="connsiteX1" fmla="*/ 244 w 17596"/>
                <a:gd name="connsiteY1" fmla="*/ 7708 h 21192"/>
                <a:gd name="connsiteX2" fmla="*/ 9974 w 17596"/>
                <a:gd name="connsiteY2" fmla="*/ 0 h 21192"/>
                <a:gd name="connsiteX3" fmla="*/ 17445 w 17596"/>
                <a:gd name="connsiteY3" fmla="*/ 206 h 21192"/>
                <a:gd name="connsiteX4" fmla="*/ 17595 w 17596"/>
                <a:gd name="connsiteY4" fmla="*/ 11549 h 21192"/>
                <a:gd name="connsiteX5" fmla="*/ 12437 w 17596"/>
                <a:gd name="connsiteY5" fmla="*/ 21192 h 21192"/>
                <a:gd name="connsiteX6" fmla="*/ 10372 w 17596"/>
                <a:gd name="connsiteY6" fmla="*/ 21191 h 21192"/>
                <a:gd name="connsiteX7" fmla="*/ 136 w 17596"/>
                <a:gd name="connsiteY7" fmla="*/ 8301 h 21192"/>
                <a:gd name="connsiteX0" fmla="*/ 136 w 17611"/>
                <a:gd name="connsiteY0" fmla="*/ 8301 h 21192"/>
                <a:gd name="connsiteX1" fmla="*/ 244 w 17611"/>
                <a:gd name="connsiteY1" fmla="*/ 7708 h 21192"/>
                <a:gd name="connsiteX2" fmla="*/ 9974 w 17611"/>
                <a:gd name="connsiteY2" fmla="*/ 0 h 21192"/>
                <a:gd name="connsiteX3" fmla="*/ 17611 w 17611"/>
                <a:gd name="connsiteY3" fmla="*/ 128 h 21192"/>
                <a:gd name="connsiteX4" fmla="*/ 17595 w 17611"/>
                <a:gd name="connsiteY4" fmla="*/ 11549 h 21192"/>
                <a:gd name="connsiteX5" fmla="*/ 12437 w 17611"/>
                <a:gd name="connsiteY5" fmla="*/ 21192 h 21192"/>
                <a:gd name="connsiteX6" fmla="*/ 10372 w 17611"/>
                <a:gd name="connsiteY6" fmla="*/ 21191 h 21192"/>
                <a:gd name="connsiteX7" fmla="*/ 136 w 17611"/>
                <a:gd name="connsiteY7" fmla="*/ 8301 h 21192"/>
                <a:gd name="connsiteX0" fmla="*/ 136 w 17611"/>
                <a:gd name="connsiteY0" fmla="*/ 8204 h 21095"/>
                <a:gd name="connsiteX1" fmla="*/ 244 w 17611"/>
                <a:gd name="connsiteY1" fmla="*/ 7611 h 21095"/>
                <a:gd name="connsiteX2" fmla="*/ 9855 w 17611"/>
                <a:gd name="connsiteY2" fmla="*/ 0 h 21095"/>
                <a:gd name="connsiteX3" fmla="*/ 17611 w 17611"/>
                <a:gd name="connsiteY3" fmla="*/ 31 h 21095"/>
                <a:gd name="connsiteX4" fmla="*/ 17595 w 17611"/>
                <a:gd name="connsiteY4" fmla="*/ 11452 h 21095"/>
                <a:gd name="connsiteX5" fmla="*/ 12437 w 17611"/>
                <a:gd name="connsiteY5" fmla="*/ 21095 h 21095"/>
                <a:gd name="connsiteX6" fmla="*/ 10372 w 17611"/>
                <a:gd name="connsiteY6" fmla="*/ 21094 h 21095"/>
                <a:gd name="connsiteX7" fmla="*/ 136 w 17611"/>
                <a:gd name="connsiteY7" fmla="*/ 8204 h 21095"/>
                <a:gd name="connsiteX0" fmla="*/ 136 w 17600"/>
                <a:gd name="connsiteY0" fmla="*/ 8204 h 21095"/>
                <a:gd name="connsiteX1" fmla="*/ 244 w 17600"/>
                <a:gd name="connsiteY1" fmla="*/ 7611 h 21095"/>
                <a:gd name="connsiteX2" fmla="*/ 9855 w 17600"/>
                <a:gd name="connsiteY2" fmla="*/ 0 h 21095"/>
                <a:gd name="connsiteX3" fmla="*/ 17595 w 17600"/>
                <a:gd name="connsiteY3" fmla="*/ 21 h 21095"/>
                <a:gd name="connsiteX4" fmla="*/ 17595 w 17600"/>
                <a:gd name="connsiteY4" fmla="*/ 11452 h 21095"/>
                <a:gd name="connsiteX5" fmla="*/ 12437 w 17600"/>
                <a:gd name="connsiteY5" fmla="*/ 21095 h 21095"/>
                <a:gd name="connsiteX6" fmla="*/ 10372 w 17600"/>
                <a:gd name="connsiteY6" fmla="*/ 21094 h 21095"/>
                <a:gd name="connsiteX7" fmla="*/ 136 w 17600"/>
                <a:gd name="connsiteY7" fmla="*/ 8204 h 21095"/>
                <a:gd name="connsiteX0" fmla="*/ 136 w 17610"/>
                <a:gd name="connsiteY0" fmla="*/ 8204 h 21095"/>
                <a:gd name="connsiteX1" fmla="*/ 244 w 17610"/>
                <a:gd name="connsiteY1" fmla="*/ 7611 h 21095"/>
                <a:gd name="connsiteX2" fmla="*/ 9855 w 17610"/>
                <a:gd name="connsiteY2" fmla="*/ 0 h 21095"/>
                <a:gd name="connsiteX3" fmla="*/ 17595 w 17610"/>
                <a:gd name="connsiteY3" fmla="*/ 21 h 21095"/>
                <a:gd name="connsiteX4" fmla="*/ 17595 w 17610"/>
                <a:gd name="connsiteY4" fmla="*/ 11452 h 21095"/>
                <a:gd name="connsiteX5" fmla="*/ 12437 w 17610"/>
                <a:gd name="connsiteY5" fmla="*/ 21095 h 21095"/>
                <a:gd name="connsiteX6" fmla="*/ 10372 w 17610"/>
                <a:gd name="connsiteY6" fmla="*/ 21094 h 21095"/>
                <a:gd name="connsiteX7" fmla="*/ 136 w 17610"/>
                <a:gd name="connsiteY7" fmla="*/ 8204 h 21095"/>
                <a:gd name="connsiteX0" fmla="*/ 136 w 17601"/>
                <a:gd name="connsiteY0" fmla="*/ 8204 h 21095"/>
                <a:gd name="connsiteX1" fmla="*/ 244 w 17601"/>
                <a:gd name="connsiteY1" fmla="*/ 7611 h 21095"/>
                <a:gd name="connsiteX2" fmla="*/ 9855 w 17601"/>
                <a:gd name="connsiteY2" fmla="*/ 0 h 21095"/>
                <a:gd name="connsiteX3" fmla="*/ 17595 w 17601"/>
                <a:gd name="connsiteY3" fmla="*/ 21 h 21095"/>
                <a:gd name="connsiteX4" fmla="*/ 17595 w 17601"/>
                <a:gd name="connsiteY4" fmla="*/ 11452 h 21095"/>
                <a:gd name="connsiteX5" fmla="*/ 12437 w 17601"/>
                <a:gd name="connsiteY5" fmla="*/ 21095 h 21095"/>
                <a:gd name="connsiteX6" fmla="*/ 10372 w 17601"/>
                <a:gd name="connsiteY6" fmla="*/ 21094 h 21095"/>
                <a:gd name="connsiteX7" fmla="*/ 136 w 17601"/>
                <a:gd name="connsiteY7" fmla="*/ 8204 h 21095"/>
                <a:gd name="connsiteX0" fmla="*/ 136 w 17610"/>
                <a:gd name="connsiteY0" fmla="*/ 8204 h 21095"/>
                <a:gd name="connsiteX1" fmla="*/ 244 w 17610"/>
                <a:gd name="connsiteY1" fmla="*/ 7611 h 21095"/>
                <a:gd name="connsiteX2" fmla="*/ 9855 w 17610"/>
                <a:gd name="connsiteY2" fmla="*/ 0 h 21095"/>
                <a:gd name="connsiteX3" fmla="*/ 17595 w 17610"/>
                <a:gd name="connsiteY3" fmla="*/ 21 h 21095"/>
                <a:gd name="connsiteX4" fmla="*/ 17595 w 17610"/>
                <a:gd name="connsiteY4" fmla="*/ 11452 h 21095"/>
                <a:gd name="connsiteX5" fmla="*/ 12437 w 17610"/>
                <a:gd name="connsiteY5" fmla="*/ 21095 h 21095"/>
                <a:gd name="connsiteX6" fmla="*/ 10372 w 17610"/>
                <a:gd name="connsiteY6" fmla="*/ 21094 h 21095"/>
                <a:gd name="connsiteX7" fmla="*/ 136 w 17610"/>
                <a:gd name="connsiteY7" fmla="*/ 8204 h 21095"/>
                <a:gd name="connsiteX0" fmla="*/ 136 w 17620"/>
                <a:gd name="connsiteY0" fmla="*/ 8204 h 21095"/>
                <a:gd name="connsiteX1" fmla="*/ 244 w 17620"/>
                <a:gd name="connsiteY1" fmla="*/ 7611 h 21095"/>
                <a:gd name="connsiteX2" fmla="*/ 9855 w 17620"/>
                <a:gd name="connsiteY2" fmla="*/ 0 h 21095"/>
                <a:gd name="connsiteX3" fmla="*/ 17611 w 17620"/>
                <a:gd name="connsiteY3" fmla="*/ 11 h 21095"/>
                <a:gd name="connsiteX4" fmla="*/ 17595 w 17620"/>
                <a:gd name="connsiteY4" fmla="*/ 11452 h 21095"/>
                <a:gd name="connsiteX5" fmla="*/ 12437 w 17620"/>
                <a:gd name="connsiteY5" fmla="*/ 21095 h 21095"/>
                <a:gd name="connsiteX6" fmla="*/ 10372 w 17620"/>
                <a:gd name="connsiteY6" fmla="*/ 21094 h 21095"/>
                <a:gd name="connsiteX7" fmla="*/ 136 w 17620"/>
                <a:gd name="connsiteY7" fmla="*/ 8204 h 21095"/>
                <a:gd name="connsiteX0" fmla="*/ 136 w 17620"/>
                <a:gd name="connsiteY0" fmla="*/ 8204 h 21094"/>
                <a:gd name="connsiteX1" fmla="*/ 244 w 17620"/>
                <a:gd name="connsiteY1" fmla="*/ 7611 h 21094"/>
                <a:gd name="connsiteX2" fmla="*/ 9855 w 17620"/>
                <a:gd name="connsiteY2" fmla="*/ 0 h 21094"/>
                <a:gd name="connsiteX3" fmla="*/ 17611 w 17620"/>
                <a:gd name="connsiteY3" fmla="*/ 11 h 21094"/>
                <a:gd name="connsiteX4" fmla="*/ 17595 w 17620"/>
                <a:gd name="connsiteY4" fmla="*/ 11452 h 21094"/>
                <a:gd name="connsiteX5" fmla="*/ 12413 w 17620"/>
                <a:gd name="connsiteY5" fmla="*/ 21056 h 21094"/>
                <a:gd name="connsiteX6" fmla="*/ 10372 w 17620"/>
                <a:gd name="connsiteY6" fmla="*/ 21094 h 21094"/>
                <a:gd name="connsiteX7" fmla="*/ 136 w 17620"/>
                <a:gd name="connsiteY7" fmla="*/ 8204 h 21094"/>
                <a:gd name="connsiteX0" fmla="*/ 136 w 17620"/>
                <a:gd name="connsiteY0" fmla="*/ 8204 h 21056"/>
                <a:gd name="connsiteX1" fmla="*/ 244 w 17620"/>
                <a:gd name="connsiteY1" fmla="*/ 7611 h 21056"/>
                <a:gd name="connsiteX2" fmla="*/ 9855 w 17620"/>
                <a:gd name="connsiteY2" fmla="*/ 0 h 21056"/>
                <a:gd name="connsiteX3" fmla="*/ 17611 w 17620"/>
                <a:gd name="connsiteY3" fmla="*/ 11 h 21056"/>
                <a:gd name="connsiteX4" fmla="*/ 17595 w 17620"/>
                <a:gd name="connsiteY4" fmla="*/ 11452 h 21056"/>
                <a:gd name="connsiteX5" fmla="*/ 12413 w 17620"/>
                <a:gd name="connsiteY5" fmla="*/ 21056 h 21056"/>
                <a:gd name="connsiteX6" fmla="*/ 10388 w 17620"/>
                <a:gd name="connsiteY6" fmla="*/ 21055 h 21056"/>
                <a:gd name="connsiteX7" fmla="*/ 136 w 17620"/>
                <a:gd name="connsiteY7" fmla="*/ 8204 h 21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20" h="21056">
                  <a:moveTo>
                    <a:pt x="136" y="8204"/>
                  </a:moveTo>
                  <a:cubicBezTo>
                    <a:pt x="0" y="7971"/>
                    <a:pt x="-128" y="7925"/>
                    <a:pt x="244" y="7611"/>
                  </a:cubicBezTo>
                  <a:lnTo>
                    <a:pt x="9855" y="0"/>
                  </a:lnTo>
                  <a:lnTo>
                    <a:pt x="17611" y="11"/>
                  </a:lnTo>
                  <a:cubicBezTo>
                    <a:pt x="17632" y="355"/>
                    <a:pt x="17614" y="11127"/>
                    <a:pt x="17595" y="11452"/>
                  </a:cubicBezTo>
                  <a:lnTo>
                    <a:pt x="12413" y="21056"/>
                  </a:lnTo>
                  <a:lnTo>
                    <a:pt x="10388" y="21055"/>
                  </a:lnTo>
                  <a:lnTo>
                    <a:pt x="136" y="8204"/>
                  </a:lnTo>
                  <a:close/>
                </a:path>
              </a:pathLst>
            </a:cu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Manual Input 6">
              <a:extLst>
                <a:ext uri="{FF2B5EF4-FFF2-40B4-BE49-F238E27FC236}">
                  <a16:creationId xmlns:a16="http://schemas.microsoft.com/office/drawing/2014/main" id="{D16E2F02-F7C4-AD42-ABF1-F08126318039}"/>
                </a:ext>
              </a:extLst>
            </p:cNvPr>
            <p:cNvSpPr/>
            <p:nvPr userDrawn="1"/>
          </p:nvSpPr>
          <p:spPr>
            <a:xfrm>
              <a:off x="5106938" y="-11628"/>
              <a:ext cx="7085532" cy="6870279"/>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600 w 10000"/>
                <a:gd name="connsiteY0" fmla="*/ 0 h 10951"/>
                <a:gd name="connsiteX1" fmla="*/ 10000 w 10000"/>
                <a:gd name="connsiteY1" fmla="*/ 951 h 10951"/>
                <a:gd name="connsiteX2" fmla="*/ 10000 w 10000"/>
                <a:gd name="connsiteY2" fmla="*/ 10951 h 10951"/>
                <a:gd name="connsiteX3" fmla="*/ 0 w 10000"/>
                <a:gd name="connsiteY3" fmla="*/ 10951 h 10951"/>
                <a:gd name="connsiteX4" fmla="*/ 600 w 10000"/>
                <a:gd name="connsiteY4" fmla="*/ 0 h 10951"/>
                <a:gd name="connsiteX0" fmla="*/ 600 w 10933"/>
                <a:gd name="connsiteY0" fmla="*/ 0 h 10951"/>
                <a:gd name="connsiteX1" fmla="*/ 10933 w 10933"/>
                <a:gd name="connsiteY1" fmla="*/ 3694 h 10951"/>
                <a:gd name="connsiteX2" fmla="*/ 10000 w 10933"/>
                <a:gd name="connsiteY2" fmla="*/ 10951 h 10951"/>
                <a:gd name="connsiteX3" fmla="*/ 0 w 10933"/>
                <a:gd name="connsiteY3" fmla="*/ 10951 h 10951"/>
                <a:gd name="connsiteX4" fmla="*/ 600 w 10933"/>
                <a:gd name="connsiteY4" fmla="*/ 0 h 10951"/>
                <a:gd name="connsiteX0" fmla="*/ 600 w 20533"/>
                <a:gd name="connsiteY0" fmla="*/ 0 h 10951"/>
                <a:gd name="connsiteX1" fmla="*/ 20533 w 20533"/>
                <a:gd name="connsiteY1" fmla="*/ 7132 h 10951"/>
                <a:gd name="connsiteX2" fmla="*/ 10000 w 20533"/>
                <a:gd name="connsiteY2" fmla="*/ 10951 h 10951"/>
                <a:gd name="connsiteX3" fmla="*/ 0 w 20533"/>
                <a:gd name="connsiteY3" fmla="*/ 10951 h 10951"/>
                <a:gd name="connsiteX4" fmla="*/ 600 w 20533"/>
                <a:gd name="connsiteY4" fmla="*/ 0 h 10951"/>
                <a:gd name="connsiteX0" fmla="*/ 600 w 20533"/>
                <a:gd name="connsiteY0" fmla="*/ 0 h 20569"/>
                <a:gd name="connsiteX1" fmla="*/ 20533 w 20533"/>
                <a:gd name="connsiteY1" fmla="*/ 7132 h 20569"/>
                <a:gd name="connsiteX2" fmla="*/ 13100 w 20533"/>
                <a:gd name="connsiteY2" fmla="*/ 20569 h 20569"/>
                <a:gd name="connsiteX3" fmla="*/ 0 w 20533"/>
                <a:gd name="connsiteY3" fmla="*/ 10951 h 20569"/>
                <a:gd name="connsiteX4" fmla="*/ 600 w 20533"/>
                <a:gd name="connsiteY4" fmla="*/ 0 h 20569"/>
                <a:gd name="connsiteX0" fmla="*/ 600 w 20533"/>
                <a:gd name="connsiteY0" fmla="*/ 0 h 20569"/>
                <a:gd name="connsiteX1" fmla="*/ 20533 w 20533"/>
                <a:gd name="connsiteY1" fmla="*/ 7132 h 20569"/>
                <a:gd name="connsiteX2" fmla="*/ 19400 w 20533"/>
                <a:gd name="connsiteY2" fmla="*/ 9076 h 20569"/>
                <a:gd name="connsiteX3" fmla="*/ 13100 w 20533"/>
                <a:gd name="connsiteY3" fmla="*/ 20569 h 20569"/>
                <a:gd name="connsiteX4" fmla="*/ 0 w 20533"/>
                <a:gd name="connsiteY4" fmla="*/ 10951 h 20569"/>
                <a:gd name="connsiteX5" fmla="*/ 600 w 20533"/>
                <a:gd name="connsiteY5" fmla="*/ 0 h 20569"/>
                <a:gd name="connsiteX0" fmla="*/ 600 w 20533"/>
                <a:gd name="connsiteY0" fmla="*/ 0 h 20569"/>
                <a:gd name="connsiteX1" fmla="*/ 20533 w 20533"/>
                <a:gd name="connsiteY1" fmla="*/ 7132 h 20569"/>
                <a:gd name="connsiteX2" fmla="*/ 19233 w 20533"/>
                <a:gd name="connsiteY2" fmla="*/ 10847 h 20569"/>
                <a:gd name="connsiteX3" fmla="*/ 13100 w 20533"/>
                <a:gd name="connsiteY3" fmla="*/ 20569 h 20569"/>
                <a:gd name="connsiteX4" fmla="*/ 0 w 20533"/>
                <a:gd name="connsiteY4" fmla="*/ 10951 h 20569"/>
                <a:gd name="connsiteX5" fmla="*/ 600 w 20533"/>
                <a:gd name="connsiteY5" fmla="*/ 0 h 20569"/>
                <a:gd name="connsiteX0" fmla="*/ 600 w 19266"/>
                <a:gd name="connsiteY0" fmla="*/ 0 h 20569"/>
                <a:gd name="connsiteX1" fmla="*/ 19266 w 19266"/>
                <a:gd name="connsiteY1" fmla="*/ 6750 h 20569"/>
                <a:gd name="connsiteX2" fmla="*/ 19233 w 19266"/>
                <a:gd name="connsiteY2" fmla="*/ 10847 h 20569"/>
                <a:gd name="connsiteX3" fmla="*/ 13100 w 19266"/>
                <a:gd name="connsiteY3" fmla="*/ 20569 h 20569"/>
                <a:gd name="connsiteX4" fmla="*/ 0 w 19266"/>
                <a:gd name="connsiteY4" fmla="*/ 10951 h 20569"/>
                <a:gd name="connsiteX5" fmla="*/ 600 w 19266"/>
                <a:gd name="connsiteY5" fmla="*/ 0 h 20569"/>
                <a:gd name="connsiteX0" fmla="*/ 600 w 19234"/>
                <a:gd name="connsiteY0" fmla="*/ 0 h 20569"/>
                <a:gd name="connsiteX1" fmla="*/ 19199 w 19234"/>
                <a:gd name="connsiteY1" fmla="*/ 6646 h 20569"/>
                <a:gd name="connsiteX2" fmla="*/ 19233 w 19234"/>
                <a:gd name="connsiteY2" fmla="*/ 10847 h 20569"/>
                <a:gd name="connsiteX3" fmla="*/ 13100 w 19234"/>
                <a:gd name="connsiteY3" fmla="*/ 20569 h 20569"/>
                <a:gd name="connsiteX4" fmla="*/ 0 w 19234"/>
                <a:gd name="connsiteY4" fmla="*/ 10951 h 20569"/>
                <a:gd name="connsiteX5" fmla="*/ 600 w 19234"/>
                <a:gd name="connsiteY5" fmla="*/ 0 h 20569"/>
                <a:gd name="connsiteX0" fmla="*/ 600 w 19236"/>
                <a:gd name="connsiteY0" fmla="*/ 0 h 20569"/>
                <a:gd name="connsiteX1" fmla="*/ 19232 w 19236"/>
                <a:gd name="connsiteY1" fmla="*/ 6681 h 20569"/>
                <a:gd name="connsiteX2" fmla="*/ 19233 w 19236"/>
                <a:gd name="connsiteY2" fmla="*/ 10847 h 20569"/>
                <a:gd name="connsiteX3" fmla="*/ 13100 w 19236"/>
                <a:gd name="connsiteY3" fmla="*/ 20569 h 20569"/>
                <a:gd name="connsiteX4" fmla="*/ 0 w 19236"/>
                <a:gd name="connsiteY4" fmla="*/ 10951 h 20569"/>
                <a:gd name="connsiteX5" fmla="*/ 600 w 19236"/>
                <a:gd name="connsiteY5" fmla="*/ 0 h 20569"/>
                <a:gd name="connsiteX0" fmla="*/ 600 w 19236"/>
                <a:gd name="connsiteY0" fmla="*/ 0 h 20569"/>
                <a:gd name="connsiteX1" fmla="*/ 19232 w 19236"/>
                <a:gd name="connsiteY1" fmla="*/ 6681 h 20569"/>
                <a:gd name="connsiteX2" fmla="*/ 19233 w 19236"/>
                <a:gd name="connsiteY2" fmla="*/ 10847 h 20569"/>
                <a:gd name="connsiteX3" fmla="*/ 13100 w 19236"/>
                <a:gd name="connsiteY3" fmla="*/ 20569 h 20569"/>
                <a:gd name="connsiteX4" fmla="*/ 9800 w 19236"/>
                <a:gd name="connsiteY4" fmla="*/ 18104 h 20569"/>
                <a:gd name="connsiteX5" fmla="*/ 0 w 19236"/>
                <a:gd name="connsiteY5" fmla="*/ 10951 h 20569"/>
                <a:gd name="connsiteX6" fmla="*/ 600 w 19236"/>
                <a:gd name="connsiteY6" fmla="*/ 0 h 20569"/>
                <a:gd name="connsiteX0" fmla="*/ 600 w 19236"/>
                <a:gd name="connsiteY0" fmla="*/ 0 h 20569"/>
                <a:gd name="connsiteX1" fmla="*/ 19232 w 19236"/>
                <a:gd name="connsiteY1" fmla="*/ 6681 h 20569"/>
                <a:gd name="connsiteX2" fmla="*/ 19233 w 19236"/>
                <a:gd name="connsiteY2" fmla="*/ 10847 h 20569"/>
                <a:gd name="connsiteX3" fmla="*/ 13100 w 19236"/>
                <a:gd name="connsiteY3" fmla="*/ 20569 h 20569"/>
                <a:gd name="connsiteX4" fmla="*/ 11033 w 19236"/>
                <a:gd name="connsiteY4" fmla="*/ 20153 h 20569"/>
                <a:gd name="connsiteX5" fmla="*/ 0 w 19236"/>
                <a:gd name="connsiteY5" fmla="*/ 10951 h 20569"/>
                <a:gd name="connsiteX6" fmla="*/ 600 w 19236"/>
                <a:gd name="connsiteY6" fmla="*/ 0 h 20569"/>
                <a:gd name="connsiteX0" fmla="*/ 600 w 19236"/>
                <a:gd name="connsiteY0" fmla="*/ 0 h 20222"/>
                <a:gd name="connsiteX1" fmla="*/ 19232 w 19236"/>
                <a:gd name="connsiteY1" fmla="*/ 6681 h 20222"/>
                <a:gd name="connsiteX2" fmla="*/ 19233 w 19236"/>
                <a:gd name="connsiteY2" fmla="*/ 10847 h 20222"/>
                <a:gd name="connsiteX3" fmla="*/ 13267 w 19236"/>
                <a:gd name="connsiteY3" fmla="*/ 20222 h 20222"/>
                <a:gd name="connsiteX4" fmla="*/ 11033 w 19236"/>
                <a:gd name="connsiteY4" fmla="*/ 20153 h 20222"/>
                <a:gd name="connsiteX5" fmla="*/ 0 w 19236"/>
                <a:gd name="connsiteY5" fmla="*/ 10951 h 20222"/>
                <a:gd name="connsiteX6" fmla="*/ 600 w 19236"/>
                <a:gd name="connsiteY6" fmla="*/ 0 h 20222"/>
                <a:gd name="connsiteX0" fmla="*/ 600 w 19236"/>
                <a:gd name="connsiteY0" fmla="*/ 0 h 20222"/>
                <a:gd name="connsiteX1" fmla="*/ 19232 w 19236"/>
                <a:gd name="connsiteY1" fmla="*/ 6681 h 20222"/>
                <a:gd name="connsiteX2" fmla="*/ 19233 w 19236"/>
                <a:gd name="connsiteY2" fmla="*/ 10847 h 20222"/>
                <a:gd name="connsiteX3" fmla="*/ 13267 w 19236"/>
                <a:gd name="connsiteY3" fmla="*/ 20222 h 20222"/>
                <a:gd name="connsiteX4" fmla="*/ 11433 w 19236"/>
                <a:gd name="connsiteY4" fmla="*/ 20153 h 20222"/>
                <a:gd name="connsiteX5" fmla="*/ 0 w 19236"/>
                <a:gd name="connsiteY5" fmla="*/ 10951 h 20222"/>
                <a:gd name="connsiteX6" fmla="*/ 600 w 19236"/>
                <a:gd name="connsiteY6" fmla="*/ 0 h 20222"/>
                <a:gd name="connsiteX0" fmla="*/ 600 w 19236"/>
                <a:gd name="connsiteY0" fmla="*/ 0 h 20222"/>
                <a:gd name="connsiteX1" fmla="*/ 19232 w 19236"/>
                <a:gd name="connsiteY1" fmla="*/ 6681 h 20222"/>
                <a:gd name="connsiteX2" fmla="*/ 19233 w 19236"/>
                <a:gd name="connsiteY2" fmla="*/ 10847 h 20222"/>
                <a:gd name="connsiteX3" fmla="*/ 13267 w 19236"/>
                <a:gd name="connsiteY3" fmla="*/ 20222 h 20222"/>
                <a:gd name="connsiteX4" fmla="*/ 11133 w 19236"/>
                <a:gd name="connsiteY4" fmla="*/ 20222 h 20222"/>
                <a:gd name="connsiteX5" fmla="*/ 0 w 19236"/>
                <a:gd name="connsiteY5" fmla="*/ 10951 h 20222"/>
                <a:gd name="connsiteX6" fmla="*/ 600 w 19236"/>
                <a:gd name="connsiteY6" fmla="*/ 0 h 20222"/>
                <a:gd name="connsiteX0" fmla="*/ 733 w 19369"/>
                <a:gd name="connsiteY0" fmla="*/ 0 h 20222"/>
                <a:gd name="connsiteX1" fmla="*/ 19365 w 19369"/>
                <a:gd name="connsiteY1" fmla="*/ 6681 h 20222"/>
                <a:gd name="connsiteX2" fmla="*/ 19366 w 19369"/>
                <a:gd name="connsiteY2" fmla="*/ 10847 h 20222"/>
                <a:gd name="connsiteX3" fmla="*/ 13400 w 19369"/>
                <a:gd name="connsiteY3" fmla="*/ 20222 h 20222"/>
                <a:gd name="connsiteX4" fmla="*/ 11266 w 19369"/>
                <a:gd name="connsiteY4" fmla="*/ 20222 h 20222"/>
                <a:gd name="connsiteX5" fmla="*/ 0 w 19369"/>
                <a:gd name="connsiteY5" fmla="*/ 8312 h 20222"/>
                <a:gd name="connsiteX6" fmla="*/ 733 w 19369"/>
                <a:gd name="connsiteY6" fmla="*/ 0 h 20222"/>
                <a:gd name="connsiteX0" fmla="*/ 733 w 19369"/>
                <a:gd name="connsiteY0" fmla="*/ 0 h 20222"/>
                <a:gd name="connsiteX1" fmla="*/ 1966 w 19369"/>
                <a:gd name="connsiteY1" fmla="*/ 465 h 20222"/>
                <a:gd name="connsiteX2" fmla="*/ 19365 w 19369"/>
                <a:gd name="connsiteY2" fmla="*/ 6681 h 20222"/>
                <a:gd name="connsiteX3" fmla="*/ 19366 w 19369"/>
                <a:gd name="connsiteY3" fmla="*/ 10847 h 20222"/>
                <a:gd name="connsiteX4" fmla="*/ 13400 w 19369"/>
                <a:gd name="connsiteY4" fmla="*/ 20222 h 20222"/>
                <a:gd name="connsiteX5" fmla="*/ 11266 w 19369"/>
                <a:gd name="connsiteY5" fmla="*/ 20222 h 20222"/>
                <a:gd name="connsiteX6" fmla="*/ 0 w 19369"/>
                <a:gd name="connsiteY6" fmla="*/ 8312 h 20222"/>
                <a:gd name="connsiteX7" fmla="*/ 733 w 19369"/>
                <a:gd name="connsiteY7" fmla="*/ 0 h 20222"/>
                <a:gd name="connsiteX0" fmla="*/ 733 w 19369"/>
                <a:gd name="connsiteY0" fmla="*/ 125 h 20347"/>
                <a:gd name="connsiteX1" fmla="*/ 1966 w 19369"/>
                <a:gd name="connsiteY1" fmla="*/ 590 h 20347"/>
                <a:gd name="connsiteX2" fmla="*/ 1466 w 19369"/>
                <a:gd name="connsiteY2" fmla="*/ 0 h 20347"/>
                <a:gd name="connsiteX3" fmla="*/ 19365 w 19369"/>
                <a:gd name="connsiteY3" fmla="*/ 6806 h 20347"/>
                <a:gd name="connsiteX4" fmla="*/ 19366 w 19369"/>
                <a:gd name="connsiteY4" fmla="*/ 10972 h 20347"/>
                <a:gd name="connsiteX5" fmla="*/ 13400 w 19369"/>
                <a:gd name="connsiteY5" fmla="*/ 20347 h 20347"/>
                <a:gd name="connsiteX6" fmla="*/ 11266 w 19369"/>
                <a:gd name="connsiteY6" fmla="*/ 20347 h 20347"/>
                <a:gd name="connsiteX7" fmla="*/ 0 w 19369"/>
                <a:gd name="connsiteY7" fmla="*/ 8437 h 20347"/>
                <a:gd name="connsiteX8" fmla="*/ 733 w 19369"/>
                <a:gd name="connsiteY8" fmla="*/ 125 h 20347"/>
                <a:gd name="connsiteX0" fmla="*/ 733 w 19369"/>
                <a:gd name="connsiteY0" fmla="*/ 125 h 20347"/>
                <a:gd name="connsiteX1" fmla="*/ 1466 w 19369"/>
                <a:gd name="connsiteY1" fmla="*/ 0 h 20347"/>
                <a:gd name="connsiteX2" fmla="*/ 19365 w 19369"/>
                <a:gd name="connsiteY2" fmla="*/ 6806 h 20347"/>
                <a:gd name="connsiteX3" fmla="*/ 19366 w 19369"/>
                <a:gd name="connsiteY3" fmla="*/ 10972 h 20347"/>
                <a:gd name="connsiteX4" fmla="*/ 13400 w 19369"/>
                <a:gd name="connsiteY4" fmla="*/ 20347 h 20347"/>
                <a:gd name="connsiteX5" fmla="*/ 11266 w 19369"/>
                <a:gd name="connsiteY5" fmla="*/ 20347 h 20347"/>
                <a:gd name="connsiteX6" fmla="*/ 0 w 19369"/>
                <a:gd name="connsiteY6" fmla="*/ 8437 h 20347"/>
                <a:gd name="connsiteX7" fmla="*/ 733 w 19369"/>
                <a:gd name="connsiteY7" fmla="*/ 125 h 20347"/>
                <a:gd name="connsiteX0" fmla="*/ 666 w 19369"/>
                <a:gd name="connsiteY0" fmla="*/ 0 h 20361"/>
                <a:gd name="connsiteX1" fmla="*/ 1466 w 19369"/>
                <a:gd name="connsiteY1" fmla="*/ 14 h 20361"/>
                <a:gd name="connsiteX2" fmla="*/ 19365 w 19369"/>
                <a:gd name="connsiteY2" fmla="*/ 6820 h 20361"/>
                <a:gd name="connsiteX3" fmla="*/ 19366 w 19369"/>
                <a:gd name="connsiteY3" fmla="*/ 10986 h 20361"/>
                <a:gd name="connsiteX4" fmla="*/ 13400 w 19369"/>
                <a:gd name="connsiteY4" fmla="*/ 20361 h 20361"/>
                <a:gd name="connsiteX5" fmla="*/ 11266 w 19369"/>
                <a:gd name="connsiteY5" fmla="*/ 20361 h 20361"/>
                <a:gd name="connsiteX6" fmla="*/ 0 w 19369"/>
                <a:gd name="connsiteY6" fmla="*/ 8451 h 20361"/>
                <a:gd name="connsiteX7" fmla="*/ 666 w 19369"/>
                <a:gd name="connsiteY7" fmla="*/ 0 h 20361"/>
                <a:gd name="connsiteX0" fmla="*/ 1466 w 20169"/>
                <a:gd name="connsiteY0" fmla="*/ 0 h 20361"/>
                <a:gd name="connsiteX1" fmla="*/ 2266 w 20169"/>
                <a:gd name="connsiteY1" fmla="*/ 14 h 20361"/>
                <a:gd name="connsiteX2" fmla="*/ 20165 w 20169"/>
                <a:gd name="connsiteY2" fmla="*/ 6820 h 20361"/>
                <a:gd name="connsiteX3" fmla="*/ 20166 w 20169"/>
                <a:gd name="connsiteY3" fmla="*/ 10986 h 20361"/>
                <a:gd name="connsiteX4" fmla="*/ 14200 w 20169"/>
                <a:gd name="connsiteY4" fmla="*/ 20361 h 20361"/>
                <a:gd name="connsiteX5" fmla="*/ 12066 w 20169"/>
                <a:gd name="connsiteY5" fmla="*/ 20361 h 20361"/>
                <a:gd name="connsiteX6" fmla="*/ 0 w 20169"/>
                <a:gd name="connsiteY6" fmla="*/ 7652 h 20361"/>
                <a:gd name="connsiteX7" fmla="*/ 1466 w 20169"/>
                <a:gd name="connsiteY7" fmla="*/ 0 h 20361"/>
                <a:gd name="connsiteX0" fmla="*/ 1166 w 19869"/>
                <a:gd name="connsiteY0" fmla="*/ 0 h 20361"/>
                <a:gd name="connsiteX1" fmla="*/ 1966 w 19869"/>
                <a:gd name="connsiteY1" fmla="*/ 14 h 20361"/>
                <a:gd name="connsiteX2" fmla="*/ 19865 w 19869"/>
                <a:gd name="connsiteY2" fmla="*/ 6820 h 20361"/>
                <a:gd name="connsiteX3" fmla="*/ 19866 w 19869"/>
                <a:gd name="connsiteY3" fmla="*/ 10986 h 20361"/>
                <a:gd name="connsiteX4" fmla="*/ 13900 w 19869"/>
                <a:gd name="connsiteY4" fmla="*/ 20361 h 20361"/>
                <a:gd name="connsiteX5" fmla="*/ 11766 w 19869"/>
                <a:gd name="connsiteY5" fmla="*/ 20361 h 20361"/>
                <a:gd name="connsiteX6" fmla="*/ 0 w 19869"/>
                <a:gd name="connsiteY6" fmla="*/ 7860 h 20361"/>
                <a:gd name="connsiteX7" fmla="*/ 1166 w 19869"/>
                <a:gd name="connsiteY7" fmla="*/ 0 h 20361"/>
                <a:gd name="connsiteX0" fmla="*/ 1196 w 19899"/>
                <a:gd name="connsiteY0" fmla="*/ 0 h 20361"/>
                <a:gd name="connsiteX1" fmla="*/ 1996 w 19899"/>
                <a:gd name="connsiteY1" fmla="*/ 14 h 20361"/>
                <a:gd name="connsiteX2" fmla="*/ 19895 w 19899"/>
                <a:gd name="connsiteY2" fmla="*/ 6820 h 20361"/>
                <a:gd name="connsiteX3" fmla="*/ 19896 w 19899"/>
                <a:gd name="connsiteY3" fmla="*/ 10986 h 20361"/>
                <a:gd name="connsiteX4" fmla="*/ 13930 w 19899"/>
                <a:gd name="connsiteY4" fmla="*/ 20361 h 20361"/>
                <a:gd name="connsiteX5" fmla="*/ 11796 w 19899"/>
                <a:gd name="connsiteY5" fmla="*/ 20361 h 20361"/>
                <a:gd name="connsiteX6" fmla="*/ 0 w 19899"/>
                <a:gd name="connsiteY6" fmla="*/ 7954 h 20361"/>
                <a:gd name="connsiteX7" fmla="*/ 1196 w 19899"/>
                <a:gd name="connsiteY7" fmla="*/ 0 h 20361"/>
                <a:gd name="connsiteX0" fmla="*/ 1196 w 19899"/>
                <a:gd name="connsiteY0" fmla="*/ 0 h 20377"/>
                <a:gd name="connsiteX1" fmla="*/ 1996 w 19899"/>
                <a:gd name="connsiteY1" fmla="*/ 14 h 20377"/>
                <a:gd name="connsiteX2" fmla="*/ 19895 w 19899"/>
                <a:gd name="connsiteY2" fmla="*/ 6820 h 20377"/>
                <a:gd name="connsiteX3" fmla="*/ 19896 w 19899"/>
                <a:gd name="connsiteY3" fmla="*/ 10986 h 20377"/>
                <a:gd name="connsiteX4" fmla="*/ 13930 w 19899"/>
                <a:gd name="connsiteY4" fmla="*/ 20361 h 20377"/>
                <a:gd name="connsiteX5" fmla="*/ 11721 w 19899"/>
                <a:gd name="connsiteY5" fmla="*/ 20377 h 20377"/>
                <a:gd name="connsiteX6" fmla="*/ 0 w 19899"/>
                <a:gd name="connsiteY6" fmla="*/ 7954 h 20377"/>
                <a:gd name="connsiteX7" fmla="*/ 1196 w 19899"/>
                <a:gd name="connsiteY7" fmla="*/ 0 h 20377"/>
                <a:gd name="connsiteX0" fmla="*/ 1181 w 19899"/>
                <a:gd name="connsiteY0" fmla="*/ 17 h 20363"/>
                <a:gd name="connsiteX1" fmla="*/ 1996 w 19899"/>
                <a:gd name="connsiteY1" fmla="*/ 0 h 20363"/>
                <a:gd name="connsiteX2" fmla="*/ 19895 w 19899"/>
                <a:gd name="connsiteY2" fmla="*/ 6806 h 20363"/>
                <a:gd name="connsiteX3" fmla="*/ 19896 w 19899"/>
                <a:gd name="connsiteY3" fmla="*/ 10972 h 20363"/>
                <a:gd name="connsiteX4" fmla="*/ 13930 w 19899"/>
                <a:gd name="connsiteY4" fmla="*/ 20347 h 20363"/>
                <a:gd name="connsiteX5" fmla="*/ 11721 w 19899"/>
                <a:gd name="connsiteY5" fmla="*/ 20363 h 20363"/>
                <a:gd name="connsiteX6" fmla="*/ 0 w 19899"/>
                <a:gd name="connsiteY6" fmla="*/ 7940 h 20363"/>
                <a:gd name="connsiteX7" fmla="*/ 1181 w 19899"/>
                <a:gd name="connsiteY7" fmla="*/ 17 h 20363"/>
                <a:gd name="connsiteX0" fmla="*/ 1271 w 19899"/>
                <a:gd name="connsiteY0" fmla="*/ 17 h 20363"/>
                <a:gd name="connsiteX1" fmla="*/ 1996 w 19899"/>
                <a:gd name="connsiteY1" fmla="*/ 0 h 20363"/>
                <a:gd name="connsiteX2" fmla="*/ 19895 w 19899"/>
                <a:gd name="connsiteY2" fmla="*/ 6806 h 20363"/>
                <a:gd name="connsiteX3" fmla="*/ 19896 w 19899"/>
                <a:gd name="connsiteY3" fmla="*/ 10972 h 20363"/>
                <a:gd name="connsiteX4" fmla="*/ 13930 w 19899"/>
                <a:gd name="connsiteY4" fmla="*/ 20347 h 20363"/>
                <a:gd name="connsiteX5" fmla="*/ 11721 w 19899"/>
                <a:gd name="connsiteY5" fmla="*/ 20363 h 20363"/>
                <a:gd name="connsiteX6" fmla="*/ 0 w 19899"/>
                <a:gd name="connsiteY6" fmla="*/ 7940 h 20363"/>
                <a:gd name="connsiteX7" fmla="*/ 1271 w 19899"/>
                <a:gd name="connsiteY7" fmla="*/ 17 h 20363"/>
                <a:gd name="connsiteX0" fmla="*/ 1271 w 19899"/>
                <a:gd name="connsiteY0" fmla="*/ 17 h 20363"/>
                <a:gd name="connsiteX1" fmla="*/ 1996 w 19899"/>
                <a:gd name="connsiteY1" fmla="*/ 0 h 20363"/>
                <a:gd name="connsiteX2" fmla="*/ 19895 w 19899"/>
                <a:gd name="connsiteY2" fmla="*/ 6806 h 20363"/>
                <a:gd name="connsiteX3" fmla="*/ 19896 w 19899"/>
                <a:gd name="connsiteY3" fmla="*/ 10972 h 20363"/>
                <a:gd name="connsiteX4" fmla="*/ 13930 w 19899"/>
                <a:gd name="connsiteY4" fmla="*/ 20347 h 20363"/>
                <a:gd name="connsiteX5" fmla="*/ 11721 w 19899"/>
                <a:gd name="connsiteY5" fmla="*/ 20363 h 20363"/>
                <a:gd name="connsiteX6" fmla="*/ 0 w 19899"/>
                <a:gd name="connsiteY6" fmla="*/ 7940 h 20363"/>
                <a:gd name="connsiteX7" fmla="*/ 1271 w 19899"/>
                <a:gd name="connsiteY7" fmla="*/ 17 h 20363"/>
                <a:gd name="connsiteX0" fmla="*/ 2132 w 20760"/>
                <a:gd name="connsiteY0" fmla="*/ 17 h 20363"/>
                <a:gd name="connsiteX1" fmla="*/ 2857 w 20760"/>
                <a:gd name="connsiteY1" fmla="*/ 0 h 20363"/>
                <a:gd name="connsiteX2" fmla="*/ 20756 w 20760"/>
                <a:gd name="connsiteY2" fmla="*/ 6806 h 20363"/>
                <a:gd name="connsiteX3" fmla="*/ 20757 w 20760"/>
                <a:gd name="connsiteY3" fmla="*/ 10972 h 20363"/>
                <a:gd name="connsiteX4" fmla="*/ 14791 w 20760"/>
                <a:gd name="connsiteY4" fmla="*/ 20347 h 20363"/>
                <a:gd name="connsiteX5" fmla="*/ 12582 w 20760"/>
                <a:gd name="connsiteY5" fmla="*/ 20363 h 20363"/>
                <a:gd name="connsiteX6" fmla="*/ 861 w 20760"/>
                <a:gd name="connsiteY6" fmla="*/ 7940 h 20363"/>
                <a:gd name="connsiteX7" fmla="*/ 1022 w 20760"/>
                <a:gd name="connsiteY7" fmla="*/ 6379 h 20363"/>
                <a:gd name="connsiteX8" fmla="*/ 2132 w 20760"/>
                <a:gd name="connsiteY8" fmla="*/ 17 h 20363"/>
                <a:gd name="connsiteX0" fmla="*/ 2132 w 20760"/>
                <a:gd name="connsiteY0" fmla="*/ 17 h 20363"/>
                <a:gd name="connsiteX1" fmla="*/ 2857 w 20760"/>
                <a:gd name="connsiteY1" fmla="*/ 0 h 20363"/>
                <a:gd name="connsiteX2" fmla="*/ 20756 w 20760"/>
                <a:gd name="connsiteY2" fmla="*/ 6806 h 20363"/>
                <a:gd name="connsiteX3" fmla="*/ 20757 w 20760"/>
                <a:gd name="connsiteY3" fmla="*/ 10972 h 20363"/>
                <a:gd name="connsiteX4" fmla="*/ 14791 w 20760"/>
                <a:gd name="connsiteY4" fmla="*/ 20347 h 20363"/>
                <a:gd name="connsiteX5" fmla="*/ 12582 w 20760"/>
                <a:gd name="connsiteY5" fmla="*/ 20363 h 20363"/>
                <a:gd name="connsiteX6" fmla="*/ 861 w 20760"/>
                <a:gd name="connsiteY6" fmla="*/ 7940 h 20363"/>
                <a:gd name="connsiteX7" fmla="*/ 1022 w 20760"/>
                <a:gd name="connsiteY7" fmla="*/ 6379 h 20363"/>
                <a:gd name="connsiteX8" fmla="*/ 2132 w 20760"/>
                <a:gd name="connsiteY8" fmla="*/ 17 h 20363"/>
                <a:gd name="connsiteX0" fmla="*/ 2186 w 20814"/>
                <a:gd name="connsiteY0" fmla="*/ 17 h 20363"/>
                <a:gd name="connsiteX1" fmla="*/ 2911 w 20814"/>
                <a:gd name="connsiteY1" fmla="*/ 0 h 20363"/>
                <a:gd name="connsiteX2" fmla="*/ 20810 w 20814"/>
                <a:gd name="connsiteY2" fmla="*/ 6806 h 20363"/>
                <a:gd name="connsiteX3" fmla="*/ 20811 w 20814"/>
                <a:gd name="connsiteY3" fmla="*/ 10972 h 20363"/>
                <a:gd name="connsiteX4" fmla="*/ 14845 w 20814"/>
                <a:gd name="connsiteY4" fmla="*/ 20347 h 20363"/>
                <a:gd name="connsiteX5" fmla="*/ 12636 w 20814"/>
                <a:gd name="connsiteY5" fmla="*/ 20363 h 20363"/>
                <a:gd name="connsiteX6" fmla="*/ 915 w 20814"/>
                <a:gd name="connsiteY6" fmla="*/ 7940 h 20363"/>
                <a:gd name="connsiteX7" fmla="*/ 881 w 20814"/>
                <a:gd name="connsiteY7" fmla="*/ 6191 h 20363"/>
                <a:gd name="connsiteX8" fmla="*/ 2186 w 20814"/>
                <a:gd name="connsiteY8" fmla="*/ 17 h 20363"/>
                <a:gd name="connsiteX0" fmla="*/ 2228 w 20856"/>
                <a:gd name="connsiteY0" fmla="*/ 17 h 20363"/>
                <a:gd name="connsiteX1" fmla="*/ 2953 w 20856"/>
                <a:gd name="connsiteY1" fmla="*/ 0 h 20363"/>
                <a:gd name="connsiteX2" fmla="*/ 20852 w 20856"/>
                <a:gd name="connsiteY2" fmla="*/ 6806 h 20363"/>
                <a:gd name="connsiteX3" fmla="*/ 20853 w 20856"/>
                <a:gd name="connsiteY3" fmla="*/ 10972 h 20363"/>
                <a:gd name="connsiteX4" fmla="*/ 14887 w 20856"/>
                <a:gd name="connsiteY4" fmla="*/ 20347 h 20363"/>
                <a:gd name="connsiteX5" fmla="*/ 12678 w 20856"/>
                <a:gd name="connsiteY5" fmla="*/ 20363 h 20363"/>
                <a:gd name="connsiteX6" fmla="*/ 957 w 20856"/>
                <a:gd name="connsiteY6" fmla="*/ 7940 h 20363"/>
                <a:gd name="connsiteX7" fmla="*/ 923 w 20856"/>
                <a:gd name="connsiteY7" fmla="*/ 6191 h 20363"/>
                <a:gd name="connsiteX8" fmla="*/ 2228 w 20856"/>
                <a:gd name="connsiteY8" fmla="*/ 17 h 20363"/>
                <a:gd name="connsiteX0" fmla="*/ 2179 w 20807"/>
                <a:gd name="connsiteY0" fmla="*/ 17 h 20363"/>
                <a:gd name="connsiteX1" fmla="*/ 2904 w 20807"/>
                <a:gd name="connsiteY1" fmla="*/ 0 h 20363"/>
                <a:gd name="connsiteX2" fmla="*/ 20803 w 20807"/>
                <a:gd name="connsiteY2" fmla="*/ 6806 h 20363"/>
                <a:gd name="connsiteX3" fmla="*/ 20804 w 20807"/>
                <a:gd name="connsiteY3" fmla="*/ 10972 h 20363"/>
                <a:gd name="connsiteX4" fmla="*/ 14838 w 20807"/>
                <a:gd name="connsiteY4" fmla="*/ 20347 h 20363"/>
                <a:gd name="connsiteX5" fmla="*/ 12629 w 20807"/>
                <a:gd name="connsiteY5" fmla="*/ 20363 h 20363"/>
                <a:gd name="connsiteX6" fmla="*/ 908 w 20807"/>
                <a:gd name="connsiteY6" fmla="*/ 7940 h 20363"/>
                <a:gd name="connsiteX7" fmla="*/ 874 w 20807"/>
                <a:gd name="connsiteY7" fmla="*/ 6191 h 20363"/>
                <a:gd name="connsiteX8" fmla="*/ 2179 w 20807"/>
                <a:gd name="connsiteY8" fmla="*/ 17 h 20363"/>
                <a:gd name="connsiteX0" fmla="*/ 1540 w 20168"/>
                <a:gd name="connsiteY0" fmla="*/ 17 h 20363"/>
                <a:gd name="connsiteX1" fmla="*/ 2265 w 20168"/>
                <a:gd name="connsiteY1" fmla="*/ 0 h 20363"/>
                <a:gd name="connsiteX2" fmla="*/ 20164 w 20168"/>
                <a:gd name="connsiteY2" fmla="*/ 6806 h 20363"/>
                <a:gd name="connsiteX3" fmla="*/ 20165 w 20168"/>
                <a:gd name="connsiteY3" fmla="*/ 10972 h 20363"/>
                <a:gd name="connsiteX4" fmla="*/ 14199 w 20168"/>
                <a:gd name="connsiteY4" fmla="*/ 20347 h 20363"/>
                <a:gd name="connsiteX5" fmla="*/ 11990 w 20168"/>
                <a:gd name="connsiteY5" fmla="*/ 20363 h 20363"/>
                <a:gd name="connsiteX6" fmla="*/ 269 w 20168"/>
                <a:gd name="connsiteY6" fmla="*/ 7940 h 20363"/>
                <a:gd name="connsiteX7" fmla="*/ 235 w 20168"/>
                <a:gd name="connsiteY7" fmla="*/ 6191 h 20363"/>
                <a:gd name="connsiteX8" fmla="*/ 1540 w 20168"/>
                <a:gd name="connsiteY8" fmla="*/ 17 h 20363"/>
                <a:gd name="connsiteX0" fmla="*/ 1418 w 20046"/>
                <a:gd name="connsiteY0" fmla="*/ 17 h 20363"/>
                <a:gd name="connsiteX1" fmla="*/ 2143 w 20046"/>
                <a:gd name="connsiteY1" fmla="*/ 0 h 20363"/>
                <a:gd name="connsiteX2" fmla="*/ 20042 w 20046"/>
                <a:gd name="connsiteY2" fmla="*/ 6806 h 20363"/>
                <a:gd name="connsiteX3" fmla="*/ 20043 w 20046"/>
                <a:gd name="connsiteY3" fmla="*/ 10972 h 20363"/>
                <a:gd name="connsiteX4" fmla="*/ 14077 w 20046"/>
                <a:gd name="connsiteY4" fmla="*/ 20347 h 20363"/>
                <a:gd name="connsiteX5" fmla="*/ 11868 w 20046"/>
                <a:gd name="connsiteY5" fmla="*/ 20363 h 20363"/>
                <a:gd name="connsiteX6" fmla="*/ 147 w 20046"/>
                <a:gd name="connsiteY6" fmla="*/ 7940 h 20363"/>
                <a:gd name="connsiteX7" fmla="*/ 113 w 20046"/>
                <a:gd name="connsiteY7" fmla="*/ 6191 h 20363"/>
                <a:gd name="connsiteX8" fmla="*/ 1418 w 20046"/>
                <a:gd name="connsiteY8" fmla="*/ 17 h 20363"/>
                <a:gd name="connsiteX0" fmla="*/ 1471 w 20099"/>
                <a:gd name="connsiteY0" fmla="*/ 17 h 20363"/>
                <a:gd name="connsiteX1" fmla="*/ 2196 w 20099"/>
                <a:gd name="connsiteY1" fmla="*/ 0 h 20363"/>
                <a:gd name="connsiteX2" fmla="*/ 20095 w 20099"/>
                <a:gd name="connsiteY2" fmla="*/ 6806 h 20363"/>
                <a:gd name="connsiteX3" fmla="*/ 20096 w 20099"/>
                <a:gd name="connsiteY3" fmla="*/ 10972 h 20363"/>
                <a:gd name="connsiteX4" fmla="*/ 14130 w 20099"/>
                <a:gd name="connsiteY4" fmla="*/ 20347 h 20363"/>
                <a:gd name="connsiteX5" fmla="*/ 11921 w 20099"/>
                <a:gd name="connsiteY5" fmla="*/ 20363 h 20363"/>
                <a:gd name="connsiteX6" fmla="*/ 200 w 20099"/>
                <a:gd name="connsiteY6" fmla="*/ 7940 h 20363"/>
                <a:gd name="connsiteX7" fmla="*/ 166 w 20099"/>
                <a:gd name="connsiteY7" fmla="*/ 6191 h 20363"/>
                <a:gd name="connsiteX8" fmla="*/ 1471 w 20099"/>
                <a:gd name="connsiteY8" fmla="*/ 17 h 20363"/>
                <a:gd name="connsiteX0" fmla="*/ 1486 w 20114"/>
                <a:gd name="connsiteY0" fmla="*/ 17 h 20363"/>
                <a:gd name="connsiteX1" fmla="*/ 2211 w 20114"/>
                <a:gd name="connsiteY1" fmla="*/ 0 h 20363"/>
                <a:gd name="connsiteX2" fmla="*/ 20110 w 20114"/>
                <a:gd name="connsiteY2" fmla="*/ 6806 h 20363"/>
                <a:gd name="connsiteX3" fmla="*/ 20111 w 20114"/>
                <a:gd name="connsiteY3" fmla="*/ 10972 h 20363"/>
                <a:gd name="connsiteX4" fmla="*/ 14145 w 20114"/>
                <a:gd name="connsiteY4" fmla="*/ 20347 h 20363"/>
                <a:gd name="connsiteX5" fmla="*/ 11936 w 20114"/>
                <a:gd name="connsiteY5" fmla="*/ 20363 h 20363"/>
                <a:gd name="connsiteX6" fmla="*/ 215 w 20114"/>
                <a:gd name="connsiteY6" fmla="*/ 7940 h 20363"/>
                <a:gd name="connsiteX7" fmla="*/ 151 w 20114"/>
                <a:gd name="connsiteY7" fmla="*/ 6363 h 20363"/>
                <a:gd name="connsiteX8" fmla="*/ 1486 w 20114"/>
                <a:gd name="connsiteY8" fmla="*/ 17 h 20363"/>
                <a:gd name="connsiteX0" fmla="*/ 1476 w 20104"/>
                <a:gd name="connsiteY0" fmla="*/ 17 h 20363"/>
                <a:gd name="connsiteX1" fmla="*/ 2201 w 20104"/>
                <a:gd name="connsiteY1" fmla="*/ 0 h 20363"/>
                <a:gd name="connsiteX2" fmla="*/ 20100 w 20104"/>
                <a:gd name="connsiteY2" fmla="*/ 6806 h 20363"/>
                <a:gd name="connsiteX3" fmla="*/ 20101 w 20104"/>
                <a:gd name="connsiteY3" fmla="*/ 10972 h 20363"/>
                <a:gd name="connsiteX4" fmla="*/ 14135 w 20104"/>
                <a:gd name="connsiteY4" fmla="*/ 20347 h 20363"/>
                <a:gd name="connsiteX5" fmla="*/ 11926 w 20104"/>
                <a:gd name="connsiteY5" fmla="*/ 20363 h 20363"/>
                <a:gd name="connsiteX6" fmla="*/ 205 w 20104"/>
                <a:gd name="connsiteY6" fmla="*/ 7940 h 20363"/>
                <a:gd name="connsiteX7" fmla="*/ 141 w 20104"/>
                <a:gd name="connsiteY7" fmla="*/ 6363 h 20363"/>
                <a:gd name="connsiteX8" fmla="*/ 1476 w 20104"/>
                <a:gd name="connsiteY8" fmla="*/ 17 h 20363"/>
                <a:gd name="connsiteX0" fmla="*/ 1470 w 20098"/>
                <a:gd name="connsiteY0" fmla="*/ 17 h 20363"/>
                <a:gd name="connsiteX1" fmla="*/ 2195 w 20098"/>
                <a:gd name="connsiteY1" fmla="*/ 0 h 20363"/>
                <a:gd name="connsiteX2" fmla="*/ 20094 w 20098"/>
                <a:gd name="connsiteY2" fmla="*/ 6806 h 20363"/>
                <a:gd name="connsiteX3" fmla="*/ 20095 w 20098"/>
                <a:gd name="connsiteY3" fmla="*/ 10972 h 20363"/>
                <a:gd name="connsiteX4" fmla="*/ 14129 w 20098"/>
                <a:gd name="connsiteY4" fmla="*/ 20347 h 20363"/>
                <a:gd name="connsiteX5" fmla="*/ 11920 w 20098"/>
                <a:gd name="connsiteY5" fmla="*/ 20363 h 20363"/>
                <a:gd name="connsiteX6" fmla="*/ 199 w 20098"/>
                <a:gd name="connsiteY6" fmla="*/ 7940 h 20363"/>
                <a:gd name="connsiteX7" fmla="*/ 135 w 20098"/>
                <a:gd name="connsiteY7" fmla="*/ 6363 h 20363"/>
                <a:gd name="connsiteX8" fmla="*/ 1470 w 20098"/>
                <a:gd name="connsiteY8" fmla="*/ 17 h 20363"/>
                <a:gd name="connsiteX0" fmla="*/ 1499 w 20127"/>
                <a:gd name="connsiteY0" fmla="*/ 17 h 20363"/>
                <a:gd name="connsiteX1" fmla="*/ 2224 w 20127"/>
                <a:gd name="connsiteY1" fmla="*/ 0 h 20363"/>
                <a:gd name="connsiteX2" fmla="*/ 20123 w 20127"/>
                <a:gd name="connsiteY2" fmla="*/ 6806 h 20363"/>
                <a:gd name="connsiteX3" fmla="*/ 20124 w 20127"/>
                <a:gd name="connsiteY3" fmla="*/ 10972 h 20363"/>
                <a:gd name="connsiteX4" fmla="*/ 14158 w 20127"/>
                <a:gd name="connsiteY4" fmla="*/ 20347 h 20363"/>
                <a:gd name="connsiteX5" fmla="*/ 11949 w 20127"/>
                <a:gd name="connsiteY5" fmla="*/ 20363 h 20363"/>
                <a:gd name="connsiteX6" fmla="*/ 228 w 20127"/>
                <a:gd name="connsiteY6" fmla="*/ 7940 h 20363"/>
                <a:gd name="connsiteX7" fmla="*/ 164 w 20127"/>
                <a:gd name="connsiteY7" fmla="*/ 6363 h 20363"/>
                <a:gd name="connsiteX8" fmla="*/ 1499 w 20127"/>
                <a:gd name="connsiteY8" fmla="*/ 17 h 20363"/>
                <a:gd name="connsiteX0" fmla="*/ 1499 w 20127"/>
                <a:gd name="connsiteY0" fmla="*/ 17 h 20347"/>
                <a:gd name="connsiteX1" fmla="*/ 2224 w 20127"/>
                <a:gd name="connsiteY1" fmla="*/ 0 h 20347"/>
                <a:gd name="connsiteX2" fmla="*/ 20123 w 20127"/>
                <a:gd name="connsiteY2" fmla="*/ 6806 h 20347"/>
                <a:gd name="connsiteX3" fmla="*/ 20124 w 20127"/>
                <a:gd name="connsiteY3" fmla="*/ 10972 h 20347"/>
                <a:gd name="connsiteX4" fmla="*/ 14158 w 20127"/>
                <a:gd name="connsiteY4" fmla="*/ 20347 h 20347"/>
                <a:gd name="connsiteX5" fmla="*/ 11886 w 20127"/>
                <a:gd name="connsiteY5" fmla="*/ 20288 h 20347"/>
                <a:gd name="connsiteX6" fmla="*/ 228 w 20127"/>
                <a:gd name="connsiteY6" fmla="*/ 7940 h 20347"/>
                <a:gd name="connsiteX7" fmla="*/ 164 w 20127"/>
                <a:gd name="connsiteY7" fmla="*/ 6363 h 20347"/>
                <a:gd name="connsiteX8" fmla="*/ 1499 w 20127"/>
                <a:gd name="connsiteY8" fmla="*/ 17 h 20347"/>
                <a:gd name="connsiteX0" fmla="*/ 1499 w 20127"/>
                <a:gd name="connsiteY0" fmla="*/ 17 h 20288"/>
                <a:gd name="connsiteX1" fmla="*/ 2224 w 20127"/>
                <a:gd name="connsiteY1" fmla="*/ 0 h 20288"/>
                <a:gd name="connsiteX2" fmla="*/ 20123 w 20127"/>
                <a:gd name="connsiteY2" fmla="*/ 6806 h 20288"/>
                <a:gd name="connsiteX3" fmla="*/ 20124 w 20127"/>
                <a:gd name="connsiteY3" fmla="*/ 10972 h 20288"/>
                <a:gd name="connsiteX4" fmla="*/ 14185 w 20127"/>
                <a:gd name="connsiteY4" fmla="*/ 20272 h 20288"/>
                <a:gd name="connsiteX5" fmla="*/ 11886 w 20127"/>
                <a:gd name="connsiteY5" fmla="*/ 20288 h 20288"/>
                <a:gd name="connsiteX6" fmla="*/ 228 w 20127"/>
                <a:gd name="connsiteY6" fmla="*/ 7940 h 20288"/>
                <a:gd name="connsiteX7" fmla="*/ 164 w 20127"/>
                <a:gd name="connsiteY7" fmla="*/ 6363 h 20288"/>
                <a:gd name="connsiteX8" fmla="*/ 1499 w 20127"/>
                <a:gd name="connsiteY8" fmla="*/ 17 h 20288"/>
                <a:gd name="connsiteX0" fmla="*/ 1499 w 20123"/>
                <a:gd name="connsiteY0" fmla="*/ 17 h 20288"/>
                <a:gd name="connsiteX1" fmla="*/ 2224 w 20123"/>
                <a:gd name="connsiteY1" fmla="*/ 0 h 20288"/>
                <a:gd name="connsiteX2" fmla="*/ 20123 w 20123"/>
                <a:gd name="connsiteY2" fmla="*/ 6806 h 20288"/>
                <a:gd name="connsiteX3" fmla="*/ 20066 w 20123"/>
                <a:gd name="connsiteY3" fmla="*/ 11052 h 20288"/>
                <a:gd name="connsiteX4" fmla="*/ 14185 w 20123"/>
                <a:gd name="connsiteY4" fmla="*/ 20272 h 20288"/>
                <a:gd name="connsiteX5" fmla="*/ 11886 w 20123"/>
                <a:gd name="connsiteY5" fmla="*/ 20288 h 20288"/>
                <a:gd name="connsiteX6" fmla="*/ 228 w 20123"/>
                <a:gd name="connsiteY6" fmla="*/ 7940 h 20288"/>
                <a:gd name="connsiteX7" fmla="*/ 164 w 20123"/>
                <a:gd name="connsiteY7" fmla="*/ 6363 h 20288"/>
                <a:gd name="connsiteX8" fmla="*/ 1499 w 20123"/>
                <a:gd name="connsiteY8" fmla="*/ 17 h 20288"/>
                <a:gd name="connsiteX0" fmla="*/ 1499 w 20084"/>
                <a:gd name="connsiteY0" fmla="*/ 17 h 20288"/>
                <a:gd name="connsiteX1" fmla="*/ 2224 w 20084"/>
                <a:gd name="connsiteY1" fmla="*/ 0 h 20288"/>
                <a:gd name="connsiteX2" fmla="*/ 20084 w 20084"/>
                <a:gd name="connsiteY2" fmla="*/ 6796 h 20288"/>
                <a:gd name="connsiteX3" fmla="*/ 20066 w 20084"/>
                <a:gd name="connsiteY3" fmla="*/ 11052 h 20288"/>
                <a:gd name="connsiteX4" fmla="*/ 14185 w 20084"/>
                <a:gd name="connsiteY4" fmla="*/ 20272 h 20288"/>
                <a:gd name="connsiteX5" fmla="*/ 11886 w 20084"/>
                <a:gd name="connsiteY5" fmla="*/ 20288 h 20288"/>
                <a:gd name="connsiteX6" fmla="*/ 228 w 20084"/>
                <a:gd name="connsiteY6" fmla="*/ 7940 h 20288"/>
                <a:gd name="connsiteX7" fmla="*/ 164 w 20084"/>
                <a:gd name="connsiteY7" fmla="*/ 6363 h 20288"/>
                <a:gd name="connsiteX8" fmla="*/ 1499 w 20084"/>
                <a:gd name="connsiteY8" fmla="*/ 17 h 2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84" h="20288">
                  <a:moveTo>
                    <a:pt x="1499" y="17"/>
                  </a:moveTo>
                  <a:lnTo>
                    <a:pt x="2224" y="0"/>
                  </a:lnTo>
                  <a:lnTo>
                    <a:pt x="20084" y="6796"/>
                  </a:lnTo>
                  <a:cubicBezTo>
                    <a:pt x="20073" y="8162"/>
                    <a:pt x="20077" y="9686"/>
                    <a:pt x="20066" y="11052"/>
                  </a:cubicBezTo>
                  <a:lnTo>
                    <a:pt x="14185" y="20272"/>
                  </a:lnTo>
                  <a:lnTo>
                    <a:pt x="11886" y="20288"/>
                  </a:lnTo>
                  <a:lnTo>
                    <a:pt x="228" y="7940"/>
                  </a:lnTo>
                  <a:cubicBezTo>
                    <a:pt x="-154" y="7593"/>
                    <a:pt x="27" y="7059"/>
                    <a:pt x="164" y="6363"/>
                  </a:cubicBezTo>
                  <a:cubicBezTo>
                    <a:pt x="301" y="5667"/>
                    <a:pt x="1193" y="1080"/>
                    <a:pt x="1499" y="1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Trapezoid 5">
            <a:extLst>
              <a:ext uri="{FF2B5EF4-FFF2-40B4-BE49-F238E27FC236}">
                <a16:creationId xmlns:a16="http://schemas.microsoft.com/office/drawing/2014/main" id="{7110A3BA-6984-4B42-A764-9AC55E71FB36}"/>
              </a:ext>
            </a:extLst>
          </p:cNvPr>
          <p:cNvSpPr/>
          <p:nvPr/>
        </p:nvSpPr>
        <p:spPr>
          <a:xfrm>
            <a:off x="5111479" y="325839"/>
            <a:ext cx="7084961" cy="6536530"/>
          </a:xfrm>
          <a:custGeom>
            <a:avLst/>
            <a:gdLst>
              <a:gd name="connsiteX0" fmla="*/ 0 w 3508169"/>
              <a:gd name="connsiteY0" fmla="*/ 3543337 h 3543337"/>
              <a:gd name="connsiteX1" fmla="*/ 877042 w 3508169"/>
              <a:gd name="connsiteY1" fmla="*/ 0 h 3543337"/>
              <a:gd name="connsiteX2" fmla="*/ 2631127 w 3508169"/>
              <a:gd name="connsiteY2" fmla="*/ 0 h 3543337"/>
              <a:gd name="connsiteX3" fmla="*/ 3508169 w 3508169"/>
              <a:gd name="connsiteY3" fmla="*/ 3543337 h 3543337"/>
              <a:gd name="connsiteX4" fmla="*/ 0 w 3508169"/>
              <a:gd name="connsiteY4" fmla="*/ 3543337 h 3543337"/>
              <a:gd name="connsiteX0" fmla="*/ 0 w 6086008"/>
              <a:gd name="connsiteY0" fmla="*/ 5470415 h 5470415"/>
              <a:gd name="connsiteX1" fmla="*/ 877042 w 6086008"/>
              <a:gd name="connsiteY1" fmla="*/ 1927078 h 5470415"/>
              <a:gd name="connsiteX2" fmla="*/ 6086008 w 6086008"/>
              <a:gd name="connsiteY2" fmla="*/ 0 h 5470415"/>
              <a:gd name="connsiteX3" fmla="*/ 3508169 w 6086008"/>
              <a:gd name="connsiteY3" fmla="*/ 5470415 h 5470415"/>
              <a:gd name="connsiteX4" fmla="*/ 0 w 6086008"/>
              <a:gd name="connsiteY4" fmla="*/ 5470415 h 5470415"/>
              <a:gd name="connsiteX0" fmla="*/ 0 w 6086008"/>
              <a:gd name="connsiteY0" fmla="*/ 5470415 h 5470415"/>
              <a:gd name="connsiteX1" fmla="*/ 877042 w 6086008"/>
              <a:gd name="connsiteY1" fmla="*/ 1927078 h 5470415"/>
              <a:gd name="connsiteX2" fmla="*/ 6086008 w 6086008"/>
              <a:gd name="connsiteY2" fmla="*/ 0 h 5470415"/>
              <a:gd name="connsiteX3" fmla="*/ 6057143 w 6086008"/>
              <a:gd name="connsiteY3" fmla="*/ 3419009 h 5470415"/>
              <a:gd name="connsiteX4" fmla="*/ 0 w 6086008"/>
              <a:gd name="connsiteY4" fmla="*/ 5470415 h 5470415"/>
              <a:gd name="connsiteX0" fmla="*/ 3048556 w 5208966"/>
              <a:gd name="connsiteY0" fmla="*/ 6607124 h 6607124"/>
              <a:gd name="connsiteX1" fmla="*/ 0 w 5208966"/>
              <a:gd name="connsiteY1" fmla="*/ 1927078 h 6607124"/>
              <a:gd name="connsiteX2" fmla="*/ 5208966 w 5208966"/>
              <a:gd name="connsiteY2" fmla="*/ 0 h 6607124"/>
              <a:gd name="connsiteX3" fmla="*/ 5180101 w 5208966"/>
              <a:gd name="connsiteY3" fmla="*/ 3419009 h 6607124"/>
              <a:gd name="connsiteX4" fmla="*/ 3048556 w 5208966"/>
              <a:gd name="connsiteY4" fmla="*/ 6607124 h 6607124"/>
              <a:gd name="connsiteX0" fmla="*/ 4833726 w 6994136"/>
              <a:gd name="connsiteY0" fmla="*/ 6607124 h 6607124"/>
              <a:gd name="connsiteX1" fmla="*/ 0 w 6994136"/>
              <a:gd name="connsiteY1" fmla="*/ 2193494 h 6607124"/>
              <a:gd name="connsiteX2" fmla="*/ 6994136 w 6994136"/>
              <a:gd name="connsiteY2" fmla="*/ 0 h 6607124"/>
              <a:gd name="connsiteX3" fmla="*/ 6965271 w 6994136"/>
              <a:gd name="connsiteY3" fmla="*/ 3419009 h 6607124"/>
              <a:gd name="connsiteX4" fmla="*/ 4833726 w 6994136"/>
              <a:gd name="connsiteY4" fmla="*/ 6607124 h 6607124"/>
              <a:gd name="connsiteX0" fmla="*/ 4833726 w 6994136"/>
              <a:gd name="connsiteY0" fmla="*/ 6607124 h 6607124"/>
              <a:gd name="connsiteX1" fmla="*/ 1405487 w 6994136"/>
              <a:gd name="connsiteY1" fmla="*/ 3490053 h 6607124"/>
              <a:gd name="connsiteX2" fmla="*/ 0 w 6994136"/>
              <a:gd name="connsiteY2" fmla="*/ 2193494 h 6607124"/>
              <a:gd name="connsiteX3" fmla="*/ 6994136 w 6994136"/>
              <a:gd name="connsiteY3" fmla="*/ 0 h 6607124"/>
              <a:gd name="connsiteX4" fmla="*/ 6965271 w 6994136"/>
              <a:gd name="connsiteY4" fmla="*/ 3419009 h 6607124"/>
              <a:gd name="connsiteX5" fmla="*/ 4833726 w 6994136"/>
              <a:gd name="connsiteY5" fmla="*/ 6607124 h 6607124"/>
              <a:gd name="connsiteX0" fmla="*/ 4833726 w 6994136"/>
              <a:gd name="connsiteY0" fmla="*/ 6607124 h 6607124"/>
              <a:gd name="connsiteX1" fmla="*/ 4078801 w 6994136"/>
              <a:gd name="connsiteY1" fmla="*/ 6571601 h 6607124"/>
              <a:gd name="connsiteX2" fmla="*/ 0 w 6994136"/>
              <a:gd name="connsiteY2" fmla="*/ 2193494 h 6607124"/>
              <a:gd name="connsiteX3" fmla="*/ 6994136 w 6994136"/>
              <a:gd name="connsiteY3" fmla="*/ 0 h 6607124"/>
              <a:gd name="connsiteX4" fmla="*/ 6965271 w 6994136"/>
              <a:gd name="connsiteY4" fmla="*/ 3419009 h 6607124"/>
              <a:gd name="connsiteX5" fmla="*/ 4833726 w 6994136"/>
              <a:gd name="connsiteY5" fmla="*/ 6607124 h 6607124"/>
              <a:gd name="connsiteX0" fmla="*/ 4833726 w 6994136"/>
              <a:gd name="connsiteY0" fmla="*/ 6553841 h 6571601"/>
              <a:gd name="connsiteX1" fmla="*/ 4078801 w 6994136"/>
              <a:gd name="connsiteY1" fmla="*/ 6571601 h 6571601"/>
              <a:gd name="connsiteX2" fmla="*/ 0 w 6994136"/>
              <a:gd name="connsiteY2" fmla="*/ 2193494 h 6571601"/>
              <a:gd name="connsiteX3" fmla="*/ 6994136 w 6994136"/>
              <a:gd name="connsiteY3" fmla="*/ 0 h 6571601"/>
              <a:gd name="connsiteX4" fmla="*/ 6965271 w 6994136"/>
              <a:gd name="connsiteY4" fmla="*/ 3419009 h 6571601"/>
              <a:gd name="connsiteX5" fmla="*/ 4833726 w 6994136"/>
              <a:gd name="connsiteY5" fmla="*/ 6553841 h 6571601"/>
              <a:gd name="connsiteX0" fmla="*/ 4833726 w 6994136"/>
              <a:gd name="connsiteY0" fmla="*/ 6553841 h 6553841"/>
              <a:gd name="connsiteX1" fmla="*/ 4061039 w 6994136"/>
              <a:gd name="connsiteY1" fmla="*/ 6544959 h 6553841"/>
              <a:gd name="connsiteX2" fmla="*/ 0 w 6994136"/>
              <a:gd name="connsiteY2" fmla="*/ 2193494 h 6553841"/>
              <a:gd name="connsiteX3" fmla="*/ 6994136 w 6994136"/>
              <a:gd name="connsiteY3" fmla="*/ 0 h 6553841"/>
              <a:gd name="connsiteX4" fmla="*/ 6965271 w 6994136"/>
              <a:gd name="connsiteY4" fmla="*/ 3419009 h 6553841"/>
              <a:gd name="connsiteX5" fmla="*/ 4833726 w 6994136"/>
              <a:gd name="connsiteY5" fmla="*/ 6553841 h 6553841"/>
              <a:gd name="connsiteX0" fmla="*/ 4895896 w 7056306"/>
              <a:gd name="connsiteY0" fmla="*/ 6553841 h 6553841"/>
              <a:gd name="connsiteX1" fmla="*/ 4123209 w 7056306"/>
              <a:gd name="connsiteY1" fmla="*/ 6544959 h 6553841"/>
              <a:gd name="connsiteX2" fmla="*/ 0 w 7056306"/>
              <a:gd name="connsiteY2" fmla="*/ 2193494 h 6553841"/>
              <a:gd name="connsiteX3" fmla="*/ 7056306 w 7056306"/>
              <a:gd name="connsiteY3" fmla="*/ 0 h 6553841"/>
              <a:gd name="connsiteX4" fmla="*/ 7027441 w 7056306"/>
              <a:gd name="connsiteY4" fmla="*/ 3419009 h 6553841"/>
              <a:gd name="connsiteX5" fmla="*/ 4895896 w 7056306"/>
              <a:gd name="connsiteY5" fmla="*/ 6553841 h 6553841"/>
              <a:gd name="connsiteX0" fmla="*/ 4895896 w 7056306"/>
              <a:gd name="connsiteY0" fmla="*/ 6553841 h 6553841"/>
              <a:gd name="connsiteX1" fmla="*/ 4123209 w 7056306"/>
              <a:gd name="connsiteY1" fmla="*/ 6544959 h 6553841"/>
              <a:gd name="connsiteX2" fmla="*/ 197612 w 7056306"/>
              <a:gd name="connsiteY2" fmla="*/ 2397746 h 6553841"/>
              <a:gd name="connsiteX3" fmla="*/ 0 w 7056306"/>
              <a:gd name="connsiteY3" fmla="*/ 2193494 h 6553841"/>
              <a:gd name="connsiteX4" fmla="*/ 7056306 w 7056306"/>
              <a:gd name="connsiteY4" fmla="*/ 0 h 6553841"/>
              <a:gd name="connsiteX5" fmla="*/ 7027441 w 7056306"/>
              <a:gd name="connsiteY5" fmla="*/ 3419009 h 6553841"/>
              <a:gd name="connsiteX6" fmla="*/ 4895896 w 7056306"/>
              <a:gd name="connsiteY6" fmla="*/ 6553841 h 6553841"/>
              <a:gd name="connsiteX0" fmla="*/ 4895896 w 7056306"/>
              <a:gd name="connsiteY0" fmla="*/ 6553841 h 6553841"/>
              <a:gd name="connsiteX1" fmla="*/ 4123209 w 7056306"/>
              <a:gd name="connsiteY1" fmla="*/ 6544959 h 6553841"/>
              <a:gd name="connsiteX2" fmla="*/ 91034 w 7056306"/>
              <a:gd name="connsiteY2" fmla="*/ 2442148 h 6553841"/>
              <a:gd name="connsiteX3" fmla="*/ 0 w 7056306"/>
              <a:gd name="connsiteY3" fmla="*/ 2193494 h 6553841"/>
              <a:gd name="connsiteX4" fmla="*/ 7056306 w 7056306"/>
              <a:gd name="connsiteY4" fmla="*/ 0 h 6553841"/>
              <a:gd name="connsiteX5" fmla="*/ 7027441 w 7056306"/>
              <a:gd name="connsiteY5" fmla="*/ 3419009 h 6553841"/>
              <a:gd name="connsiteX6" fmla="*/ 4895896 w 7056306"/>
              <a:gd name="connsiteY6" fmla="*/ 6553841 h 6553841"/>
              <a:gd name="connsiteX0" fmla="*/ 4922142 w 7082552"/>
              <a:gd name="connsiteY0" fmla="*/ 6553841 h 6553841"/>
              <a:gd name="connsiteX1" fmla="*/ 4149455 w 7082552"/>
              <a:gd name="connsiteY1" fmla="*/ 6544959 h 6553841"/>
              <a:gd name="connsiteX2" fmla="*/ 117280 w 7082552"/>
              <a:gd name="connsiteY2" fmla="*/ 2442148 h 6553841"/>
              <a:gd name="connsiteX3" fmla="*/ 26246 w 7082552"/>
              <a:gd name="connsiteY3" fmla="*/ 2193494 h 6553841"/>
              <a:gd name="connsiteX4" fmla="*/ 7082552 w 7082552"/>
              <a:gd name="connsiteY4" fmla="*/ 0 h 6553841"/>
              <a:gd name="connsiteX5" fmla="*/ 7053687 w 7082552"/>
              <a:gd name="connsiteY5" fmla="*/ 3419009 h 6553841"/>
              <a:gd name="connsiteX6" fmla="*/ 4922142 w 7082552"/>
              <a:gd name="connsiteY6" fmla="*/ 6553841 h 6553841"/>
              <a:gd name="connsiteX0" fmla="*/ 4950971 w 7111381"/>
              <a:gd name="connsiteY0" fmla="*/ 6553841 h 6553841"/>
              <a:gd name="connsiteX1" fmla="*/ 4178284 w 7111381"/>
              <a:gd name="connsiteY1" fmla="*/ 6544959 h 6553841"/>
              <a:gd name="connsiteX2" fmla="*/ 146109 w 7111381"/>
              <a:gd name="connsiteY2" fmla="*/ 2442148 h 6553841"/>
              <a:gd name="connsiteX3" fmla="*/ 55075 w 7111381"/>
              <a:gd name="connsiteY3" fmla="*/ 2193494 h 6553841"/>
              <a:gd name="connsiteX4" fmla="*/ 7111381 w 7111381"/>
              <a:gd name="connsiteY4" fmla="*/ 0 h 6553841"/>
              <a:gd name="connsiteX5" fmla="*/ 7082516 w 7111381"/>
              <a:gd name="connsiteY5" fmla="*/ 3419009 h 6553841"/>
              <a:gd name="connsiteX6" fmla="*/ 4950971 w 7111381"/>
              <a:gd name="connsiteY6" fmla="*/ 6553841 h 6553841"/>
              <a:gd name="connsiteX0" fmla="*/ 4963653 w 7124063"/>
              <a:gd name="connsiteY0" fmla="*/ 6553841 h 6553841"/>
              <a:gd name="connsiteX1" fmla="*/ 4190966 w 7124063"/>
              <a:gd name="connsiteY1" fmla="*/ 6544959 h 6553841"/>
              <a:gd name="connsiteX2" fmla="*/ 158791 w 7124063"/>
              <a:gd name="connsiteY2" fmla="*/ 2442148 h 6553841"/>
              <a:gd name="connsiteX3" fmla="*/ 67757 w 7124063"/>
              <a:gd name="connsiteY3" fmla="*/ 2193494 h 6553841"/>
              <a:gd name="connsiteX4" fmla="*/ 7124063 w 7124063"/>
              <a:gd name="connsiteY4" fmla="*/ 0 h 6553841"/>
              <a:gd name="connsiteX5" fmla="*/ 7095198 w 7124063"/>
              <a:gd name="connsiteY5" fmla="*/ 3419009 h 6553841"/>
              <a:gd name="connsiteX6" fmla="*/ 4963653 w 7124063"/>
              <a:gd name="connsiteY6" fmla="*/ 6553841 h 6553841"/>
              <a:gd name="connsiteX0" fmla="*/ 4951680 w 7112090"/>
              <a:gd name="connsiteY0" fmla="*/ 6553841 h 6553841"/>
              <a:gd name="connsiteX1" fmla="*/ 4178993 w 7112090"/>
              <a:gd name="connsiteY1" fmla="*/ 6544959 h 6553841"/>
              <a:gd name="connsiteX2" fmla="*/ 146818 w 7112090"/>
              <a:gd name="connsiteY2" fmla="*/ 2442148 h 6553841"/>
              <a:gd name="connsiteX3" fmla="*/ 78234 w 7112090"/>
              <a:gd name="connsiteY3" fmla="*/ 2187080 h 6553841"/>
              <a:gd name="connsiteX4" fmla="*/ 7112090 w 7112090"/>
              <a:gd name="connsiteY4" fmla="*/ 0 h 6553841"/>
              <a:gd name="connsiteX5" fmla="*/ 7083225 w 7112090"/>
              <a:gd name="connsiteY5" fmla="*/ 3419009 h 6553841"/>
              <a:gd name="connsiteX6" fmla="*/ 4951680 w 7112090"/>
              <a:gd name="connsiteY6" fmla="*/ 6553841 h 6553841"/>
              <a:gd name="connsiteX0" fmla="*/ 4951680 w 7083225"/>
              <a:gd name="connsiteY0" fmla="*/ 6527921 h 6527921"/>
              <a:gd name="connsiteX1" fmla="*/ 4178993 w 7083225"/>
              <a:gd name="connsiteY1" fmla="*/ 6519039 h 6527921"/>
              <a:gd name="connsiteX2" fmla="*/ 146818 w 7083225"/>
              <a:gd name="connsiteY2" fmla="*/ 2416228 h 6527921"/>
              <a:gd name="connsiteX3" fmla="*/ 78234 w 7083225"/>
              <a:gd name="connsiteY3" fmla="*/ 2161160 h 6527921"/>
              <a:gd name="connsiteX4" fmla="*/ 7077534 w 7083225"/>
              <a:gd name="connsiteY4" fmla="*/ 0 h 6527921"/>
              <a:gd name="connsiteX5" fmla="*/ 7083225 w 7083225"/>
              <a:gd name="connsiteY5" fmla="*/ 3393089 h 6527921"/>
              <a:gd name="connsiteX6" fmla="*/ 4951680 w 7083225"/>
              <a:gd name="connsiteY6" fmla="*/ 6527921 h 6527921"/>
              <a:gd name="connsiteX0" fmla="*/ 4996130 w 7083225"/>
              <a:gd name="connsiteY0" fmla="*/ 6521571 h 6521571"/>
              <a:gd name="connsiteX1" fmla="*/ 4178993 w 7083225"/>
              <a:gd name="connsiteY1" fmla="*/ 6519039 h 6521571"/>
              <a:gd name="connsiteX2" fmla="*/ 146818 w 7083225"/>
              <a:gd name="connsiteY2" fmla="*/ 2416228 h 6521571"/>
              <a:gd name="connsiteX3" fmla="*/ 78234 w 7083225"/>
              <a:gd name="connsiteY3" fmla="*/ 2161160 h 6521571"/>
              <a:gd name="connsiteX4" fmla="*/ 7077534 w 7083225"/>
              <a:gd name="connsiteY4" fmla="*/ 0 h 6521571"/>
              <a:gd name="connsiteX5" fmla="*/ 7083225 w 7083225"/>
              <a:gd name="connsiteY5" fmla="*/ 3393089 h 6521571"/>
              <a:gd name="connsiteX6" fmla="*/ 4996130 w 7083225"/>
              <a:gd name="connsiteY6" fmla="*/ 6521571 h 6521571"/>
              <a:gd name="connsiteX0" fmla="*/ 4996130 w 7083225"/>
              <a:gd name="connsiteY0" fmla="*/ 6521571 h 6525389"/>
              <a:gd name="connsiteX1" fmla="*/ 4182168 w 7083225"/>
              <a:gd name="connsiteY1" fmla="*/ 6525389 h 6525389"/>
              <a:gd name="connsiteX2" fmla="*/ 146818 w 7083225"/>
              <a:gd name="connsiteY2" fmla="*/ 2416228 h 6525389"/>
              <a:gd name="connsiteX3" fmla="*/ 78234 w 7083225"/>
              <a:gd name="connsiteY3" fmla="*/ 2161160 h 6525389"/>
              <a:gd name="connsiteX4" fmla="*/ 7077534 w 7083225"/>
              <a:gd name="connsiteY4" fmla="*/ 0 h 6525389"/>
              <a:gd name="connsiteX5" fmla="*/ 7083225 w 7083225"/>
              <a:gd name="connsiteY5" fmla="*/ 3393089 h 6525389"/>
              <a:gd name="connsiteX6" fmla="*/ 4996130 w 7083225"/>
              <a:gd name="connsiteY6" fmla="*/ 6521571 h 6525389"/>
              <a:gd name="connsiteX0" fmla="*/ 4996130 w 7084961"/>
              <a:gd name="connsiteY0" fmla="*/ 6532712 h 6536530"/>
              <a:gd name="connsiteX1" fmla="*/ 4182168 w 7084961"/>
              <a:gd name="connsiteY1" fmla="*/ 6536530 h 6536530"/>
              <a:gd name="connsiteX2" fmla="*/ 146818 w 7084961"/>
              <a:gd name="connsiteY2" fmla="*/ 2427369 h 6536530"/>
              <a:gd name="connsiteX3" fmla="*/ 78234 w 7084961"/>
              <a:gd name="connsiteY3" fmla="*/ 2172301 h 6536530"/>
              <a:gd name="connsiteX4" fmla="*/ 7084961 w 7084961"/>
              <a:gd name="connsiteY4" fmla="*/ 0 h 6536530"/>
              <a:gd name="connsiteX5" fmla="*/ 7083225 w 7084961"/>
              <a:gd name="connsiteY5" fmla="*/ 3404230 h 6536530"/>
              <a:gd name="connsiteX6" fmla="*/ 4996130 w 7084961"/>
              <a:gd name="connsiteY6" fmla="*/ 6532712 h 6536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84961" h="6536530">
                <a:moveTo>
                  <a:pt x="4996130" y="6532712"/>
                </a:moveTo>
                <a:lnTo>
                  <a:pt x="4182168" y="6536530"/>
                </a:lnTo>
                <a:lnTo>
                  <a:pt x="146818" y="2427369"/>
                </a:lnTo>
                <a:cubicBezTo>
                  <a:pt x="-69953" y="2216324"/>
                  <a:pt x="-5053" y="2212053"/>
                  <a:pt x="78234" y="2172301"/>
                </a:cubicBezTo>
                <a:lnTo>
                  <a:pt x="7084961" y="0"/>
                </a:lnTo>
                <a:cubicBezTo>
                  <a:pt x="7084382" y="1134743"/>
                  <a:pt x="7083804" y="2269487"/>
                  <a:pt x="7083225" y="3404230"/>
                </a:cubicBezTo>
                <a:lnTo>
                  <a:pt x="4996130" y="6532712"/>
                </a:lnTo>
                <a:close/>
              </a:path>
            </a:pathLst>
          </a:custGeom>
          <a:blipFill rotWithShape="1">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4">
            <a:extLst>
              <a:ext uri="{FF2B5EF4-FFF2-40B4-BE49-F238E27FC236}">
                <a16:creationId xmlns:a16="http://schemas.microsoft.com/office/drawing/2014/main" id="{9C2A525A-9C3A-9844-AA70-6EF9DB3DB6AD}"/>
              </a:ext>
            </a:extLst>
          </p:cNvPr>
          <p:cNvSpPr>
            <a:spLocks noGrp="1"/>
          </p:cNvSpPr>
          <p:nvPr>
            <p:ph type="body" sz="quarter" idx="12"/>
          </p:nvPr>
        </p:nvSpPr>
        <p:spPr>
          <a:xfrm>
            <a:off x="360000" y="1800000"/>
            <a:ext cx="4526793" cy="2916793"/>
          </a:xfrm>
        </p:spPr>
        <p:txBody>
          <a:bodyPr>
            <a:noAutofit/>
          </a:bodyPr>
          <a:lstStyle>
            <a:lvl1pPr marL="285750" indent="-285750">
              <a:lnSpc>
                <a:spcPct val="100000"/>
              </a:lnSpc>
              <a:spcBef>
                <a:spcPts val="1200"/>
              </a:spcBef>
              <a:buClr>
                <a:schemeClr val="accent1"/>
              </a:buClr>
              <a:buSzPct val="125000"/>
              <a:buFont typeface="Courier New" panose="02070309020205020404" pitchFamily="49" charset="0"/>
              <a:buChar char="o"/>
              <a:defRPr/>
            </a:lvl1pPr>
            <a:lvl2pPr marL="742950" indent="-285750">
              <a:lnSpc>
                <a:spcPct val="100000"/>
              </a:lnSpc>
              <a:spcBef>
                <a:spcPts val="1200"/>
              </a:spcBef>
              <a:buClr>
                <a:schemeClr val="accent1"/>
              </a:buClr>
              <a:buSzPct val="125000"/>
              <a:buFont typeface="Courier New" panose="02070309020205020404" pitchFamily="49" charset="0"/>
              <a:buChar char="o"/>
              <a:defRPr/>
            </a:lvl2pPr>
            <a:lvl3pPr marL="1143000" indent="-228600">
              <a:lnSpc>
                <a:spcPct val="100000"/>
              </a:lnSpc>
              <a:spcBef>
                <a:spcPts val="1200"/>
              </a:spcBef>
              <a:buClr>
                <a:schemeClr val="accent1"/>
              </a:buClr>
              <a:buSzPct val="125000"/>
              <a:buFont typeface="Courier New" panose="02070309020205020404" pitchFamily="49" charset="0"/>
              <a:buChar char="o"/>
              <a:defRPr/>
            </a:lvl3pPr>
            <a:lvl4pPr marL="1600200" indent="-228600">
              <a:lnSpc>
                <a:spcPct val="100000"/>
              </a:lnSpc>
              <a:spcBef>
                <a:spcPts val="1200"/>
              </a:spcBef>
              <a:buClr>
                <a:schemeClr val="accent1"/>
              </a:buClr>
              <a:buSzPct val="125000"/>
              <a:buFont typeface="Courier New" panose="02070309020205020404" pitchFamily="49" charset="0"/>
              <a:buChar char="o"/>
              <a:defRPr/>
            </a:lvl4pPr>
            <a:lvl5pPr marL="2057400" indent="-228600">
              <a:lnSpc>
                <a:spcPct val="100000"/>
              </a:lnSpc>
              <a:spcBef>
                <a:spcPts val="1200"/>
              </a:spcBef>
              <a:buClr>
                <a:schemeClr val="accent1"/>
              </a:buClr>
              <a:buSzPct val="125000"/>
              <a:buFont typeface="Courier New" panose="02070309020205020404" pitchFamily="49" charset="0"/>
              <a:buChar char="o"/>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 Number Placeholder 5">
            <a:extLst>
              <a:ext uri="{FF2B5EF4-FFF2-40B4-BE49-F238E27FC236}">
                <a16:creationId xmlns:a16="http://schemas.microsoft.com/office/drawing/2014/main" id="{6321A811-C267-3F48-8718-A1C952D3C5F3}"/>
              </a:ext>
            </a:extLst>
          </p:cNvPr>
          <p:cNvSpPr>
            <a:spLocks noGrp="1"/>
          </p:cNvSpPr>
          <p:nvPr>
            <p:ph type="sldNum" sz="quarter" idx="4"/>
          </p:nvPr>
        </p:nvSpPr>
        <p:spPr>
          <a:xfrm>
            <a:off x="359999" y="6264872"/>
            <a:ext cx="360000" cy="360000"/>
          </a:xfrm>
          <a:prstGeom prst="rect">
            <a:avLst/>
          </a:prstGeom>
        </p:spPr>
        <p:txBody>
          <a:bodyPr vert="horz" lIns="91440" tIns="45720" rIns="91440" bIns="45720" rtlCol="0" anchor="ctr"/>
          <a:lstStyle>
            <a:lvl1pPr algn="l">
              <a:defRPr sz="800" b="0" i="0">
                <a:solidFill>
                  <a:schemeClr val="tx1"/>
                </a:solidFill>
                <a:latin typeface="Arial" panose="020B0604020202020204" pitchFamily="34" charset="0"/>
                <a:cs typeface="Arial" panose="020B0604020202020204" pitchFamily="34" charset="0"/>
              </a:defRPr>
            </a:lvl1pPr>
          </a:lstStyle>
          <a:p>
            <a:fld id="{52BD4378-72E1-444F-8B73-E4C8D03E6D72}" type="slidenum">
              <a:rPr lang="en-MY" smtClean="0"/>
              <a:t>‹#›</a:t>
            </a:fld>
            <a:endParaRPr lang="en-MY"/>
          </a:p>
        </p:txBody>
      </p:sp>
      <p:sp>
        <p:nvSpPr>
          <p:cNvPr id="17" name="Text Placeholder 11">
            <a:extLst>
              <a:ext uri="{FF2B5EF4-FFF2-40B4-BE49-F238E27FC236}">
                <a16:creationId xmlns:a16="http://schemas.microsoft.com/office/drawing/2014/main" id="{AE5B2288-C075-7B4D-B708-E6ADAF59832A}"/>
              </a:ext>
            </a:extLst>
          </p:cNvPr>
          <p:cNvSpPr>
            <a:spLocks noGrp="1"/>
          </p:cNvSpPr>
          <p:nvPr>
            <p:ph type="body" sz="quarter" idx="10" hasCustomPrompt="1"/>
          </p:nvPr>
        </p:nvSpPr>
        <p:spPr>
          <a:xfrm>
            <a:off x="360000" y="540000"/>
            <a:ext cx="4619324" cy="1338676"/>
          </a:xfrm>
          <a:prstGeom prst="rect">
            <a:avLst/>
          </a:prstGeom>
          <a:noFill/>
        </p:spPr>
        <p:txBody>
          <a:bodyPr>
            <a:noAutofit/>
          </a:bodyPr>
          <a:lstStyle>
            <a:lvl1pPr>
              <a:lnSpc>
                <a:spcPts val="3200"/>
              </a:lnSpc>
              <a:defRPr sz="3600">
                <a:solidFill>
                  <a:srgbClr val="333D47"/>
                </a:solidFill>
              </a:defRPr>
            </a:lvl1pPr>
            <a:lvl2pPr marL="457200" indent="0">
              <a:buNone/>
              <a:defRPr/>
            </a:lvl2pPr>
          </a:lstStyle>
          <a:p>
            <a:pPr lvl="0"/>
            <a:r>
              <a:rPr lang="en-US"/>
              <a:t>Headline</a:t>
            </a:r>
          </a:p>
        </p:txBody>
      </p:sp>
      <p:sp>
        <p:nvSpPr>
          <p:cNvPr id="10" name="TextBox 9">
            <a:extLst>
              <a:ext uri="{FF2B5EF4-FFF2-40B4-BE49-F238E27FC236}">
                <a16:creationId xmlns:a16="http://schemas.microsoft.com/office/drawing/2014/main" id="{EDFCB76F-DFD4-754E-86E3-5D80F5F5D23A}"/>
              </a:ext>
            </a:extLst>
          </p:cNvPr>
          <p:cNvSpPr txBox="1"/>
          <p:nvPr/>
        </p:nvSpPr>
        <p:spPr>
          <a:xfrm>
            <a:off x="-1170000" y="2440557"/>
            <a:ext cx="1052488" cy="1785104"/>
          </a:xfrm>
          <a:prstGeom prst="rect">
            <a:avLst/>
          </a:prstGeom>
          <a:solidFill>
            <a:schemeClr val="bg1"/>
          </a:solidFill>
        </p:spPr>
        <p:txBody>
          <a:bodyPr wrap="square" rtlCol="0">
            <a:spAutoFit/>
          </a:bodyPr>
          <a:lstStyle/>
          <a:p>
            <a:pPr algn="l"/>
            <a:r>
              <a:rPr lang="en-US" sz="1000">
                <a:solidFill>
                  <a:srgbClr val="333D47"/>
                </a:solidFill>
                <a:latin typeface="Arial" panose="020B0604020202020204" pitchFamily="34" charset="0"/>
                <a:cs typeface="Arial" panose="020B0604020202020204" pitchFamily="34" charset="0"/>
              </a:rPr>
              <a:t>The image can be replaced here and master view</a:t>
            </a:r>
          </a:p>
          <a:p>
            <a:pPr algn="l"/>
            <a:endParaRPr lang="en-US" sz="1000">
              <a:solidFill>
                <a:srgbClr val="333D47"/>
              </a:solidFill>
              <a:latin typeface="Arial" panose="020B0604020202020204" pitchFamily="34" charset="0"/>
              <a:cs typeface="Arial" panose="020B0604020202020204" pitchFamily="34" charset="0"/>
            </a:endParaRPr>
          </a:p>
          <a:p>
            <a:pPr algn="l"/>
            <a:r>
              <a:rPr lang="en-GB" sz="1000">
                <a:latin typeface="Helvetica Neue" panose="02000503000000020004" pitchFamily="2" charset="0"/>
              </a:rPr>
              <a:t>Please </a:t>
            </a:r>
            <a:r>
              <a:rPr lang="en-GB" sz="1000" b="1">
                <a:latin typeface="Helvetica Neue" panose="02000503000000020004" pitchFamily="2" charset="0"/>
              </a:rPr>
              <a:t>do not </a:t>
            </a:r>
            <a:r>
              <a:rPr lang="en-GB" sz="1000">
                <a:latin typeface="Helvetica Neue" panose="02000503000000020004" pitchFamily="2" charset="0"/>
              </a:rPr>
              <a:t>use any internal photo competition participants’ images</a:t>
            </a:r>
            <a:endParaRPr lang="en-US" sz="1000">
              <a:solidFill>
                <a:srgbClr val="333D47"/>
              </a:solidFill>
            </a:endParaRPr>
          </a:p>
        </p:txBody>
      </p:sp>
      <p:sp>
        <p:nvSpPr>
          <p:cNvPr id="12" name="Trapezoid 5">
            <a:extLst>
              <a:ext uri="{FF2B5EF4-FFF2-40B4-BE49-F238E27FC236}">
                <a16:creationId xmlns:a16="http://schemas.microsoft.com/office/drawing/2014/main" id="{F04B3118-33B5-5443-A7CA-93365D3FC725}"/>
              </a:ext>
            </a:extLst>
          </p:cNvPr>
          <p:cNvSpPr/>
          <p:nvPr/>
        </p:nvSpPr>
        <p:spPr>
          <a:xfrm>
            <a:off x="5114672" y="315416"/>
            <a:ext cx="7094891" cy="6560112"/>
          </a:xfrm>
          <a:custGeom>
            <a:avLst/>
            <a:gdLst>
              <a:gd name="connsiteX0" fmla="*/ 0 w 3508169"/>
              <a:gd name="connsiteY0" fmla="*/ 3543337 h 3543337"/>
              <a:gd name="connsiteX1" fmla="*/ 877042 w 3508169"/>
              <a:gd name="connsiteY1" fmla="*/ 0 h 3543337"/>
              <a:gd name="connsiteX2" fmla="*/ 2631127 w 3508169"/>
              <a:gd name="connsiteY2" fmla="*/ 0 h 3543337"/>
              <a:gd name="connsiteX3" fmla="*/ 3508169 w 3508169"/>
              <a:gd name="connsiteY3" fmla="*/ 3543337 h 3543337"/>
              <a:gd name="connsiteX4" fmla="*/ 0 w 3508169"/>
              <a:gd name="connsiteY4" fmla="*/ 3543337 h 3543337"/>
              <a:gd name="connsiteX0" fmla="*/ 0 w 6086008"/>
              <a:gd name="connsiteY0" fmla="*/ 5470415 h 5470415"/>
              <a:gd name="connsiteX1" fmla="*/ 877042 w 6086008"/>
              <a:gd name="connsiteY1" fmla="*/ 1927078 h 5470415"/>
              <a:gd name="connsiteX2" fmla="*/ 6086008 w 6086008"/>
              <a:gd name="connsiteY2" fmla="*/ 0 h 5470415"/>
              <a:gd name="connsiteX3" fmla="*/ 3508169 w 6086008"/>
              <a:gd name="connsiteY3" fmla="*/ 5470415 h 5470415"/>
              <a:gd name="connsiteX4" fmla="*/ 0 w 6086008"/>
              <a:gd name="connsiteY4" fmla="*/ 5470415 h 5470415"/>
              <a:gd name="connsiteX0" fmla="*/ 0 w 6086008"/>
              <a:gd name="connsiteY0" fmla="*/ 5470415 h 5470415"/>
              <a:gd name="connsiteX1" fmla="*/ 877042 w 6086008"/>
              <a:gd name="connsiteY1" fmla="*/ 1927078 h 5470415"/>
              <a:gd name="connsiteX2" fmla="*/ 6086008 w 6086008"/>
              <a:gd name="connsiteY2" fmla="*/ 0 h 5470415"/>
              <a:gd name="connsiteX3" fmla="*/ 6057143 w 6086008"/>
              <a:gd name="connsiteY3" fmla="*/ 3419009 h 5470415"/>
              <a:gd name="connsiteX4" fmla="*/ 0 w 6086008"/>
              <a:gd name="connsiteY4" fmla="*/ 5470415 h 5470415"/>
              <a:gd name="connsiteX0" fmla="*/ 3048556 w 5208966"/>
              <a:gd name="connsiteY0" fmla="*/ 6607124 h 6607124"/>
              <a:gd name="connsiteX1" fmla="*/ 0 w 5208966"/>
              <a:gd name="connsiteY1" fmla="*/ 1927078 h 6607124"/>
              <a:gd name="connsiteX2" fmla="*/ 5208966 w 5208966"/>
              <a:gd name="connsiteY2" fmla="*/ 0 h 6607124"/>
              <a:gd name="connsiteX3" fmla="*/ 5180101 w 5208966"/>
              <a:gd name="connsiteY3" fmla="*/ 3419009 h 6607124"/>
              <a:gd name="connsiteX4" fmla="*/ 3048556 w 5208966"/>
              <a:gd name="connsiteY4" fmla="*/ 6607124 h 6607124"/>
              <a:gd name="connsiteX0" fmla="*/ 4833726 w 6994136"/>
              <a:gd name="connsiteY0" fmla="*/ 6607124 h 6607124"/>
              <a:gd name="connsiteX1" fmla="*/ 0 w 6994136"/>
              <a:gd name="connsiteY1" fmla="*/ 2193494 h 6607124"/>
              <a:gd name="connsiteX2" fmla="*/ 6994136 w 6994136"/>
              <a:gd name="connsiteY2" fmla="*/ 0 h 6607124"/>
              <a:gd name="connsiteX3" fmla="*/ 6965271 w 6994136"/>
              <a:gd name="connsiteY3" fmla="*/ 3419009 h 6607124"/>
              <a:gd name="connsiteX4" fmla="*/ 4833726 w 6994136"/>
              <a:gd name="connsiteY4" fmla="*/ 6607124 h 6607124"/>
              <a:gd name="connsiteX0" fmla="*/ 4833726 w 6994136"/>
              <a:gd name="connsiteY0" fmla="*/ 6607124 h 6607124"/>
              <a:gd name="connsiteX1" fmla="*/ 1405487 w 6994136"/>
              <a:gd name="connsiteY1" fmla="*/ 3490053 h 6607124"/>
              <a:gd name="connsiteX2" fmla="*/ 0 w 6994136"/>
              <a:gd name="connsiteY2" fmla="*/ 2193494 h 6607124"/>
              <a:gd name="connsiteX3" fmla="*/ 6994136 w 6994136"/>
              <a:gd name="connsiteY3" fmla="*/ 0 h 6607124"/>
              <a:gd name="connsiteX4" fmla="*/ 6965271 w 6994136"/>
              <a:gd name="connsiteY4" fmla="*/ 3419009 h 6607124"/>
              <a:gd name="connsiteX5" fmla="*/ 4833726 w 6994136"/>
              <a:gd name="connsiteY5" fmla="*/ 6607124 h 6607124"/>
              <a:gd name="connsiteX0" fmla="*/ 4833726 w 6994136"/>
              <a:gd name="connsiteY0" fmla="*/ 6607124 h 6607124"/>
              <a:gd name="connsiteX1" fmla="*/ 4078801 w 6994136"/>
              <a:gd name="connsiteY1" fmla="*/ 6571601 h 6607124"/>
              <a:gd name="connsiteX2" fmla="*/ 0 w 6994136"/>
              <a:gd name="connsiteY2" fmla="*/ 2193494 h 6607124"/>
              <a:gd name="connsiteX3" fmla="*/ 6994136 w 6994136"/>
              <a:gd name="connsiteY3" fmla="*/ 0 h 6607124"/>
              <a:gd name="connsiteX4" fmla="*/ 6965271 w 6994136"/>
              <a:gd name="connsiteY4" fmla="*/ 3419009 h 6607124"/>
              <a:gd name="connsiteX5" fmla="*/ 4833726 w 6994136"/>
              <a:gd name="connsiteY5" fmla="*/ 6607124 h 6607124"/>
              <a:gd name="connsiteX0" fmla="*/ 4833726 w 6994136"/>
              <a:gd name="connsiteY0" fmla="*/ 6553841 h 6571601"/>
              <a:gd name="connsiteX1" fmla="*/ 4078801 w 6994136"/>
              <a:gd name="connsiteY1" fmla="*/ 6571601 h 6571601"/>
              <a:gd name="connsiteX2" fmla="*/ 0 w 6994136"/>
              <a:gd name="connsiteY2" fmla="*/ 2193494 h 6571601"/>
              <a:gd name="connsiteX3" fmla="*/ 6994136 w 6994136"/>
              <a:gd name="connsiteY3" fmla="*/ 0 h 6571601"/>
              <a:gd name="connsiteX4" fmla="*/ 6965271 w 6994136"/>
              <a:gd name="connsiteY4" fmla="*/ 3419009 h 6571601"/>
              <a:gd name="connsiteX5" fmla="*/ 4833726 w 6994136"/>
              <a:gd name="connsiteY5" fmla="*/ 6553841 h 6571601"/>
              <a:gd name="connsiteX0" fmla="*/ 4833726 w 6994136"/>
              <a:gd name="connsiteY0" fmla="*/ 6553841 h 6553841"/>
              <a:gd name="connsiteX1" fmla="*/ 4061039 w 6994136"/>
              <a:gd name="connsiteY1" fmla="*/ 6544959 h 6553841"/>
              <a:gd name="connsiteX2" fmla="*/ 0 w 6994136"/>
              <a:gd name="connsiteY2" fmla="*/ 2193494 h 6553841"/>
              <a:gd name="connsiteX3" fmla="*/ 6994136 w 6994136"/>
              <a:gd name="connsiteY3" fmla="*/ 0 h 6553841"/>
              <a:gd name="connsiteX4" fmla="*/ 6965271 w 6994136"/>
              <a:gd name="connsiteY4" fmla="*/ 3419009 h 6553841"/>
              <a:gd name="connsiteX5" fmla="*/ 4833726 w 6994136"/>
              <a:gd name="connsiteY5" fmla="*/ 6553841 h 6553841"/>
              <a:gd name="connsiteX0" fmla="*/ 4895896 w 7056306"/>
              <a:gd name="connsiteY0" fmla="*/ 6553841 h 6553841"/>
              <a:gd name="connsiteX1" fmla="*/ 4123209 w 7056306"/>
              <a:gd name="connsiteY1" fmla="*/ 6544959 h 6553841"/>
              <a:gd name="connsiteX2" fmla="*/ 0 w 7056306"/>
              <a:gd name="connsiteY2" fmla="*/ 2193494 h 6553841"/>
              <a:gd name="connsiteX3" fmla="*/ 7056306 w 7056306"/>
              <a:gd name="connsiteY3" fmla="*/ 0 h 6553841"/>
              <a:gd name="connsiteX4" fmla="*/ 7027441 w 7056306"/>
              <a:gd name="connsiteY4" fmla="*/ 3419009 h 6553841"/>
              <a:gd name="connsiteX5" fmla="*/ 4895896 w 7056306"/>
              <a:gd name="connsiteY5" fmla="*/ 6553841 h 6553841"/>
              <a:gd name="connsiteX0" fmla="*/ 4895896 w 7056306"/>
              <a:gd name="connsiteY0" fmla="*/ 6553841 h 6553841"/>
              <a:gd name="connsiteX1" fmla="*/ 4123209 w 7056306"/>
              <a:gd name="connsiteY1" fmla="*/ 6544959 h 6553841"/>
              <a:gd name="connsiteX2" fmla="*/ 197612 w 7056306"/>
              <a:gd name="connsiteY2" fmla="*/ 2397746 h 6553841"/>
              <a:gd name="connsiteX3" fmla="*/ 0 w 7056306"/>
              <a:gd name="connsiteY3" fmla="*/ 2193494 h 6553841"/>
              <a:gd name="connsiteX4" fmla="*/ 7056306 w 7056306"/>
              <a:gd name="connsiteY4" fmla="*/ 0 h 6553841"/>
              <a:gd name="connsiteX5" fmla="*/ 7027441 w 7056306"/>
              <a:gd name="connsiteY5" fmla="*/ 3419009 h 6553841"/>
              <a:gd name="connsiteX6" fmla="*/ 4895896 w 7056306"/>
              <a:gd name="connsiteY6" fmla="*/ 6553841 h 6553841"/>
              <a:gd name="connsiteX0" fmla="*/ 4895896 w 7056306"/>
              <a:gd name="connsiteY0" fmla="*/ 6553841 h 6553841"/>
              <a:gd name="connsiteX1" fmla="*/ 4123209 w 7056306"/>
              <a:gd name="connsiteY1" fmla="*/ 6544959 h 6553841"/>
              <a:gd name="connsiteX2" fmla="*/ 91034 w 7056306"/>
              <a:gd name="connsiteY2" fmla="*/ 2442148 h 6553841"/>
              <a:gd name="connsiteX3" fmla="*/ 0 w 7056306"/>
              <a:gd name="connsiteY3" fmla="*/ 2193494 h 6553841"/>
              <a:gd name="connsiteX4" fmla="*/ 7056306 w 7056306"/>
              <a:gd name="connsiteY4" fmla="*/ 0 h 6553841"/>
              <a:gd name="connsiteX5" fmla="*/ 7027441 w 7056306"/>
              <a:gd name="connsiteY5" fmla="*/ 3419009 h 6553841"/>
              <a:gd name="connsiteX6" fmla="*/ 4895896 w 7056306"/>
              <a:gd name="connsiteY6" fmla="*/ 6553841 h 6553841"/>
              <a:gd name="connsiteX0" fmla="*/ 4922142 w 7082552"/>
              <a:gd name="connsiteY0" fmla="*/ 6553841 h 6553841"/>
              <a:gd name="connsiteX1" fmla="*/ 4149455 w 7082552"/>
              <a:gd name="connsiteY1" fmla="*/ 6544959 h 6553841"/>
              <a:gd name="connsiteX2" fmla="*/ 117280 w 7082552"/>
              <a:gd name="connsiteY2" fmla="*/ 2442148 h 6553841"/>
              <a:gd name="connsiteX3" fmla="*/ 26246 w 7082552"/>
              <a:gd name="connsiteY3" fmla="*/ 2193494 h 6553841"/>
              <a:gd name="connsiteX4" fmla="*/ 7082552 w 7082552"/>
              <a:gd name="connsiteY4" fmla="*/ 0 h 6553841"/>
              <a:gd name="connsiteX5" fmla="*/ 7053687 w 7082552"/>
              <a:gd name="connsiteY5" fmla="*/ 3419009 h 6553841"/>
              <a:gd name="connsiteX6" fmla="*/ 4922142 w 7082552"/>
              <a:gd name="connsiteY6" fmla="*/ 6553841 h 6553841"/>
              <a:gd name="connsiteX0" fmla="*/ 4950971 w 7111381"/>
              <a:gd name="connsiteY0" fmla="*/ 6553841 h 6553841"/>
              <a:gd name="connsiteX1" fmla="*/ 4178284 w 7111381"/>
              <a:gd name="connsiteY1" fmla="*/ 6544959 h 6553841"/>
              <a:gd name="connsiteX2" fmla="*/ 146109 w 7111381"/>
              <a:gd name="connsiteY2" fmla="*/ 2442148 h 6553841"/>
              <a:gd name="connsiteX3" fmla="*/ 55075 w 7111381"/>
              <a:gd name="connsiteY3" fmla="*/ 2193494 h 6553841"/>
              <a:gd name="connsiteX4" fmla="*/ 7111381 w 7111381"/>
              <a:gd name="connsiteY4" fmla="*/ 0 h 6553841"/>
              <a:gd name="connsiteX5" fmla="*/ 7082516 w 7111381"/>
              <a:gd name="connsiteY5" fmla="*/ 3419009 h 6553841"/>
              <a:gd name="connsiteX6" fmla="*/ 4950971 w 7111381"/>
              <a:gd name="connsiteY6" fmla="*/ 6553841 h 6553841"/>
              <a:gd name="connsiteX0" fmla="*/ 4963653 w 7124063"/>
              <a:gd name="connsiteY0" fmla="*/ 6553841 h 6553841"/>
              <a:gd name="connsiteX1" fmla="*/ 4190966 w 7124063"/>
              <a:gd name="connsiteY1" fmla="*/ 6544959 h 6553841"/>
              <a:gd name="connsiteX2" fmla="*/ 158791 w 7124063"/>
              <a:gd name="connsiteY2" fmla="*/ 2442148 h 6553841"/>
              <a:gd name="connsiteX3" fmla="*/ 67757 w 7124063"/>
              <a:gd name="connsiteY3" fmla="*/ 2193494 h 6553841"/>
              <a:gd name="connsiteX4" fmla="*/ 7124063 w 7124063"/>
              <a:gd name="connsiteY4" fmla="*/ 0 h 6553841"/>
              <a:gd name="connsiteX5" fmla="*/ 7095198 w 7124063"/>
              <a:gd name="connsiteY5" fmla="*/ 3419009 h 6553841"/>
              <a:gd name="connsiteX6" fmla="*/ 4963653 w 7124063"/>
              <a:gd name="connsiteY6" fmla="*/ 6553841 h 6553841"/>
              <a:gd name="connsiteX0" fmla="*/ 4951680 w 7112090"/>
              <a:gd name="connsiteY0" fmla="*/ 6553841 h 6553841"/>
              <a:gd name="connsiteX1" fmla="*/ 4178993 w 7112090"/>
              <a:gd name="connsiteY1" fmla="*/ 6544959 h 6553841"/>
              <a:gd name="connsiteX2" fmla="*/ 146818 w 7112090"/>
              <a:gd name="connsiteY2" fmla="*/ 2442148 h 6553841"/>
              <a:gd name="connsiteX3" fmla="*/ 78234 w 7112090"/>
              <a:gd name="connsiteY3" fmla="*/ 2187080 h 6553841"/>
              <a:gd name="connsiteX4" fmla="*/ 7112090 w 7112090"/>
              <a:gd name="connsiteY4" fmla="*/ 0 h 6553841"/>
              <a:gd name="connsiteX5" fmla="*/ 7083225 w 7112090"/>
              <a:gd name="connsiteY5" fmla="*/ 3419009 h 6553841"/>
              <a:gd name="connsiteX6" fmla="*/ 4951680 w 7112090"/>
              <a:gd name="connsiteY6" fmla="*/ 6553841 h 6553841"/>
              <a:gd name="connsiteX0" fmla="*/ 4951680 w 7083225"/>
              <a:gd name="connsiteY0" fmla="*/ 6527921 h 6527921"/>
              <a:gd name="connsiteX1" fmla="*/ 4178993 w 7083225"/>
              <a:gd name="connsiteY1" fmla="*/ 6519039 h 6527921"/>
              <a:gd name="connsiteX2" fmla="*/ 146818 w 7083225"/>
              <a:gd name="connsiteY2" fmla="*/ 2416228 h 6527921"/>
              <a:gd name="connsiteX3" fmla="*/ 78234 w 7083225"/>
              <a:gd name="connsiteY3" fmla="*/ 2161160 h 6527921"/>
              <a:gd name="connsiteX4" fmla="*/ 7077534 w 7083225"/>
              <a:gd name="connsiteY4" fmla="*/ 0 h 6527921"/>
              <a:gd name="connsiteX5" fmla="*/ 7083225 w 7083225"/>
              <a:gd name="connsiteY5" fmla="*/ 3393089 h 6527921"/>
              <a:gd name="connsiteX6" fmla="*/ 4951680 w 7083225"/>
              <a:gd name="connsiteY6" fmla="*/ 6527921 h 6527921"/>
              <a:gd name="connsiteX0" fmla="*/ 4996130 w 7083225"/>
              <a:gd name="connsiteY0" fmla="*/ 6521571 h 6521571"/>
              <a:gd name="connsiteX1" fmla="*/ 4178993 w 7083225"/>
              <a:gd name="connsiteY1" fmla="*/ 6519039 h 6521571"/>
              <a:gd name="connsiteX2" fmla="*/ 146818 w 7083225"/>
              <a:gd name="connsiteY2" fmla="*/ 2416228 h 6521571"/>
              <a:gd name="connsiteX3" fmla="*/ 78234 w 7083225"/>
              <a:gd name="connsiteY3" fmla="*/ 2161160 h 6521571"/>
              <a:gd name="connsiteX4" fmla="*/ 7077534 w 7083225"/>
              <a:gd name="connsiteY4" fmla="*/ 0 h 6521571"/>
              <a:gd name="connsiteX5" fmla="*/ 7083225 w 7083225"/>
              <a:gd name="connsiteY5" fmla="*/ 3393089 h 6521571"/>
              <a:gd name="connsiteX6" fmla="*/ 4996130 w 7083225"/>
              <a:gd name="connsiteY6" fmla="*/ 6521571 h 6521571"/>
              <a:gd name="connsiteX0" fmla="*/ 4996130 w 7083225"/>
              <a:gd name="connsiteY0" fmla="*/ 6521571 h 6525389"/>
              <a:gd name="connsiteX1" fmla="*/ 4182168 w 7083225"/>
              <a:gd name="connsiteY1" fmla="*/ 6525389 h 6525389"/>
              <a:gd name="connsiteX2" fmla="*/ 146818 w 7083225"/>
              <a:gd name="connsiteY2" fmla="*/ 2416228 h 6525389"/>
              <a:gd name="connsiteX3" fmla="*/ 78234 w 7083225"/>
              <a:gd name="connsiteY3" fmla="*/ 2161160 h 6525389"/>
              <a:gd name="connsiteX4" fmla="*/ 7077534 w 7083225"/>
              <a:gd name="connsiteY4" fmla="*/ 0 h 6525389"/>
              <a:gd name="connsiteX5" fmla="*/ 7083225 w 7083225"/>
              <a:gd name="connsiteY5" fmla="*/ 3393089 h 6525389"/>
              <a:gd name="connsiteX6" fmla="*/ 4996130 w 7083225"/>
              <a:gd name="connsiteY6" fmla="*/ 6521571 h 6525389"/>
              <a:gd name="connsiteX0" fmla="*/ 4996130 w 7084961"/>
              <a:gd name="connsiteY0" fmla="*/ 6532712 h 6536530"/>
              <a:gd name="connsiteX1" fmla="*/ 4182168 w 7084961"/>
              <a:gd name="connsiteY1" fmla="*/ 6536530 h 6536530"/>
              <a:gd name="connsiteX2" fmla="*/ 146818 w 7084961"/>
              <a:gd name="connsiteY2" fmla="*/ 2427369 h 6536530"/>
              <a:gd name="connsiteX3" fmla="*/ 78234 w 7084961"/>
              <a:gd name="connsiteY3" fmla="*/ 2172301 h 6536530"/>
              <a:gd name="connsiteX4" fmla="*/ 7084961 w 7084961"/>
              <a:gd name="connsiteY4" fmla="*/ 0 h 6536530"/>
              <a:gd name="connsiteX5" fmla="*/ 7083225 w 7084961"/>
              <a:gd name="connsiteY5" fmla="*/ 3404230 h 6536530"/>
              <a:gd name="connsiteX6" fmla="*/ 4996130 w 7084961"/>
              <a:gd name="connsiteY6" fmla="*/ 6532712 h 6536530"/>
              <a:gd name="connsiteX0" fmla="*/ 5013784 w 7084961"/>
              <a:gd name="connsiteY0" fmla="*/ 6536242 h 6536530"/>
              <a:gd name="connsiteX1" fmla="*/ 4182168 w 7084961"/>
              <a:gd name="connsiteY1" fmla="*/ 6536530 h 6536530"/>
              <a:gd name="connsiteX2" fmla="*/ 146818 w 7084961"/>
              <a:gd name="connsiteY2" fmla="*/ 2427369 h 6536530"/>
              <a:gd name="connsiteX3" fmla="*/ 78234 w 7084961"/>
              <a:gd name="connsiteY3" fmla="*/ 2172301 h 6536530"/>
              <a:gd name="connsiteX4" fmla="*/ 7084961 w 7084961"/>
              <a:gd name="connsiteY4" fmla="*/ 0 h 6536530"/>
              <a:gd name="connsiteX5" fmla="*/ 7083225 w 7084961"/>
              <a:gd name="connsiteY5" fmla="*/ 3404230 h 6536530"/>
              <a:gd name="connsiteX6" fmla="*/ 5013784 w 7084961"/>
              <a:gd name="connsiteY6" fmla="*/ 6536242 h 6536530"/>
              <a:gd name="connsiteX0" fmla="*/ 5013784 w 7084961"/>
              <a:gd name="connsiteY0" fmla="*/ 6536242 h 6547121"/>
              <a:gd name="connsiteX1" fmla="*/ 4185699 w 7084961"/>
              <a:gd name="connsiteY1" fmla="*/ 6547121 h 6547121"/>
              <a:gd name="connsiteX2" fmla="*/ 146818 w 7084961"/>
              <a:gd name="connsiteY2" fmla="*/ 2427369 h 6547121"/>
              <a:gd name="connsiteX3" fmla="*/ 78234 w 7084961"/>
              <a:gd name="connsiteY3" fmla="*/ 2172301 h 6547121"/>
              <a:gd name="connsiteX4" fmla="*/ 7084961 w 7084961"/>
              <a:gd name="connsiteY4" fmla="*/ 0 h 6547121"/>
              <a:gd name="connsiteX5" fmla="*/ 7083225 w 7084961"/>
              <a:gd name="connsiteY5" fmla="*/ 3404230 h 6547121"/>
              <a:gd name="connsiteX6" fmla="*/ 5013784 w 7084961"/>
              <a:gd name="connsiteY6" fmla="*/ 6536242 h 6547121"/>
              <a:gd name="connsiteX0" fmla="*/ 5013784 w 7086830"/>
              <a:gd name="connsiteY0" fmla="*/ 6536242 h 6547121"/>
              <a:gd name="connsiteX1" fmla="*/ 4185699 w 7086830"/>
              <a:gd name="connsiteY1" fmla="*/ 6547121 h 6547121"/>
              <a:gd name="connsiteX2" fmla="*/ 146818 w 7086830"/>
              <a:gd name="connsiteY2" fmla="*/ 2427369 h 6547121"/>
              <a:gd name="connsiteX3" fmla="*/ 78234 w 7086830"/>
              <a:gd name="connsiteY3" fmla="*/ 2172301 h 6547121"/>
              <a:gd name="connsiteX4" fmla="*/ 7084961 w 7086830"/>
              <a:gd name="connsiteY4" fmla="*/ 0 h 6547121"/>
              <a:gd name="connsiteX5" fmla="*/ 7086755 w 7086830"/>
              <a:gd name="connsiteY5" fmla="*/ 3425413 h 6547121"/>
              <a:gd name="connsiteX6" fmla="*/ 5013784 w 7086830"/>
              <a:gd name="connsiteY6" fmla="*/ 6536242 h 6547121"/>
              <a:gd name="connsiteX0" fmla="*/ 5013784 w 7099083"/>
              <a:gd name="connsiteY0" fmla="*/ 6543303 h 6554182"/>
              <a:gd name="connsiteX1" fmla="*/ 4185699 w 7099083"/>
              <a:gd name="connsiteY1" fmla="*/ 6554182 h 6554182"/>
              <a:gd name="connsiteX2" fmla="*/ 146818 w 7099083"/>
              <a:gd name="connsiteY2" fmla="*/ 2434430 h 6554182"/>
              <a:gd name="connsiteX3" fmla="*/ 78234 w 7099083"/>
              <a:gd name="connsiteY3" fmla="*/ 2179362 h 6554182"/>
              <a:gd name="connsiteX4" fmla="*/ 7099083 w 7099083"/>
              <a:gd name="connsiteY4" fmla="*/ 0 h 6554182"/>
              <a:gd name="connsiteX5" fmla="*/ 7086755 w 7099083"/>
              <a:gd name="connsiteY5" fmla="*/ 3432474 h 6554182"/>
              <a:gd name="connsiteX6" fmla="*/ 5013784 w 7099083"/>
              <a:gd name="connsiteY6" fmla="*/ 6543303 h 6554182"/>
              <a:gd name="connsiteX0" fmla="*/ 4996305 w 7081604"/>
              <a:gd name="connsiteY0" fmla="*/ 6543303 h 6554182"/>
              <a:gd name="connsiteX1" fmla="*/ 4168220 w 7081604"/>
              <a:gd name="connsiteY1" fmla="*/ 6554182 h 6554182"/>
              <a:gd name="connsiteX2" fmla="*/ 129339 w 7081604"/>
              <a:gd name="connsiteY2" fmla="*/ 2434430 h 6554182"/>
              <a:gd name="connsiteX3" fmla="*/ 98856 w 7081604"/>
              <a:gd name="connsiteY3" fmla="*/ 2169837 h 6554182"/>
              <a:gd name="connsiteX4" fmla="*/ 7081604 w 7081604"/>
              <a:gd name="connsiteY4" fmla="*/ 0 h 6554182"/>
              <a:gd name="connsiteX5" fmla="*/ 7069276 w 7081604"/>
              <a:gd name="connsiteY5" fmla="*/ 3432474 h 6554182"/>
              <a:gd name="connsiteX6" fmla="*/ 4996305 w 7081604"/>
              <a:gd name="connsiteY6" fmla="*/ 6543303 h 6554182"/>
              <a:gd name="connsiteX0" fmla="*/ 4989581 w 7081604"/>
              <a:gd name="connsiteY0" fmla="*/ 6553388 h 6554182"/>
              <a:gd name="connsiteX1" fmla="*/ 4168220 w 7081604"/>
              <a:gd name="connsiteY1" fmla="*/ 6554182 h 6554182"/>
              <a:gd name="connsiteX2" fmla="*/ 129339 w 7081604"/>
              <a:gd name="connsiteY2" fmla="*/ 2434430 h 6554182"/>
              <a:gd name="connsiteX3" fmla="*/ 98856 w 7081604"/>
              <a:gd name="connsiteY3" fmla="*/ 2169837 h 6554182"/>
              <a:gd name="connsiteX4" fmla="*/ 7081604 w 7081604"/>
              <a:gd name="connsiteY4" fmla="*/ 0 h 6554182"/>
              <a:gd name="connsiteX5" fmla="*/ 7069276 w 7081604"/>
              <a:gd name="connsiteY5" fmla="*/ 3432474 h 6554182"/>
              <a:gd name="connsiteX6" fmla="*/ 4989581 w 7081604"/>
              <a:gd name="connsiteY6" fmla="*/ 6553388 h 6554182"/>
              <a:gd name="connsiteX0" fmla="*/ 5006391 w 7081604"/>
              <a:gd name="connsiteY0" fmla="*/ 6556750 h 6556750"/>
              <a:gd name="connsiteX1" fmla="*/ 4168220 w 7081604"/>
              <a:gd name="connsiteY1" fmla="*/ 6554182 h 6556750"/>
              <a:gd name="connsiteX2" fmla="*/ 129339 w 7081604"/>
              <a:gd name="connsiteY2" fmla="*/ 2434430 h 6556750"/>
              <a:gd name="connsiteX3" fmla="*/ 98856 w 7081604"/>
              <a:gd name="connsiteY3" fmla="*/ 2169837 h 6556750"/>
              <a:gd name="connsiteX4" fmla="*/ 7081604 w 7081604"/>
              <a:gd name="connsiteY4" fmla="*/ 0 h 6556750"/>
              <a:gd name="connsiteX5" fmla="*/ 7069276 w 7081604"/>
              <a:gd name="connsiteY5" fmla="*/ 3432474 h 6556750"/>
              <a:gd name="connsiteX6" fmla="*/ 5006391 w 7081604"/>
              <a:gd name="connsiteY6" fmla="*/ 6556750 h 6556750"/>
              <a:gd name="connsiteX0" fmla="*/ 5006391 w 7092829"/>
              <a:gd name="connsiteY0" fmla="*/ 6556750 h 6556750"/>
              <a:gd name="connsiteX1" fmla="*/ 4168220 w 7092829"/>
              <a:gd name="connsiteY1" fmla="*/ 6554182 h 6556750"/>
              <a:gd name="connsiteX2" fmla="*/ 129339 w 7092829"/>
              <a:gd name="connsiteY2" fmla="*/ 2434430 h 6556750"/>
              <a:gd name="connsiteX3" fmla="*/ 98856 w 7092829"/>
              <a:gd name="connsiteY3" fmla="*/ 2169837 h 6556750"/>
              <a:gd name="connsiteX4" fmla="*/ 7081604 w 7092829"/>
              <a:gd name="connsiteY4" fmla="*/ 0 h 6556750"/>
              <a:gd name="connsiteX5" fmla="*/ 7092810 w 7092829"/>
              <a:gd name="connsiteY5" fmla="*/ 3405580 h 6556750"/>
              <a:gd name="connsiteX6" fmla="*/ 5006391 w 7092829"/>
              <a:gd name="connsiteY6" fmla="*/ 6556750 h 6556750"/>
              <a:gd name="connsiteX0" fmla="*/ 5006391 w 7095052"/>
              <a:gd name="connsiteY0" fmla="*/ 6560112 h 6560112"/>
              <a:gd name="connsiteX1" fmla="*/ 4168220 w 7095052"/>
              <a:gd name="connsiteY1" fmla="*/ 6557544 h 6560112"/>
              <a:gd name="connsiteX2" fmla="*/ 129339 w 7095052"/>
              <a:gd name="connsiteY2" fmla="*/ 2437792 h 6560112"/>
              <a:gd name="connsiteX3" fmla="*/ 98856 w 7095052"/>
              <a:gd name="connsiteY3" fmla="*/ 2173199 h 6560112"/>
              <a:gd name="connsiteX4" fmla="*/ 7095052 w 7095052"/>
              <a:gd name="connsiteY4" fmla="*/ 0 h 6560112"/>
              <a:gd name="connsiteX5" fmla="*/ 7092810 w 7095052"/>
              <a:gd name="connsiteY5" fmla="*/ 3408942 h 6560112"/>
              <a:gd name="connsiteX6" fmla="*/ 5006391 w 7095052"/>
              <a:gd name="connsiteY6" fmla="*/ 6560112 h 6560112"/>
              <a:gd name="connsiteX0" fmla="*/ 5006391 w 7095052"/>
              <a:gd name="connsiteY0" fmla="*/ 6560112 h 6560112"/>
              <a:gd name="connsiteX1" fmla="*/ 4168220 w 7095052"/>
              <a:gd name="connsiteY1" fmla="*/ 6557544 h 6560112"/>
              <a:gd name="connsiteX2" fmla="*/ 129339 w 7095052"/>
              <a:gd name="connsiteY2" fmla="*/ 2447555 h 6560112"/>
              <a:gd name="connsiteX3" fmla="*/ 98856 w 7095052"/>
              <a:gd name="connsiteY3" fmla="*/ 2173199 h 6560112"/>
              <a:gd name="connsiteX4" fmla="*/ 7095052 w 7095052"/>
              <a:gd name="connsiteY4" fmla="*/ 0 h 6560112"/>
              <a:gd name="connsiteX5" fmla="*/ 7092810 w 7095052"/>
              <a:gd name="connsiteY5" fmla="*/ 3408942 h 6560112"/>
              <a:gd name="connsiteX6" fmla="*/ 5006391 w 7095052"/>
              <a:gd name="connsiteY6" fmla="*/ 6560112 h 6560112"/>
              <a:gd name="connsiteX0" fmla="*/ 5006391 w 7095052"/>
              <a:gd name="connsiteY0" fmla="*/ 6560112 h 6560112"/>
              <a:gd name="connsiteX1" fmla="*/ 4168220 w 7095052"/>
              <a:gd name="connsiteY1" fmla="*/ 6557544 h 6560112"/>
              <a:gd name="connsiteX2" fmla="*/ 129339 w 7095052"/>
              <a:gd name="connsiteY2" fmla="*/ 2447555 h 6560112"/>
              <a:gd name="connsiteX3" fmla="*/ 98856 w 7095052"/>
              <a:gd name="connsiteY3" fmla="*/ 2166691 h 6560112"/>
              <a:gd name="connsiteX4" fmla="*/ 7095052 w 7095052"/>
              <a:gd name="connsiteY4" fmla="*/ 0 h 6560112"/>
              <a:gd name="connsiteX5" fmla="*/ 7092810 w 7095052"/>
              <a:gd name="connsiteY5" fmla="*/ 3408942 h 6560112"/>
              <a:gd name="connsiteX6" fmla="*/ 5006391 w 7095052"/>
              <a:gd name="connsiteY6" fmla="*/ 6560112 h 6560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5052" h="6560112">
                <a:moveTo>
                  <a:pt x="5006391" y="6560112"/>
                </a:moveTo>
                <a:lnTo>
                  <a:pt x="4168220" y="6557544"/>
                </a:lnTo>
                <a:lnTo>
                  <a:pt x="129339" y="2447555"/>
                </a:lnTo>
                <a:cubicBezTo>
                  <a:pt x="-87432" y="2236510"/>
                  <a:pt x="15569" y="2206443"/>
                  <a:pt x="98856" y="2166691"/>
                </a:cubicBezTo>
                <a:lnTo>
                  <a:pt x="7095052" y="0"/>
                </a:lnTo>
                <a:cubicBezTo>
                  <a:pt x="7094473" y="1134743"/>
                  <a:pt x="7093389" y="2274199"/>
                  <a:pt x="7092810" y="3408942"/>
                </a:cubicBezTo>
                <a:lnTo>
                  <a:pt x="5006391" y="6560112"/>
                </a:lnTo>
                <a:close/>
              </a:path>
            </a:pathLst>
          </a:cu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a:p>
        </p:txBody>
      </p:sp>
    </p:spTree>
    <p:extLst>
      <p:ext uri="{BB962C8B-B14F-4D97-AF65-F5344CB8AC3E}">
        <p14:creationId xmlns:p14="http://schemas.microsoft.com/office/powerpoint/2010/main" val="205815746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154134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796267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35015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1861708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36714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36712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770"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1724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7300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7018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50296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7177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IA_blank_left">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2F6F1A2C-85B1-3C4E-A0E9-756180B27ECC}"/>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40456" t="-5939" r="-15620" b="35071"/>
          <a:stretch/>
        </p:blipFill>
        <p:spPr>
          <a:xfrm>
            <a:off x="0" y="3536954"/>
            <a:ext cx="2835114" cy="3321046"/>
          </a:xfrm>
          <a:prstGeom prst="rect">
            <a:avLst/>
          </a:prstGeom>
        </p:spPr>
      </p:pic>
      <p:sp>
        <p:nvSpPr>
          <p:cNvPr id="10" name="Text Placeholder 4">
            <a:extLst>
              <a:ext uri="{FF2B5EF4-FFF2-40B4-BE49-F238E27FC236}">
                <a16:creationId xmlns:a16="http://schemas.microsoft.com/office/drawing/2014/main" id="{9BEC8354-91B5-B741-A729-AAAB6D47D8A0}"/>
              </a:ext>
            </a:extLst>
          </p:cNvPr>
          <p:cNvSpPr>
            <a:spLocks noGrp="1"/>
          </p:cNvSpPr>
          <p:nvPr>
            <p:ph type="body" sz="quarter" idx="12"/>
          </p:nvPr>
        </p:nvSpPr>
        <p:spPr>
          <a:xfrm>
            <a:off x="360001" y="1800000"/>
            <a:ext cx="3600000" cy="291679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31686D1F-65F1-D243-A6BB-7F4FDAE00C37}"/>
              </a:ext>
            </a:extLst>
          </p:cNvPr>
          <p:cNvSpPr>
            <a:spLocks noGrp="1"/>
          </p:cNvSpPr>
          <p:nvPr>
            <p:ph type="body" sz="quarter" idx="13"/>
          </p:nvPr>
        </p:nvSpPr>
        <p:spPr>
          <a:xfrm>
            <a:off x="4237200" y="1800000"/>
            <a:ext cx="3600000" cy="291679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0ECC66CC-A393-7F4C-979B-FDDEAFA5E591}"/>
              </a:ext>
            </a:extLst>
          </p:cNvPr>
          <p:cNvSpPr>
            <a:spLocks noGrp="1"/>
          </p:cNvSpPr>
          <p:nvPr>
            <p:ph type="body" sz="quarter" idx="14"/>
          </p:nvPr>
        </p:nvSpPr>
        <p:spPr>
          <a:xfrm>
            <a:off x="8231999" y="1800000"/>
            <a:ext cx="3600000" cy="291679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DAC8733E-4F4A-5F47-AA73-501DAFC186B6}"/>
              </a:ext>
            </a:extLst>
          </p:cNvPr>
          <p:cNvSpPr>
            <a:spLocks noGrp="1"/>
          </p:cNvSpPr>
          <p:nvPr>
            <p:ph type="sldNum" sz="quarter" idx="4"/>
          </p:nvPr>
        </p:nvSpPr>
        <p:spPr>
          <a:xfrm>
            <a:off x="359999" y="6264872"/>
            <a:ext cx="360000" cy="360000"/>
          </a:xfrm>
          <a:prstGeom prst="rect">
            <a:avLst/>
          </a:prstGeom>
        </p:spPr>
        <p:txBody>
          <a:bodyPr vert="horz" lIns="91440" tIns="45720" rIns="91440" bIns="45720" rtlCol="0" anchor="ctr"/>
          <a:lstStyle>
            <a:lvl1pPr algn="l">
              <a:defRPr sz="800" b="0" i="0">
                <a:solidFill>
                  <a:schemeClr val="tx1"/>
                </a:solidFill>
                <a:latin typeface="Arial" panose="020B0604020202020204" pitchFamily="34" charset="0"/>
                <a:cs typeface="Arial" panose="020B0604020202020204" pitchFamily="34" charset="0"/>
              </a:defRPr>
            </a:lvl1pPr>
          </a:lstStyle>
          <a:p>
            <a:fld id="{52BD4378-72E1-444F-8B73-E4C8D03E6D72}" type="slidenum">
              <a:rPr lang="en-MY" smtClean="0"/>
              <a:t>‹#›</a:t>
            </a:fld>
            <a:endParaRPr lang="en-MY"/>
          </a:p>
        </p:txBody>
      </p:sp>
      <p:sp>
        <p:nvSpPr>
          <p:cNvPr id="14" name="Slide Number Placeholder 2">
            <a:extLst>
              <a:ext uri="{FF2B5EF4-FFF2-40B4-BE49-F238E27FC236}">
                <a16:creationId xmlns:a16="http://schemas.microsoft.com/office/drawing/2014/main" id="{B5BFE482-4CC1-E246-9AA6-EAEEFA2AED5E}"/>
              </a:ext>
            </a:extLst>
          </p:cNvPr>
          <p:cNvSpPr txBox="1">
            <a:spLocks/>
          </p:cNvSpPr>
          <p:nvPr/>
        </p:nvSpPr>
        <p:spPr>
          <a:xfrm>
            <a:off x="359999" y="6264872"/>
            <a:ext cx="360000" cy="360000"/>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8A41853-EF22-D446-BDBC-A7CF3FE93503}" type="slidenum">
              <a:rPr lang="en-US" smtClean="0"/>
              <a:pPr/>
              <a:t>‹#›</a:t>
            </a:fld>
            <a:endParaRPr lang="en-US"/>
          </a:p>
        </p:txBody>
      </p:sp>
      <p:sp>
        <p:nvSpPr>
          <p:cNvPr id="15" name="Slide Number Placeholder 5">
            <a:extLst>
              <a:ext uri="{FF2B5EF4-FFF2-40B4-BE49-F238E27FC236}">
                <a16:creationId xmlns:a16="http://schemas.microsoft.com/office/drawing/2014/main" id="{AEEC052F-52DD-FE4A-889F-AC3F76E25CFA}"/>
              </a:ext>
            </a:extLst>
          </p:cNvPr>
          <p:cNvSpPr txBox="1">
            <a:spLocks/>
          </p:cNvSpPr>
          <p:nvPr/>
        </p:nvSpPr>
        <p:spPr>
          <a:xfrm>
            <a:off x="359999" y="6264872"/>
            <a:ext cx="360000" cy="360000"/>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8A41853-EF22-D446-BDBC-A7CF3FE93503}" type="slidenum">
              <a:rPr lang="en-US" smtClean="0">
                <a:solidFill>
                  <a:schemeClr val="tx1"/>
                </a:solidFill>
              </a:rPr>
              <a:pPr/>
              <a:t>‹#›</a:t>
            </a:fld>
            <a:endParaRPr lang="en-US">
              <a:solidFill>
                <a:schemeClr val="tx1"/>
              </a:solidFill>
            </a:endParaRPr>
          </a:p>
        </p:txBody>
      </p:sp>
      <p:sp>
        <p:nvSpPr>
          <p:cNvPr id="19" name="TextBox 18">
            <a:extLst>
              <a:ext uri="{FF2B5EF4-FFF2-40B4-BE49-F238E27FC236}">
                <a16:creationId xmlns:a16="http://schemas.microsoft.com/office/drawing/2014/main" id="{D04E53F9-4E55-F442-9DC9-248F3C131634}"/>
              </a:ext>
            </a:extLst>
          </p:cNvPr>
          <p:cNvSpPr txBox="1"/>
          <p:nvPr/>
        </p:nvSpPr>
        <p:spPr>
          <a:xfrm>
            <a:off x="720000" y="6264000"/>
            <a:ext cx="5400000" cy="360000"/>
          </a:xfrm>
          <a:prstGeom prst="rect">
            <a:avLst/>
          </a:prstGeom>
          <a:noFill/>
        </p:spPr>
        <p:txBody>
          <a:bodyPr wrap="square" lIns="90000" rtlCol="0" anchor="ctr" anchorCtr="0">
            <a:spAutoFit/>
          </a:bodyPr>
          <a:lstStyle/>
          <a:p>
            <a:r>
              <a:rPr lang="en-GB" sz="800">
                <a:solidFill>
                  <a:schemeClr val="tx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endParaRPr lang="en-US" sz="800">
              <a:solidFill>
                <a:schemeClr val="tx1"/>
              </a:solidFill>
            </a:endParaRPr>
          </a:p>
        </p:txBody>
      </p:sp>
      <p:sp>
        <p:nvSpPr>
          <p:cNvPr id="16" name="Text Placeholder 11">
            <a:extLst>
              <a:ext uri="{FF2B5EF4-FFF2-40B4-BE49-F238E27FC236}">
                <a16:creationId xmlns:a16="http://schemas.microsoft.com/office/drawing/2014/main" id="{7DA0BB44-EC3C-2B40-8DEC-832709E3AD9F}"/>
              </a:ext>
            </a:extLst>
          </p:cNvPr>
          <p:cNvSpPr>
            <a:spLocks noGrp="1"/>
          </p:cNvSpPr>
          <p:nvPr>
            <p:ph type="body" sz="quarter" idx="10" hasCustomPrompt="1"/>
          </p:nvPr>
        </p:nvSpPr>
        <p:spPr>
          <a:xfrm>
            <a:off x="359999" y="540000"/>
            <a:ext cx="11471999" cy="1338676"/>
          </a:xfrm>
          <a:prstGeom prst="rect">
            <a:avLst/>
          </a:prstGeom>
          <a:noFill/>
        </p:spPr>
        <p:txBody>
          <a:bodyPr>
            <a:noAutofit/>
          </a:bodyPr>
          <a:lstStyle>
            <a:lvl1pPr>
              <a:lnSpc>
                <a:spcPts val="3200"/>
              </a:lnSpc>
              <a:defRPr sz="3600">
                <a:solidFill>
                  <a:srgbClr val="333D47"/>
                </a:solidFill>
              </a:defRPr>
            </a:lvl1pPr>
            <a:lvl2pPr marL="457200" indent="0">
              <a:buNone/>
              <a:defRPr/>
            </a:lvl2pPr>
          </a:lstStyle>
          <a:p>
            <a:pPr lvl="0"/>
            <a:r>
              <a:rPr lang="en-US"/>
              <a:t>Headline</a:t>
            </a:r>
          </a:p>
        </p:txBody>
      </p:sp>
    </p:spTree>
    <p:extLst>
      <p:ext uri="{BB962C8B-B14F-4D97-AF65-F5344CB8AC3E}">
        <p14:creationId xmlns:p14="http://schemas.microsoft.com/office/powerpoint/2010/main" val="403250890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665491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218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0065324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185970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245899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101463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010"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803436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123155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1703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24535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3375543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AIA_Title Slide">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40223563-98FE-AC4E-940F-EEEAE5A4B623}"/>
              </a:ext>
            </a:extLst>
          </p:cNvPr>
          <p:cNvGrpSpPr/>
          <p:nvPr/>
        </p:nvGrpSpPr>
        <p:grpSpPr>
          <a:xfrm>
            <a:off x="0" y="-5486"/>
            <a:ext cx="12192000" cy="6863486"/>
            <a:chOff x="0" y="-5486"/>
            <a:chExt cx="12192000" cy="6863486"/>
          </a:xfrm>
        </p:grpSpPr>
        <p:sp>
          <p:nvSpPr>
            <p:cNvPr id="16" name="Rectangle 15">
              <a:extLst>
                <a:ext uri="{FF2B5EF4-FFF2-40B4-BE49-F238E27FC236}">
                  <a16:creationId xmlns:a16="http://schemas.microsoft.com/office/drawing/2014/main" id="{B0110122-8D60-4645-8F05-D749B549541B}"/>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a:extLst>
                <a:ext uri="{FF2B5EF4-FFF2-40B4-BE49-F238E27FC236}">
                  <a16:creationId xmlns:a16="http://schemas.microsoft.com/office/drawing/2014/main" id="{76653886-6BD8-C944-A6C9-812872F20CE9}"/>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2546" r="5124"/>
            <a:stretch/>
          </p:blipFill>
          <p:spPr>
            <a:xfrm>
              <a:off x="624742" y="-5486"/>
              <a:ext cx="11567258" cy="6683445"/>
            </a:xfrm>
            <a:prstGeom prst="rect">
              <a:avLst/>
            </a:prstGeom>
          </p:spPr>
        </p:pic>
      </p:grpSp>
      <p:sp>
        <p:nvSpPr>
          <p:cNvPr id="14" name="Trapezoid 5">
            <a:extLst>
              <a:ext uri="{FF2B5EF4-FFF2-40B4-BE49-F238E27FC236}">
                <a16:creationId xmlns:a16="http://schemas.microsoft.com/office/drawing/2014/main" id="{DB6AAA24-C157-AE4C-A0B8-57332E43E758}"/>
              </a:ext>
            </a:extLst>
          </p:cNvPr>
          <p:cNvSpPr/>
          <p:nvPr/>
        </p:nvSpPr>
        <p:spPr>
          <a:xfrm>
            <a:off x="6337300" y="1493839"/>
            <a:ext cx="5868000" cy="5369646"/>
          </a:xfrm>
          <a:custGeom>
            <a:avLst/>
            <a:gdLst>
              <a:gd name="connsiteX0" fmla="*/ 0 w 3508169"/>
              <a:gd name="connsiteY0" fmla="*/ 3543337 h 3543337"/>
              <a:gd name="connsiteX1" fmla="*/ 877042 w 3508169"/>
              <a:gd name="connsiteY1" fmla="*/ 0 h 3543337"/>
              <a:gd name="connsiteX2" fmla="*/ 2631127 w 3508169"/>
              <a:gd name="connsiteY2" fmla="*/ 0 h 3543337"/>
              <a:gd name="connsiteX3" fmla="*/ 3508169 w 3508169"/>
              <a:gd name="connsiteY3" fmla="*/ 3543337 h 3543337"/>
              <a:gd name="connsiteX4" fmla="*/ 0 w 3508169"/>
              <a:gd name="connsiteY4" fmla="*/ 3543337 h 3543337"/>
              <a:gd name="connsiteX0" fmla="*/ 0 w 6086008"/>
              <a:gd name="connsiteY0" fmla="*/ 5470415 h 5470415"/>
              <a:gd name="connsiteX1" fmla="*/ 877042 w 6086008"/>
              <a:gd name="connsiteY1" fmla="*/ 1927078 h 5470415"/>
              <a:gd name="connsiteX2" fmla="*/ 6086008 w 6086008"/>
              <a:gd name="connsiteY2" fmla="*/ 0 h 5470415"/>
              <a:gd name="connsiteX3" fmla="*/ 3508169 w 6086008"/>
              <a:gd name="connsiteY3" fmla="*/ 5470415 h 5470415"/>
              <a:gd name="connsiteX4" fmla="*/ 0 w 6086008"/>
              <a:gd name="connsiteY4" fmla="*/ 5470415 h 5470415"/>
              <a:gd name="connsiteX0" fmla="*/ 0 w 6086008"/>
              <a:gd name="connsiteY0" fmla="*/ 5470415 h 5470415"/>
              <a:gd name="connsiteX1" fmla="*/ 877042 w 6086008"/>
              <a:gd name="connsiteY1" fmla="*/ 1927078 h 5470415"/>
              <a:gd name="connsiteX2" fmla="*/ 6086008 w 6086008"/>
              <a:gd name="connsiteY2" fmla="*/ 0 h 5470415"/>
              <a:gd name="connsiteX3" fmla="*/ 6057143 w 6086008"/>
              <a:gd name="connsiteY3" fmla="*/ 3419009 h 5470415"/>
              <a:gd name="connsiteX4" fmla="*/ 0 w 6086008"/>
              <a:gd name="connsiteY4" fmla="*/ 5470415 h 5470415"/>
              <a:gd name="connsiteX0" fmla="*/ 3048556 w 5208966"/>
              <a:gd name="connsiteY0" fmla="*/ 6607124 h 6607124"/>
              <a:gd name="connsiteX1" fmla="*/ 0 w 5208966"/>
              <a:gd name="connsiteY1" fmla="*/ 1927078 h 6607124"/>
              <a:gd name="connsiteX2" fmla="*/ 5208966 w 5208966"/>
              <a:gd name="connsiteY2" fmla="*/ 0 h 6607124"/>
              <a:gd name="connsiteX3" fmla="*/ 5180101 w 5208966"/>
              <a:gd name="connsiteY3" fmla="*/ 3419009 h 6607124"/>
              <a:gd name="connsiteX4" fmla="*/ 3048556 w 5208966"/>
              <a:gd name="connsiteY4" fmla="*/ 6607124 h 6607124"/>
              <a:gd name="connsiteX0" fmla="*/ 4833726 w 6994136"/>
              <a:gd name="connsiteY0" fmla="*/ 6607124 h 6607124"/>
              <a:gd name="connsiteX1" fmla="*/ 0 w 6994136"/>
              <a:gd name="connsiteY1" fmla="*/ 2193494 h 6607124"/>
              <a:gd name="connsiteX2" fmla="*/ 6994136 w 6994136"/>
              <a:gd name="connsiteY2" fmla="*/ 0 h 6607124"/>
              <a:gd name="connsiteX3" fmla="*/ 6965271 w 6994136"/>
              <a:gd name="connsiteY3" fmla="*/ 3419009 h 6607124"/>
              <a:gd name="connsiteX4" fmla="*/ 4833726 w 6994136"/>
              <a:gd name="connsiteY4" fmla="*/ 6607124 h 6607124"/>
              <a:gd name="connsiteX0" fmla="*/ 4833726 w 6994136"/>
              <a:gd name="connsiteY0" fmla="*/ 6607124 h 6607124"/>
              <a:gd name="connsiteX1" fmla="*/ 1405487 w 6994136"/>
              <a:gd name="connsiteY1" fmla="*/ 3490053 h 6607124"/>
              <a:gd name="connsiteX2" fmla="*/ 0 w 6994136"/>
              <a:gd name="connsiteY2" fmla="*/ 2193494 h 6607124"/>
              <a:gd name="connsiteX3" fmla="*/ 6994136 w 6994136"/>
              <a:gd name="connsiteY3" fmla="*/ 0 h 6607124"/>
              <a:gd name="connsiteX4" fmla="*/ 6965271 w 6994136"/>
              <a:gd name="connsiteY4" fmla="*/ 3419009 h 6607124"/>
              <a:gd name="connsiteX5" fmla="*/ 4833726 w 6994136"/>
              <a:gd name="connsiteY5" fmla="*/ 6607124 h 6607124"/>
              <a:gd name="connsiteX0" fmla="*/ 4833726 w 6994136"/>
              <a:gd name="connsiteY0" fmla="*/ 6607124 h 6607124"/>
              <a:gd name="connsiteX1" fmla="*/ 4078801 w 6994136"/>
              <a:gd name="connsiteY1" fmla="*/ 6571601 h 6607124"/>
              <a:gd name="connsiteX2" fmla="*/ 0 w 6994136"/>
              <a:gd name="connsiteY2" fmla="*/ 2193494 h 6607124"/>
              <a:gd name="connsiteX3" fmla="*/ 6994136 w 6994136"/>
              <a:gd name="connsiteY3" fmla="*/ 0 h 6607124"/>
              <a:gd name="connsiteX4" fmla="*/ 6965271 w 6994136"/>
              <a:gd name="connsiteY4" fmla="*/ 3419009 h 6607124"/>
              <a:gd name="connsiteX5" fmla="*/ 4833726 w 6994136"/>
              <a:gd name="connsiteY5" fmla="*/ 6607124 h 6607124"/>
              <a:gd name="connsiteX0" fmla="*/ 4833726 w 6994136"/>
              <a:gd name="connsiteY0" fmla="*/ 6553841 h 6571601"/>
              <a:gd name="connsiteX1" fmla="*/ 4078801 w 6994136"/>
              <a:gd name="connsiteY1" fmla="*/ 6571601 h 6571601"/>
              <a:gd name="connsiteX2" fmla="*/ 0 w 6994136"/>
              <a:gd name="connsiteY2" fmla="*/ 2193494 h 6571601"/>
              <a:gd name="connsiteX3" fmla="*/ 6994136 w 6994136"/>
              <a:gd name="connsiteY3" fmla="*/ 0 h 6571601"/>
              <a:gd name="connsiteX4" fmla="*/ 6965271 w 6994136"/>
              <a:gd name="connsiteY4" fmla="*/ 3419009 h 6571601"/>
              <a:gd name="connsiteX5" fmla="*/ 4833726 w 6994136"/>
              <a:gd name="connsiteY5" fmla="*/ 6553841 h 6571601"/>
              <a:gd name="connsiteX0" fmla="*/ 4833726 w 6994136"/>
              <a:gd name="connsiteY0" fmla="*/ 6553841 h 6553841"/>
              <a:gd name="connsiteX1" fmla="*/ 4061039 w 6994136"/>
              <a:gd name="connsiteY1" fmla="*/ 6544959 h 6553841"/>
              <a:gd name="connsiteX2" fmla="*/ 0 w 6994136"/>
              <a:gd name="connsiteY2" fmla="*/ 2193494 h 6553841"/>
              <a:gd name="connsiteX3" fmla="*/ 6994136 w 6994136"/>
              <a:gd name="connsiteY3" fmla="*/ 0 h 6553841"/>
              <a:gd name="connsiteX4" fmla="*/ 6965271 w 6994136"/>
              <a:gd name="connsiteY4" fmla="*/ 3419009 h 6553841"/>
              <a:gd name="connsiteX5" fmla="*/ 4833726 w 6994136"/>
              <a:gd name="connsiteY5" fmla="*/ 6553841 h 6553841"/>
              <a:gd name="connsiteX0" fmla="*/ 4895896 w 7056306"/>
              <a:gd name="connsiteY0" fmla="*/ 6553841 h 6553841"/>
              <a:gd name="connsiteX1" fmla="*/ 4123209 w 7056306"/>
              <a:gd name="connsiteY1" fmla="*/ 6544959 h 6553841"/>
              <a:gd name="connsiteX2" fmla="*/ 0 w 7056306"/>
              <a:gd name="connsiteY2" fmla="*/ 2193494 h 6553841"/>
              <a:gd name="connsiteX3" fmla="*/ 7056306 w 7056306"/>
              <a:gd name="connsiteY3" fmla="*/ 0 h 6553841"/>
              <a:gd name="connsiteX4" fmla="*/ 7027441 w 7056306"/>
              <a:gd name="connsiteY4" fmla="*/ 3419009 h 6553841"/>
              <a:gd name="connsiteX5" fmla="*/ 4895896 w 7056306"/>
              <a:gd name="connsiteY5" fmla="*/ 6553841 h 6553841"/>
              <a:gd name="connsiteX0" fmla="*/ 4895896 w 7056306"/>
              <a:gd name="connsiteY0" fmla="*/ 6553841 h 6553841"/>
              <a:gd name="connsiteX1" fmla="*/ 4123209 w 7056306"/>
              <a:gd name="connsiteY1" fmla="*/ 6544959 h 6553841"/>
              <a:gd name="connsiteX2" fmla="*/ 197612 w 7056306"/>
              <a:gd name="connsiteY2" fmla="*/ 2397746 h 6553841"/>
              <a:gd name="connsiteX3" fmla="*/ 0 w 7056306"/>
              <a:gd name="connsiteY3" fmla="*/ 2193494 h 6553841"/>
              <a:gd name="connsiteX4" fmla="*/ 7056306 w 7056306"/>
              <a:gd name="connsiteY4" fmla="*/ 0 h 6553841"/>
              <a:gd name="connsiteX5" fmla="*/ 7027441 w 7056306"/>
              <a:gd name="connsiteY5" fmla="*/ 3419009 h 6553841"/>
              <a:gd name="connsiteX6" fmla="*/ 4895896 w 7056306"/>
              <a:gd name="connsiteY6" fmla="*/ 6553841 h 6553841"/>
              <a:gd name="connsiteX0" fmla="*/ 4895896 w 7056306"/>
              <a:gd name="connsiteY0" fmla="*/ 6553841 h 6553841"/>
              <a:gd name="connsiteX1" fmla="*/ 4123209 w 7056306"/>
              <a:gd name="connsiteY1" fmla="*/ 6544959 h 6553841"/>
              <a:gd name="connsiteX2" fmla="*/ 91034 w 7056306"/>
              <a:gd name="connsiteY2" fmla="*/ 2442148 h 6553841"/>
              <a:gd name="connsiteX3" fmla="*/ 0 w 7056306"/>
              <a:gd name="connsiteY3" fmla="*/ 2193494 h 6553841"/>
              <a:gd name="connsiteX4" fmla="*/ 7056306 w 7056306"/>
              <a:gd name="connsiteY4" fmla="*/ 0 h 6553841"/>
              <a:gd name="connsiteX5" fmla="*/ 7027441 w 7056306"/>
              <a:gd name="connsiteY5" fmla="*/ 3419009 h 6553841"/>
              <a:gd name="connsiteX6" fmla="*/ 4895896 w 7056306"/>
              <a:gd name="connsiteY6" fmla="*/ 6553841 h 6553841"/>
              <a:gd name="connsiteX0" fmla="*/ 4922142 w 7082552"/>
              <a:gd name="connsiteY0" fmla="*/ 6553841 h 6553841"/>
              <a:gd name="connsiteX1" fmla="*/ 4149455 w 7082552"/>
              <a:gd name="connsiteY1" fmla="*/ 6544959 h 6553841"/>
              <a:gd name="connsiteX2" fmla="*/ 117280 w 7082552"/>
              <a:gd name="connsiteY2" fmla="*/ 2442148 h 6553841"/>
              <a:gd name="connsiteX3" fmla="*/ 26246 w 7082552"/>
              <a:gd name="connsiteY3" fmla="*/ 2193494 h 6553841"/>
              <a:gd name="connsiteX4" fmla="*/ 7082552 w 7082552"/>
              <a:gd name="connsiteY4" fmla="*/ 0 h 6553841"/>
              <a:gd name="connsiteX5" fmla="*/ 7053687 w 7082552"/>
              <a:gd name="connsiteY5" fmla="*/ 3419009 h 6553841"/>
              <a:gd name="connsiteX6" fmla="*/ 4922142 w 7082552"/>
              <a:gd name="connsiteY6" fmla="*/ 6553841 h 6553841"/>
              <a:gd name="connsiteX0" fmla="*/ 4950971 w 7111381"/>
              <a:gd name="connsiteY0" fmla="*/ 6553841 h 6553841"/>
              <a:gd name="connsiteX1" fmla="*/ 4178284 w 7111381"/>
              <a:gd name="connsiteY1" fmla="*/ 6544959 h 6553841"/>
              <a:gd name="connsiteX2" fmla="*/ 146109 w 7111381"/>
              <a:gd name="connsiteY2" fmla="*/ 2442148 h 6553841"/>
              <a:gd name="connsiteX3" fmla="*/ 55075 w 7111381"/>
              <a:gd name="connsiteY3" fmla="*/ 2193494 h 6553841"/>
              <a:gd name="connsiteX4" fmla="*/ 7111381 w 7111381"/>
              <a:gd name="connsiteY4" fmla="*/ 0 h 6553841"/>
              <a:gd name="connsiteX5" fmla="*/ 7082516 w 7111381"/>
              <a:gd name="connsiteY5" fmla="*/ 3419009 h 6553841"/>
              <a:gd name="connsiteX6" fmla="*/ 4950971 w 7111381"/>
              <a:gd name="connsiteY6" fmla="*/ 6553841 h 6553841"/>
              <a:gd name="connsiteX0" fmla="*/ 4963653 w 7124063"/>
              <a:gd name="connsiteY0" fmla="*/ 6553841 h 6553841"/>
              <a:gd name="connsiteX1" fmla="*/ 4190966 w 7124063"/>
              <a:gd name="connsiteY1" fmla="*/ 6544959 h 6553841"/>
              <a:gd name="connsiteX2" fmla="*/ 158791 w 7124063"/>
              <a:gd name="connsiteY2" fmla="*/ 2442148 h 6553841"/>
              <a:gd name="connsiteX3" fmla="*/ 67757 w 7124063"/>
              <a:gd name="connsiteY3" fmla="*/ 2193494 h 6553841"/>
              <a:gd name="connsiteX4" fmla="*/ 7124063 w 7124063"/>
              <a:gd name="connsiteY4" fmla="*/ 0 h 6553841"/>
              <a:gd name="connsiteX5" fmla="*/ 7095198 w 7124063"/>
              <a:gd name="connsiteY5" fmla="*/ 3419009 h 6553841"/>
              <a:gd name="connsiteX6" fmla="*/ 4963653 w 7124063"/>
              <a:gd name="connsiteY6" fmla="*/ 6553841 h 6553841"/>
              <a:gd name="connsiteX0" fmla="*/ 4951680 w 7112090"/>
              <a:gd name="connsiteY0" fmla="*/ 6553841 h 6553841"/>
              <a:gd name="connsiteX1" fmla="*/ 4178993 w 7112090"/>
              <a:gd name="connsiteY1" fmla="*/ 6544959 h 6553841"/>
              <a:gd name="connsiteX2" fmla="*/ 146818 w 7112090"/>
              <a:gd name="connsiteY2" fmla="*/ 2442148 h 6553841"/>
              <a:gd name="connsiteX3" fmla="*/ 78234 w 7112090"/>
              <a:gd name="connsiteY3" fmla="*/ 2187080 h 6553841"/>
              <a:gd name="connsiteX4" fmla="*/ 7112090 w 7112090"/>
              <a:gd name="connsiteY4" fmla="*/ 0 h 6553841"/>
              <a:gd name="connsiteX5" fmla="*/ 7083225 w 7112090"/>
              <a:gd name="connsiteY5" fmla="*/ 3419009 h 6553841"/>
              <a:gd name="connsiteX6" fmla="*/ 4951680 w 7112090"/>
              <a:gd name="connsiteY6" fmla="*/ 6553841 h 6553841"/>
              <a:gd name="connsiteX0" fmla="*/ 4951680 w 7083225"/>
              <a:gd name="connsiteY0" fmla="*/ 6527921 h 6527921"/>
              <a:gd name="connsiteX1" fmla="*/ 4178993 w 7083225"/>
              <a:gd name="connsiteY1" fmla="*/ 6519039 h 6527921"/>
              <a:gd name="connsiteX2" fmla="*/ 146818 w 7083225"/>
              <a:gd name="connsiteY2" fmla="*/ 2416228 h 6527921"/>
              <a:gd name="connsiteX3" fmla="*/ 78234 w 7083225"/>
              <a:gd name="connsiteY3" fmla="*/ 2161160 h 6527921"/>
              <a:gd name="connsiteX4" fmla="*/ 7077534 w 7083225"/>
              <a:gd name="connsiteY4" fmla="*/ 0 h 6527921"/>
              <a:gd name="connsiteX5" fmla="*/ 7083225 w 7083225"/>
              <a:gd name="connsiteY5" fmla="*/ 3393089 h 6527921"/>
              <a:gd name="connsiteX6" fmla="*/ 4951680 w 7083225"/>
              <a:gd name="connsiteY6" fmla="*/ 6527921 h 6527921"/>
              <a:gd name="connsiteX0" fmla="*/ 4996130 w 7083225"/>
              <a:gd name="connsiteY0" fmla="*/ 6521571 h 6521571"/>
              <a:gd name="connsiteX1" fmla="*/ 4178993 w 7083225"/>
              <a:gd name="connsiteY1" fmla="*/ 6519039 h 6521571"/>
              <a:gd name="connsiteX2" fmla="*/ 146818 w 7083225"/>
              <a:gd name="connsiteY2" fmla="*/ 2416228 h 6521571"/>
              <a:gd name="connsiteX3" fmla="*/ 78234 w 7083225"/>
              <a:gd name="connsiteY3" fmla="*/ 2161160 h 6521571"/>
              <a:gd name="connsiteX4" fmla="*/ 7077534 w 7083225"/>
              <a:gd name="connsiteY4" fmla="*/ 0 h 6521571"/>
              <a:gd name="connsiteX5" fmla="*/ 7083225 w 7083225"/>
              <a:gd name="connsiteY5" fmla="*/ 3393089 h 6521571"/>
              <a:gd name="connsiteX6" fmla="*/ 4996130 w 7083225"/>
              <a:gd name="connsiteY6" fmla="*/ 6521571 h 6521571"/>
              <a:gd name="connsiteX0" fmla="*/ 4996130 w 7083225"/>
              <a:gd name="connsiteY0" fmla="*/ 6521571 h 6525389"/>
              <a:gd name="connsiteX1" fmla="*/ 4182168 w 7083225"/>
              <a:gd name="connsiteY1" fmla="*/ 6525389 h 6525389"/>
              <a:gd name="connsiteX2" fmla="*/ 146818 w 7083225"/>
              <a:gd name="connsiteY2" fmla="*/ 2416228 h 6525389"/>
              <a:gd name="connsiteX3" fmla="*/ 78234 w 7083225"/>
              <a:gd name="connsiteY3" fmla="*/ 2161160 h 6525389"/>
              <a:gd name="connsiteX4" fmla="*/ 7077534 w 7083225"/>
              <a:gd name="connsiteY4" fmla="*/ 0 h 6525389"/>
              <a:gd name="connsiteX5" fmla="*/ 7083225 w 7083225"/>
              <a:gd name="connsiteY5" fmla="*/ 3393089 h 6525389"/>
              <a:gd name="connsiteX6" fmla="*/ 4996130 w 7083225"/>
              <a:gd name="connsiteY6" fmla="*/ 6521571 h 6525389"/>
              <a:gd name="connsiteX0" fmla="*/ 4996130 w 7084961"/>
              <a:gd name="connsiteY0" fmla="*/ 6532712 h 6536530"/>
              <a:gd name="connsiteX1" fmla="*/ 4182168 w 7084961"/>
              <a:gd name="connsiteY1" fmla="*/ 6536530 h 6536530"/>
              <a:gd name="connsiteX2" fmla="*/ 146818 w 7084961"/>
              <a:gd name="connsiteY2" fmla="*/ 2427369 h 6536530"/>
              <a:gd name="connsiteX3" fmla="*/ 78234 w 7084961"/>
              <a:gd name="connsiteY3" fmla="*/ 2172301 h 6536530"/>
              <a:gd name="connsiteX4" fmla="*/ 7084961 w 7084961"/>
              <a:gd name="connsiteY4" fmla="*/ 0 h 6536530"/>
              <a:gd name="connsiteX5" fmla="*/ 7083225 w 7084961"/>
              <a:gd name="connsiteY5" fmla="*/ 3404230 h 6536530"/>
              <a:gd name="connsiteX6" fmla="*/ 4996130 w 7084961"/>
              <a:gd name="connsiteY6" fmla="*/ 6532712 h 6536530"/>
              <a:gd name="connsiteX0" fmla="*/ 5013784 w 7084961"/>
              <a:gd name="connsiteY0" fmla="*/ 6536242 h 6536530"/>
              <a:gd name="connsiteX1" fmla="*/ 4182168 w 7084961"/>
              <a:gd name="connsiteY1" fmla="*/ 6536530 h 6536530"/>
              <a:gd name="connsiteX2" fmla="*/ 146818 w 7084961"/>
              <a:gd name="connsiteY2" fmla="*/ 2427369 h 6536530"/>
              <a:gd name="connsiteX3" fmla="*/ 78234 w 7084961"/>
              <a:gd name="connsiteY3" fmla="*/ 2172301 h 6536530"/>
              <a:gd name="connsiteX4" fmla="*/ 7084961 w 7084961"/>
              <a:gd name="connsiteY4" fmla="*/ 0 h 6536530"/>
              <a:gd name="connsiteX5" fmla="*/ 7083225 w 7084961"/>
              <a:gd name="connsiteY5" fmla="*/ 3404230 h 6536530"/>
              <a:gd name="connsiteX6" fmla="*/ 5013784 w 7084961"/>
              <a:gd name="connsiteY6" fmla="*/ 6536242 h 6536530"/>
              <a:gd name="connsiteX0" fmla="*/ 5013784 w 7084961"/>
              <a:gd name="connsiteY0" fmla="*/ 6536242 h 6547121"/>
              <a:gd name="connsiteX1" fmla="*/ 4185699 w 7084961"/>
              <a:gd name="connsiteY1" fmla="*/ 6547121 h 6547121"/>
              <a:gd name="connsiteX2" fmla="*/ 146818 w 7084961"/>
              <a:gd name="connsiteY2" fmla="*/ 2427369 h 6547121"/>
              <a:gd name="connsiteX3" fmla="*/ 78234 w 7084961"/>
              <a:gd name="connsiteY3" fmla="*/ 2172301 h 6547121"/>
              <a:gd name="connsiteX4" fmla="*/ 7084961 w 7084961"/>
              <a:gd name="connsiteY4" fmla="*/ 0 h 6547121"/>
              <a:gd name="connsiteX5" fmla="*/ 7083225 w 7084961"/>
              <a:gd name="connsiteY5" fmla="*/ 3404230 h 6547121"/>
              <a:gd name="connsiteX6" fmla="*/ 5013784 w 7084961"/>
              <a:gd name="connsiteY6" fmla="*/ 6536242 h 6547121"/>
              <a:gd name="connsiteX0" fmla="*/ 5013784 w 7086830"/>
              <a:gd name="connsiteY0" fmla="*/ 6536242 h 6547121"/>
              <a:gd name="connsiteX1" fmla="*/ 4185699 w 7086830"/>
              <a:gd name="connsiteY1" fmla="*/ 6547121 h 6547121"/>
              <a:gd name="connsiteX2" fmla="*/ 146818 w 7086830"/>
              <a:gd name="connsiteY2" fmla="*/ 2427369 h 6547121"/>
              <a:gd name="connsiteX3" fmla="*/ 78234 w 7086830"/>
              <a:gd name="connsiteY3" fmla="*/ 2172301 h 6547121"/>
              <a:gd name="connsiteX4" fmla="*/ 7084961 w 7086830"/>
              <a:gd name="connsiteY4" fmla="*/ 0 h 6547121"/>
              <a:gd name="connsiteX5" fmla="*/ 7086755 w 7086830"/>
              <a:gd name="connsiteY5" fmla="*/ 3425413 h 6547121"/>
              <a:gd name="connsiteX6" fmla="*/ 5013784 w 7086830"/>
              <a:gd name="connsiteY6" fmla="*/ 6536242 h 6547121"/>
              <a:gd name="connsiteX0" fmla="*/ 5013784 w 7099083"/>
              <a:gd name="connsiteY0" fmla="*/ 6543303 h 6554182"/>
              <a:gd name="connsiteX1" fmla="*/ 4185699 w 7099083"/>
              <a:gd name="connsiteY1" fmla="*/ 6554182 h 6554182"/>
              <a:gd name="connsiteX2" fmla="*/ 146818 w 7099083"/>
              <a:gd name="connsiteY2" fmla="*/ 2434430 h 6554182"/>
              <a:gd name="connsiteX3" fmla="*/ 78234 w 7099083"/>
              <a:gd name="connsiteY3" fmla="*/ 2179362 h 6554182"/>
              <a:gd name="connsiteX4" fmla="*/ 7099083 w 7099083"/>
              <a:gd name="connsiteY4" fmla="*/ 0 h 6554182"/>
              <a:gd name="connsiteX5" fmla="*/ 7086755 w 7099083"/>
              <a:gd name="connsiteY5" fmla="*/ 3432474 h 6554182"/>
              <a:gd name="connsiteX6" fmla="*/ 5013784 w 7099083"/>
              <a:gd name="connsiteY6" fmla="*/ 6543303 h 6554182"/>
              <a:gd name="connsiteX0" fmla="*/ 4996305 w 7081604"/>
              <a:gd name="connsiteY0" fmla="*/ 6543303 h 6554182"/>
              <a:gd name="connsiteX1" fmla="*/ 4168220 w 7081604"/>
              <a:gd name="connsiteY1" fmla="*/ 6554182 h 6554182"/>
              <a:gd name="connsiteX2" fmla="*/ 129339 w 7081604"/>
              <a:gd name="connsiteY2" fmla="*/ 2434430 h 6554182"/>
              <a:gd name="connsiteX3" fmla="*/ 98856 w 7081604"/>
              <a:gd name="connsiteY3" fmla="*/ 2169837 h 6554182"/>
              <a:gd name="connsiteX4" fmla="*/ 7081604 w 7081604"/>
              <a:gd name="connsiteY4" fmla="*/ 0 h 6554182"/>
              <a:gd name="connsiteX5" fmla="*/ 7069276 w 7081604"/>
              <a:gd name="connsiteY5" fmla="*/ 3432474 h 6554182"/>
              <a:gd name="connsiteX6" fmla="*/ 4996305 w 7081604"/>
              <a:gd name="connsiteY6" fmla="*/ 6543303 h 6554182"/>
              <a:gd name="connsiteX0" fmla="*/ 4989581 w 7081604"/>
              <a:gd name="connsiteY0" fmla="*/ 6553388 h 6554182"/>
              <a:gd name="connsiteX1" fmla="*/ 4168220 w 7081604"/>
              <a:gd name="connsiteY1" fmla="*/ 6554182 h 6554182"/>
              <a:gd name="connsiteX2" fmla="*/ 129339 w 7081604"/>
              <a:gd name="connsiteY2" fmla="*/ 2434430 h 6554182"/>
              <a:gd name="connsiteX3" fmla="*/ 98856 w 7081604"/>
              <a:gd name="connsiteY3" fmla="*/ 2169837 h 6554182"/>
              <a:gd name="connsiteX4" fmla="*/ 7081604 w 7081604"/>
              <a:gd name="connsiteY4" fmla="*/ 0 h 6554182"/>
              <a:gd name="connsiteX5" fmla="*/ 7069276 w 7081604"/>
              <a:gd name="connsiteY5" fmla="*/ 3432474 h 6554182"/>
              <a:gd name="connsiteX6" fmla="*/ 4989581 w 7081604"/>
              <a:gd name="connsiteY6" fmla="*/ 6553388 h 6554182"/>
              <a:gd name="connsiteX0" fmla="*/ 5006391 w 7081604"/>
              <a:gd name="connsiteY0" fmla="*/ 6556750 h 6556750"/>
              <a:gd name="connsiteX1" fmla="*/ 4168220 w 7081604"/>
              <a:gd name="connsiteY1" fmla="*/ 6554182 h 6556750"/>
              <a:gd name="connsiteX2" fmla="*/ 129339 w 7081604"/>
              <a:gd name="connsiteY2" fmla="*/ 2434430 h 6556750"/>
              <a:gd name="connsiteX3" fmla="*/ 98856 w 7081604"/>
              <a:gd name="connsiteY3" fmla="*/ 2169837 h 6556750"/>
              <a:gd name="connsiteX4" fmla="*/ 7081604 w 7081604"/>
              <a:gd name="connsiteY4" fmla="*/ 0 h 6556750"/>
              <a:gd name="connsiteX5" fmla="*/ 7069276 w 7081604"/>
              <a:gd name="connsiteY5" fmla="*/ 3432474 h 6556750"/>
              <a:gd name="connsiteX6" fmla="*/ 5006391 w 7081604"/>
              <a:gd name="connsiteY6" fmla="*/ 6556750 h 6556750"/>
              <a:gd name="connsiteX0" fmla="*/ 5006391 w 7092829"/>
              <a:gd name="connsiteY0" fmla="*/ 6556750 h 6556750"/>
              <a:gd name="connsiteX1" fmla="*/ 4168220 w 7092829"/>
              <a:gd name="connsiteY1" fmla="*/ 6554182 h 6556750"/>
              <a:gd name="connsiteX2" fmla="*/ 129339 w 7092829"/>
              <a:gd name="connsiteY2" fmla="*/ 2434430 h 6556750"/>
              <a:gd name="connsiteX3" fmla="*/ 98856 w 7092829"/>
              <a:gd name="connsiteY3" fmla="*/ 2169837 h 6556750"/>
              <a:gd name="connsiteX4" fmla="*/ 7081604 w 7092829"/>
              <a:gd name="connsiteY4" fmla="*/ 0 h 6556750"/>
              <a:gd name="connsiteX5" fmla="*/ 7092810 w 7092829"/>
              <a:gd name="connsiteY5" fmla="*/ 3405580 h 6556750"/>
              <a:gd name="connsiteX6" fmla="*/ 5006391 w 7092829"/>
              <a:gd name="connsiteY6" fmla="*/ 6556750 h 6556750"/>
              <a:gd name="connsiteX0" fmla="*/ 5006391 w 7095052"/>
              <a:gd name="connsiteY0" fmla="*/ 6560112 h 6560112"/>
              <a:gd name="connsiteX1" fmla="*/ 4168220 w 7095052"/>
              <a:gd name="connsiteY1" fmla="*/ 6557544 h 6560112"/>
              <a:gd name="connsiteX2" fmla="*/ 129339 w 7095052"/>
              <a:gd name="connsiteY2" fmla="*/ 2437792 h 6560112"/>
              <a:gd name="connsiteX3" fmla="*/ 98856 w 7095052"/>
              <a:gd name="connsiteY3" fmla="*/ 2173199 h 6560112"/>
              <a:gd name="connsiteX4" fmla="*/ 7095052 w 7095052"/>
              <a:gd name="connsiteY4" fmla="*/ 0 h 6560112"/>
              <a:gd name="connsiteX5" fmla="*/ 7092810 w 7095052"/>
              <a:gd name="connsiteY5" fmla="*/ 3408942 h 6560112"/>
              <a:gd name="connsiteX6" fmla="*/ 5006391 w 7095052"/>
              <a:gd name="connsiteY6" fmla="*/ 6560112 h 6560112"/>
              <a:gd name="connsiteX0" fmla="*/ 5006391 w 7095052"/>
              <a:gd name="connsiteY0" fmla="*/ 6560112 h 6560112"/>
              <a:gd name="connsiteX1" fmla="*/ 3149235 w 7095052"/>
              <a:gd name="connsiteY1" fmla="*/ 5693824 h 6560112"/>
              <a:gd name="connsiteX2" fmla="*/ 129339 w 7095052"/>
              <a:gd name="connsiteY2" fmla="*/ 2437792 h 6560112"/>
              <a:gd name="connsiteX3" fmla="*/ 98856 w 7095052"/>
              <a:gd name="connsiteY3" fmla="*/ 2173199 h 6560112"/>
              <a:gd name="connsiteX4" fmla="*/ 7095052 w 7095052"/>
              <a:gd name="connsiteY4" fmla="*/ 0 h 6560112"/>
              <a:gd name="connsiteX5" fmla="*/ 7092810 w 7095052"/>
              <a:gd name="connsiteY5" fmla="*/ 3408942 h 6560112"/>
              <a:gd name="connsiteX6" fmla="*/ 5006391 w 7095052"/>
              <a:gd name="connsiteY6" fmla="*/ 6560112 h 6560112"/>
              <a:gd name="connsiteX0" fmla="*/ 3384712 w 7095052"/>
              <a:gd name="connsiteY0" fmla="*/ 5702607 h 5702607"/>
              <a:gd name="connsiteX1" fmla="*/ 3149235 w 7095052"/>
              <a:gd name="connsiteY1" fmla="*/ 5693824 h 5702607"/>
              <a:gd name="connsiteX2" fmla="*/ 129339 w 7095052"/>
              <a:gd name="connsiteY2" fmla="*/ 2437792 h 5702607"/>
              <a:gd name="connsiteX3" fmla="*/ 98856 w 7095052"/>
              <a:gd name="connsiteY3" fmla="*/ 2173199 h 5702607"/>
              <a:gd name="connsiteX4" fmla="*/ 7095052 w 7095052"/>
              <a:gd name="connsiteY4" fmla="*/ 0 h 5702607"/>
              <a:gd name="connsiteX5" fmla="*/ 7092810 w 7095052"/>
              <a:gd name="connsiteY5" fmla="*/ 3408942 h 5702607"/>
              <a:gd name="connsiteX6" fmla="*/ 3384712 w 7095052"/>
              <a:gd name="connsiteY6" fmla="*/ 5702607 h 5702607"/>
              <a:gd name="connsiteX0" fmla="*/ 3384712 w 7092810"/>
              <a:gd name="connsiteY0" fmla="*/ 5652896 h 5652896"/>
              <a:gd name="connsiteX1" fmla="*/ 3149235 w 7092810"/>
              <a:gd name="connsiteY1" fmla="*/ 5644113 h 5652896"/>
              <a:gd name="connsiteX2" fmla="*/ 129339 w 7092810"/>
              <a:gd name="connsiteY2" fmla="*/ 2388081 h 5652896"/>
              <a:gd name="connsiteX3" fmla="*/ 98856 w 7092810"/>
              <a:gd name="connsiteY3" fmla="*/ 2123488 h 5652896"/>
              <a:gd name="connsiteX4" fmla="*/ 6629053 w 7092810"/>
              <a:gd name="connsiteY4" fmla="*/ 0 h 5652896"/>
              <a:gd name="connsiteX5" fmla="*/ 7092810 w 7092810"/>
              <a:gd name="connsiteY5" fmla="*/ 3359231 h 5652896"/>
              <a:gd name="connsiteX6" fmla="*/ 3384712 w 7092810"/>
              <a:gd name="connsiteY6" fmla="*/ 5652896 h 5652896"/>
              <a:gd name="connsiteX0" fmla="*/ 3384712 w 6629053"/>
              <a:gd name="connsiteY0" fmla="*/ 5652896 h 5652896"/>
              <a:gd name="connsiteX1" fmla="*/ 3149235 w 6629053"/>
              <a:gd name="connsiteY1" fmla="*/ 5644113 h 5652896"/>
              <a:gd name="connsiteX2" fmla="*/ 129339 w 6629053"/>
              <a:gd name="connsiteY2" fmla="*/ 2388081 h 5652896"/>
              <a:gd name="connsiteX3" fmla="*/ 98856 w 6629053"/>
              <a:gd name="connsiteY3" fmla="*/ 2123488 h 5652896"/>
              <a:gd name="connsiteX4" fmla="*/ 6629053 w 6629053"/>
              <a:gd name="connsiteY4" fmla="*/ 0 h 5652896"/>
              <a:gd name="connsiteX5" fmla="*/ 6334785 w 6629053"/>
              <a:gd name="connsiteY5" fmla="*/ 3458652 h 5652896"/>
              <a:gd name="connsiteX6" fmla="*/ 3384712 w 6629053"/>
              <a:gd name="connsiteY6" fmla="*/ 5652896 h 5652896"/>
              <a:gd name="connsiteX0" fmla="*/ 3384712 w 6629053"/>
              <a:gd name="connsiteY0" fmla="*/ 5652896 h 5652896"/>
              <a:gd name="connsiteX1" fmla="*/ 3149235 w 6629053"/>
              <a:gd name="connsiteY1" fmla="*/ 5644113 h 5652896"/>
              <a:gd name="connsiteX2" fmla="*/ 129339 w 6629053"/>
              <a:gd name="connsiteY2" fmla="*/ 2388081 h 5652896"/>
              <a:gd name="connsiteX3" fmla="*/ 98856 w 6629053"/>
              <a:gd name="connsiteY3" fmla="*/ 2123488 h 5652896"/>
              <a:gd name="connsiteX4" fmla="*/ 6629053 w 6629053"/>
              <a:gd name="connsiteY4" fmla="*/ 0 h 5652896"/>
              <a:gd name="connsiteX5" fmla="*/ 6160811 w 6629053"/>
              <a:gd name="connsiteY5" fmla="*/ 3123106 h 5652896"/>
              <a:gd name="connsiteX6" fmla="*/ 3384712 w 6629053"/>
              <a:gd name="connsiteY6" fmla="*/ 5652896 h 5652896"/>
              <a:gd name="connsiteX0" fmla="*/ 3384712 w 6629053"/>
              <a:gd name="connsiteY0" fmla="*/ 5652896 h 5652896"/>
              <a:gd name="connsiteX1" fmla="*/ 3149235 w 6629053"/>
              <a:gd name="connsiteY1" fmla="*/ 5644113 h 5652896"/>
              <a:gd name="connsiteX2" fmla="*/ 129339 w 6629053"/>
              <a:gd name="connsiteY2" fmla="*/ 2388081 h 5652896"/>
              <a:gd name="connsiteX3" fmla="*/ 98856 w 6629053"/>
              <a:gd name="connsiteY3" fmla="*/ 2123488 h 5652896"/>
              <a:gd name="connsiteX4" fmla="*/ 6629053 w 6629053"/>
              <a:gd name="connsiteY4" fmla="*/ 0 h 5652896"/>
              <a:gd name="connsiteX5" fmla="*/ 6378278 w 6629053"/>
              <a:gd name="connsiteY5" fmla="*/ 2060544 h 5652896"/>
              <a:gd name="connsiteX6" fmla="*/ 3384712 w 6629053"/>
              <a:gd name="connsiteY6" fmla="*/ 5652896 h 5652896"/>
              <a:gd name="connsiteX0" fmla="*/ 3384712 w 6629053"/>
              <a:gd name="connsiteY0" fmla="*/ 5652896 h 5652896"/>
              <a:gd name="connsiteX1" fmla="*/ 3149235 w 6629053"/>
              <a:gd name="connsiteY1" fmla="*/ 5644113 h 5652896"/>
              <a:gd name="connsiteX2" fmla="*/ 129339 w 6629053"/>
              <a:gd name="connsiteY2" fmla="*/ 2388081 h 5652896"/>
              <a:gd name="connsiteX3" fmla="*/ 98856 w 6629053"/>
              <a:gd name="connsiteY3" fmla="*/ 2123488 h 5652896"/>
              <a:gd name="connsiteX4" fmla="*/ 6629053 w 6629053"/>
              <a:gd name="connsiteY4" fmla="*/ 0 h 5652896"/>
              <a:gd name="connsiteX5" fmla="*/ 6508758 w 6629053"/>
              <a:gd name="connsiteY5" fmla="*/ 1898985 h 5652896"/>
              <a:gd name="connsiteX6" fmla="*/ 3384712 w 6629053"/>
              <a:gd name="connsiteY6" fmla="*/ 5652896 h 5652896"/>
              <a:gd name="connsiteX0" fmla="*/ 3384712 w 6523426"/>
              <a:gd name="connsiteY0" fmla="*/ 5609400 h 5609400"/>
              <a:gd name="connsiteX1" fmla="*/ 3149235 w 6523426"/>
              <a:gd name="connsiteY1" fmla="*/ 5600617 h 5609400"/>
              <a:gd name="connsiteX2" fmla="*/ 129339 w 6523426"/>
              <a:gd name="connsiteY2" fmla="*/ 2344585 h 5609400"/>
              <a:gd name="connsiteX3" fmla="*/ 98856 w 6523426"/>
              <a:gd name="connsiteY3" fmla="*/ 2079992 h 5609400"/>
              <a:gd name="connsiteX4" fmla="*/ 6523426 w 6523426"/>
              <a:gd name="connsiteY4" fmla="*/ 0 h 5609400"/>
              <a:gd name="connsiteX5" fmla="*/ 6508758 w 6523426"/>
              <a:gd name="connsiteY5" fmla="*/ 1855489 h 5609400"/>
              <a:gd name="connsiteX6" fmla="*/ 3384712 w 6523426"/>
              <a:gd name="connsiteY6" fmla="*/ 5609400 h 5609400"/>
              <a:gd name="connsiteX0" fmla="*/ 3384712 w 6523426"/>
              <a:gd name="connsiteY0" fmla="*/ 5609400 h 5609400"/>
              <a:gd name="connsiteX1" fmla="*/ 3118168 w 6523426"/>
              <a:gd name="connsiteY1" fmla="*/ 5594404 h 5609400"/>
              <a:gd name="connsiteX2" fmla="*/ 129339 w 6523426"/>
              <a:gd name="connsiteY2" fmla="*/ 2344585 h 5609400"/>
              <a:gd name="connsiteX3" fmla="*/ 98856 w 6523426"/>
              <a:gd name="connsiteY3" fmla="*/ 2079992 h 5609400"/>
              <a:gd name="connsiteX4" fmla="*/ 6523426 w 6523426"/>
              <a:gd name="connsiteY4" fmla="*/ 0 h 5609400"/>
              <a:gd name="connsiteX5" fmla="*/ 6508758 w 6523426"/>
              <a:gd name="connsiteY5" fmla="*/ 1855489 h 5609400"/>
              <a:gd name="connsiteX6" fmla="*/ 3384712 w 6523426"/>
              <a:gd name="connsiteY6" fmla="*/ 5609400 h 5609400"/>
              <a:gd name="connsiteX0" fmla="*/ 3384712 w 6523426"/>
              <a:gd name="connsiteY0" fmla="*/ 5609400 h 5609400"/>
              <a:gd name="connsiteX1" fmla="*/ 3118168 w 6523426"/>
              <a:gd name="connsiteY1" fmla="*/ 5594404 h 5609400"/>
              <a:gd name="connsiteX2" fmla="*/ 129339 w 6523426"/>
              <a:gd name="connsiteY2" fmla="*/ 2344585 h 5609400"/>
              <a:gd name="connsiteX3" fmla="*/ 98856 w 6523426"/>
              <a:gd name="connsiteY3" fmla="*/ 2079992 h 5609400"/>
              <a:gd name="connsiteX4" fmla="*/ 6523426 w 6523426"/>
              <a:gd name="connsiteY4" fmla="*/ 0 h 5609400"/>
              <a:gd name="connsiteX5" fmla="*/ 6508758 w 6523426"/>
              <a:gd name="connsiteY5" fmla="*/ 1855489 h 5609400"/>
              <a:gd name="connsiteX6" fmla="*/ 3384712 w 6523426"/>
              <a:gd name="connsiteY6" fmla="*/ 5609400 h 5609400"/>
              <a:gd name="connsiteX0" fmla="*/ 3384712 w 6523426"/>
              <a:gd name="connsiteY0" fmla="*/ 5609400 h 5609400"/>
              <a:gd name="connsiteX1" fmla="*/ 3118168 w 6523426"/>
              <a:gd name="connsiteY1" fmla="*/ 5594404 h 5609400"/>
              <a:gd name="connsiteX2" fmla="*/ 129339 w 6523426"/>
              <a:gd name="connsiteY2" fmla="*/ 2344585 h 5609400"/>
              <a:gd name="connsiteX3" fmla="*/ 98856 w 6523426"/>
              <a:gd name="connsiteY3" fmla="*/ 2079992 h 5609400"/>
              <a:gd name="connsiteX4" fmla="*/ 6523426 w 6523426"/>
              <a:gd name="connsiteY4" fmla="*/ 0 h 5609400"/>
              <a:gd name="connsiteX5" fmla="*/ 5931176 w 6523426"/>
              <a:gd name="connsiteY5" fmla="*/ 2555863 h 5609400"/>
              <a:gd name="connsiteX6" fmla="*/ 3384712 w 6523426"/>
              <a:gd name="connsiteY6" fmla="*/ 5609400 h 5609400"/>
              <a:gd name="connsiteX0" fmla="*/ 3384712 w 5931191"/>
              <a:gd name="connsiteY0" fmla="*/ 5421672 h 5421672"/>
              <a:gd name="connsiteX1" fmla="*/ 3118168 w 5931191"/>
              <a:gd name="connsiteY1" fmla="*/ 5406676 h 5421672"/>
              <a:gd name="connsiteX2" fmla="*/ 129339 w 5931191"/>
              <a:gd name="connsiteY2" fmla="*/ 2156857 h 5421672"/>
              <a:gd name="connsiteX3" fmla="*/ 98856 w 5931191"/>
              <a:gd name="connsiteY3" fmla="*/ 1892264 h 5421672"/>
              <a:gd name="connsiteX4" fmla="*/ 5916965 w 5931191"/>
              <a:gd name="connsiteY4" fmla="*/ 0 h 5421672"/>
              <a:gd name="connsiteX5" fmla="*/ 5931176 w 5931191"/>
              <a:gd name="connsiteY5" fmla="*/ 2368135 h 5421672"/>
              <a:gd name="connsiteX6" fmla="*/ 3384712 w 5931191"/>
              <a:gd name="connsiteY6" fmla="*/ 5421672 h 5421672"/>
              <a:gd name="connsiteX0" fmla="*/ 3384712 w 5931205"/>
              <a:gd name="connsiteY0" fmla="*/ 5421672 h 5421672"/>
              <a:gd name="connsiteX1" fmla="*/ 3118168 w 5931205"/>
              <a:gd name="connsiteY1" fmla="*/ 5406676 h 5421672"/>
              <a:gd name="connsiteX2" fmla="*/ 129339 w 5931205"/>
              <a:gd name="connsiteY2" fmla="*/ 2156857 h 5421672"/>
              <a:gd name="connsiteX3" fmla="*/ 98856 w 5931205"/>
              <a:gd name="connsiteY3" fmla="*/ 1892264 h 5421672"/>
              <a:gd name="connsiteX4" fmla="*/ 5916965 w 5931205"/>
              <a:gd name="connsiteY4" fmla="*/ 0 h 5421672"/>
              <a:gd name="connsiteX5" fmla="*/ 5931176 w 5931205"/>
              <a:gd name="connsiteY5" fmla="*/ 2368135 h 5421672"/>
              <a:gd name="connsiteX6" fmla="*/ 3384712 w 5931205"/>
              <a:gd name="connsiteY6" fmla="*/ 5421672 h 5421672"/>
              <a:gd name="connsiteX0" fmla="*/ 3384712 w 5931205"/>
              <a:gd name="connsiteY0" fmla="*/ 5421672 h 5427214"/>
              <a:gd name="connsiteX1" fmla="*/ 3130492 w 5931205"/>
              <a:gd name="connsiteY1" fmla="*/ 5427214 h 5427214"/>
              <a:gd name="connsiteX2" fmla="*/ 129339 w 5931205"/>
              <a:gd name="connsiteY2" fmla="*/ 2156857 h 5427214"/>
              <a:gd name="connsiteX3" fmla="*/ 98856 w 5931205"/>
              <a:gd name="connsiteY3" fmla="*/ 1892264 h 5427214"/>
              <a:gd name="connsiteX4" fmla="*/ 5916965 w 5931205"/>
              <a:gd name="connsiteY4" fmla="*/ 0 h 5427214"/>
              <a:gd name="connsiteX5" fmla="*/ 5931176 w 5931205"/>
              <a:gd name="connsiteY5" fmla="*/ 2368135 h 5427214"/>
              <a:gd name="connsiteX6" fmla="*/ 3384712 w 5931205"/>
              <a:gd name="connsiteY6" fmla="*/ 5421672 h 5427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31205" h="5427214">
                <a:moveTo>
                  <a:pt x="3384712" y="5421672"/>
                </a:moveTo>
                <a:lnTo>
                  <a:pt x="3130492" y="5427214"/>
                </a:lnTo>
                <a:cubicBezTo>
                  <a:pt x="1809052" y="4010467"/>
                  <a:pt x="1475633" y="3530108"/>
                  <a:pt x="129339" y="2156857"/>
                </a:cubicBezTo>
                <a:cubicBezTo>
                  <a:pt x="-87432" y="1945812"/>
                  <a:pt x="15569" y="1932016"/>
                  <a:pt x="98856" y="1892264"/>
                </a:cubicBezTo>
                <a:lnTo>
                  <a:pt x="5916965" y="0"/>
                </a:lnTo>
                <a:cubicBezTo>
                  <a:pt x="5923606" y="1091421"/>
                  <a:pt x="5931755" y="1233392"/>
                  <a:pt x="5931176" y="2368135"/>
                </a:cubicBezTo>
                <a:lnTo>
                  <a:pt x="3384712" y="5421672"/>
                </a:lnTo>
                <a:close/>
              </a:path>
            </a:pathLst>
          </a:custGeom>
          <a:blipFill dpi="0" rotWithShape="1">
            <a:blip r:embed="rId4" cstate="print">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a:p>
        </p:txBody>
      </p:sp>
      <p:sp>
        <p:nvSpPr>
          <p:cNvPr id="19" name="Subtitle 2">
            <a:extLst>
              <a:ext uri="{FF2B5EF4-FFF2-40B4-BE49-F238E27FC236}">
                <a16:creationId xmlns:a16="http://schemas.microsoft.com/office/drawing/2014/main" id="{047ED81C-9966-114B-8029-F692D15EE9B3}"/>
              </a:ext>
            </a:extLst>
          </p:cNvPr>
          <p:cNvSpPr>
            <a:spLocks noGrp="1"/>
          </p:cNvSpPr>
          <p:nvPr>
            <p:ph type="subTitle" idx="1" hasCustomPrompt="1"/>
          </p:nvPr>
        </p:nvSpPr>
        <p:spPr>
          <a:xfrm>
            <a:off x="360000" y="3601225"/>
            <a:ext cx="5080000" cy="358775"/>
          </a:xfrm>
          <a:prstGeom prst="rect">
            <a:avLst/>
          </a:prstGeom>
        </p:spPr>
        <p:txBody>
          <a:bodyPr>
            <a:noAutofit/>
          </a:bodyPr>
          <a:lstStyle>
            <a:lvl1pPr marL="0" indent="0" algn="l">
              <a:lnSpc>
                <a:spcPct val="100000"/>
              </a:lnSpc>
              <a:spcBef>
                <a:spcPts val="600"/>
              </a:spcBef>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date</a:t>
            </a:r>
          </a:p>
        </p:txBody>
      </p:sp>
      <p:sp>
        <p:nvSpPr>
          <p:cNvPr id="20" name="Text Placeholder 11">
            <a:extLst>
              <a:ext uri="{FF2B5EF4-FFF2-40B4-BE49-F238E27FC236}">
                <a16:creationId xmlns:a16="http://schemas.microsoft.com/office/drawing/2014/main" id="{DCC1742E-35C2-EA41-871A-6A370574810A}"/>
              </a:ext>
            </a:extLst>
          </p:cNvPr>
          <p:cNvSpPr>
            <a:spLocks noGrp="1"/>
          </p:cNvSpPr>
          <p:nvPr>
            <p:ph type="body" sz="quarter" idx="10" hasCustomPrompt="1"/>
          </p:nvPr>
        </p:nvSpPr>
        <p:spPr>
          <a:xfrm>
            <a:off x="360000" y="2160000"/>
            <a:ext cx="5400000" cy="1269000"/>
          </a:xfrm>
          <a:prstGeom prst="rect">
            <a:avLst/>
          </a:prstGeom>
          <a:noFill/>
        </p:spPr>
        <p:txBody>
          <a:bodyPr>
            <a:noAutofit/>
          </a:bodyPr>
          <a:lstStyle>
            <a:lvl1pPr>
              <a:lnSpc>
                <a:spcPct val="80000"/>
              </a:lnSpc>
              <a:defRPr sz="4800">
                <a:solidFill>
                  <a:schemeClr val="bg1"/>
                </a:solidFill>
              </a:defRPr>
            </a:lvl1pPr>
            <a:lvl2pPr marL="457200" indent="0">
              <a:buNone/>
              <a:defRPr/>
            </a:lvl2pPr>
          </a:lstStyle>
          <a:p>
            <a:pPr lvl="0"/>
            <a:r>
              <a:rPr lang="en-US"/>
              <a:t>Title of Presentation</a:t>
            </a:r>
          </a:p>
        </p:txBody>
      </p:sp>
      <p:sp>
        <p:nvSpPr>
          <p:cNvPr id="12" name="TextBox 11">
            <a:extLst>
              <a:ext uri="{FF2B5EF4-FFF2-40B4-BE49-F238E27FC236}">
                <a16:creationId xmlns:a16="http://schemas.microsoft.com/office/drawing/2014/main" id="{1A32AEF0-08ED-5740-8D91-BBEFF1A040F7}"/>
              </a:ext>
            </a:extLst>
          </p:cNvPr>
          <p:cNvSpPr txBox="1"/>
          <p:nvPr/>
        </p:nvSpPr>
        <p:spPr>
          <a:xfrm>
            <a:off x="360000" y="6336000"/>
            <a:ext cx="5400000" cy="216000"/>
          </a:xfrm>
          <a:prstGeom prst="rect">
            <a:avLst/>
          </a:prstGeom>
          <a:noFill/>
        </p:spPr>
        <p:txBody>
          <a:bodyPr wrap="square" lIns="90000" rtlCol="0" anchor="ctr" anchorCtr="0">
            <a:spAutoFit/>
          </a:bodyPr>
          <a:lstStyle/>
          <a:p>
            <a:r>
              <a:rPr lang="en-GB" sz="800" b="0" i="0">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endParaRPr lang="en-US" sz="800" b="0" i="0">
              <a:solidFill>
                <a:schemeClr val="bg1"/>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5AF5C379-837D-3B47-B591-745420730101}"/>
              </a:ext>
            </a:extLst>
          </p:cNvPr>
          <p:cNvSpPr txBox="1"/>
          <p:nvPr/>
        </p:nvSpPr>
        <p:spPr>
          <a:xfrm>
            <a:off x="-1170000" y="2440557"/>
            <a:ext cx="1052488" cy="1785104"/>
          </a:xfrm>
          <a:prstGeom prst="rect">
            <a:avLst/>
          </a:prstGeom>
          <a:solidFill>
            <a:schemeClr val="bg1"/>
          </a:solidFill>
        </p:spPr>
        <p:txBody>
          <a:bodyPr wrap="square" rtlCol="0">
            <a:spAutoFit/>
          </a:bodyPr>
          <a:lstStyle/>
          <a:p>
            <a:pPr algn="l"/>
            <a:r>
              <a:rPr lang="en-US" sz="1000">
                <a:solidFill>
                  <a:srgbClr val="333D47"/>
                </a:solidFill>
                <a:latin typeface="Arial" panose="020B0604020202020204" pitchFamily="34" charset="0"/>
                <a:cs typeface="Arial" panose="020B0604020202020204" pitchFamily="34" charset="0"/>
              </a:rPr>
              <a:t>The image can be replaced here and master view</a:t>
            </a:r>
          </a:p>
          <a:p>
            <a:pPr algn="l"/>
            <a:endParaRPr lang="en-US" sz="1000">
              <a:solidFill>
                <a:srgbClr val="333D47"/>
              </a:solidFill>
              <a:latin typeface="Arial" panose="020B0604020202020204" pitchFamily="34" charset="0"/>
              <a:cs typeface="Arial" panose="020B0604020202020204" pitchFamily="34" charset="0"/>
            </a:endParaRPr>
          </a:p>
          <a:p>
            <a:pPr algn="l"/>
            <a:r>
              <a:rPr lang="en-GB" sz="1000">
                <a:latin typeface="Helvetica Neue" panose="02000503000000020004" pitchFamily="2" charset="0"/>
              </a:rPr>
              <a:t>Please </a:t>
            </a:r>
            <a:r>
              <a:rPr lang="en-GB" sz="1000" b="1">
                <a:latin typeface="Helvetica Neue" panose="02000503000000020004" pitchFamily="2" charset="0"/>
              </a:rPr>
              <a:t>do not </a:t>
            </a:r>
            <a:r>
              <a:rPr lang="en-GB" sz="1000">
                <a:latin typeface="Helvetica Neue" panose="02000503000000020004" pitchFamily="2" charset="0"/>
              </a:rPr>
              <a:t>use any internal photo competition participants’ images</a:t>
            </a:r>
            <a:endParaRPr lang="en-US" sz="1000">
              <a:solidFill>
                <a:srgbClr val="333D47"/>
              </a:solidFill>
            </a:endParaRPr>
          </a:p>
        </p:txBody>
      </p:sp>
      <p:pic>
        <p:nvPicPr>
          <p:cNvPr id="13" name="Graphic 12">
            <a:extLst>
              <a:ext uri="{FF2B5EF4-FFF2-40B4-BE49-F238E27FC236}">
                <a16:creationId xmlns:a16="http://schemas.microsoft.com/office/drawing/2014/main" id="{B9B2E6C6-C310-EA4F-874C-0B46C5E42AA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3600" y="360000"/>
            <a:ext cx="635000" cy="660400"/>
          </a:xfrm>
          <a:prstGeom prst="rect">
            <a:avLst/>
          </a:prstGeom>
        </p:spPr>
      </p:pic>
    </p:spTree>
    <p:extLst>
      <p:ext uri="{BB962C8B-B14F-4D97-AF65-F5344CB8AC3E}">
        <p14:creationId xmlns:p14="http://schemas.microsoft.com/office/powerpoint/2010/main" val="2465699378"/>
      </p:ext>
    </p:extLst>
  </p:cSld>
  <p:clrMapOvr>
    <a:masterClrMapping/>
  </p:clrMapOvr>
  <p:extLst>
    <p:ext uri="{DCECCB84-F9BA-43D5-87BE-67443E8EF086}">
      <p15:sldGuideLst xmlns:p15="http://schemas.microsoft.com/office/powerpoint/2012/main">
        <p15:guide id="1" pos="21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ia_blank_right_large">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A0C0796C-1AE4-C045-9079-CEB572C3E496}"/>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 r="30407" b="21820"/>
          <a:stretch/>
        </p:blipFill>
        <p:spPr>
          <a:xfrm>
            <a:off x="9558173" y="2975841"/>
            <a:ext cx="2633827" cy="3882159"/>
          </a:xfrm>
          <a:prstGeom prst="rect">
            <a:avLst/>
          </a:prstGeom>
        </p:spPr>
      </p:pic>
      <p:sp>
        <p:nvSpPr>
          <p:cNvPr id="9" name="Text Placeholder 4">
            <a:extLst>
              <a:ext uri="{FF2B5EF4-FFF2-40B4-BE49-F238E27FC236}">
                <a16:creationId xmlns:a16="http://schemas.microsoft.com/office/drawing/2014/main" id="{B4135A89-6802-F94C-BB00-90334B27F2C4}"/>
              </a:ext>
            </a:extLst>
          </p:cNvPr>
          <p:cNvSpPr>
            <a:spLocks noGrp="1"/>
          </p:cNvSpPr>
          <p:nvPr>
            <p:ph type="body" sz="quarter" idx="12"/>
          </p:nvPr>
        </p:nvSpPr>
        <p:spPr>
          <a:xfrm>
            <a:off x="360001" y="1800000"/>
            <a:ext cx="3600000" cy="291679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91838555-31F6-CA4A-AF86-A5B38A07ED1F}"/>
              </a:ext>
            </a:extLst>
          </p:cNvPr>
          <p:cNvSpPr>
            <a:spLocks noGrp="1"/>
          </p:cNvSpPr>
          <p:nvPr>
            <p:ph type="body" sz="quarter" idx="13"/>
          </p:nvPr>
        </p:nvSpPr>
        <p:spPr>
          <a:xfrm>
            <a:off x="4237200" y="1800000"/>
            <a:ext cx="3600000" cy="291679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a:extLst>
              <a:ext uri="{FF2B5EF4-FFF2-40B4-BE49-F238E27FC236}">
                <a16:creationId xmlns:a16="http://schemas.microsoft.com/office/drawing/2014/main" id="{944E74A2-72F9-9E49-879A-F96B731C1BC5}"/>
              </a:ext>
            </a:extLst>
          </p:cNvPr>
          <p:cNvSpPr>
            <a:spLocks noGrp="1"/>
          </p:cNvSpPr>
          <p:nvPr>
            <p:ph type="body" sz="quarter" idx="10" hasCustomPrompt="1"/>
          </p:nvPr>
        </p:nvSpPr>
        <p:spPr>
          <a:xfrm>
            <a:off x="360000" y="540000"/>
            <a:ext cx="11160000" cy="1338676"/>
          </a:xfrm>
          <a:prstGeom prst="rect">
            <a:avLst/>
          </a:prstGeom>
          <a:noFill/>
        </p:spPr>
        <p:txBody>
          <a:bodyPr>
            <a:noAutofit/>
          </a:bodyPr>
          <a:lstStyle>
            <a:lvl1pPr>
              <a:lnSpc>
                <a:spcPts val="3200"/>
              </a:lnSpc>
              <a:defRPr sz="3600">
                <a:solidFill>
                  <a:srgbClr val="333D47"/>
                </a:solidFill>
              </a:defRPr>
            </a:lvl1pPr>
            <a:lvl2pPr marL="457200" indent="0">
              <a:buNone/>
              <a:defRPr/>
            </a:lvl2pPr>
          </a:lstStyle>
          <a:p>
            <a:pPr lvl="0"/>
            <a:r>
              <a:rPr lang="en-US"/>
              <a:t>Headline</a:t>
            </a:r>
          </a:p>
        </p:txBody>
      </p:sp>
      <p:pic>
        <p:nvPicPr>
          <p:cNvPr id="10" name="Graphic 9">
            <a:extLst>
              <a:ext uri="{FF2B5EF4-FFF2-40B4-BE49-F238E27FC236}">
                <a16:creationId xmlns:a16="http://schemas.microsoft.com/office/drawing/2014/main" id="{415A11F5-A132-0049-BFF6-4ED990A1E9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60000" y="5792400"/>
            <a:ext cx="635000" cy="660400"/>
          </a:xfrm>
          <a:prstGeom prst="rect">
            <a:avLst/>
          </a:prstGeom>
        </p:spPr>
      </p:pic>
    </p:spTree>
    <p:extLst>
      <p:ext uri="{BB962C8B-B14F-4D97-AF65-F5344CB8AC3E}">
        <p14:creationId xmlns:p14="http://schemas.microsoft.com/office/powerpoint/2010/main" val="324097314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3411847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5684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154"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131844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57545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20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1712837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502267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22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657847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25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1884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2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2561913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29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2172163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244419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3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1145363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3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5445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AIA_blankGraphic">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21E97CF3-1B2B-3C4F-B98D-C24E6E08FCFC}"/>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1004" t="5114" r="34651" b="24263"/>
          <a:stretch/>
        </p:blipFill>
        <p:spPr>
          <a:xfrm>
            <a:off x="10178106" y="4184921"/>
            <a:ext cx="2021388" cy="2673079"/>
          </a:xfrm>
          <a:prstGeom prst="rect">
            <a:avLst/>
          </a:prstGeom>
        </p:spPr>
      </p:pic>
      <p:sp>
        <p:nvSpPr>
          <p:cNvPr id="8" name="Text Placeholder 4">
            <a:extLst>
              <a:ext uri="{FF2B5EF4-FFF2-40B4-BE49-F238E27FC236}">
                <a16:creationId xmlns:a16="http://schemas.microsoft.com/office/drawing/2014/main" id="{8283C79D-02B2-7C4C-ACCB-2BC606AA32AD}"/>
              </a:ext>
            </a:extLst>
          </p:cNvPr>
          <p:cNvSpPr>
            <a:spLocks noGrp="1"/>
          </p:cNvSpPr>
          <p:nvPr>
            <p:ph type="body" sz="quarter" idx="12"/>
          </p:nvPr>
        </p:nvSpPr>
        <p:spPr>
          <a:xfrm>
            <a:off x="360000" y="1800000"/>
            <a:ext cx="3600000" cy="2916793"/>
          </a:xfrm>
        </p:spPr>
        <p:txBody>
          <a:bodyPr>
            <a:noAutofit/>
          </a:bodyPr>
          <a:lstStyle>
            <a:lvl1pPr marL="285750" indent="-285750">
              <a:buClr>
                <a:schemeClr val="accent1"/>
              </a:buClr>
              <a:buSzPct val="125000"/>
              <a:buFont typeface="Courier New" panose="02070309020205020404" pitchFamily="49" charset="0"/>
              <a:buChar char="o"/>
              <a:defRPr/>
            </a:lvl1pPr>
            <a:lvl2pPr marL="742950" indent="-285750">
              <a:buClr>
                <a:schemeClr val="accent1"/>
              </a:buClr>
              <a:buSzPct val="125000"/>
              <a:buFont typeface="Courier New" panose="02070309020205020404" pitchFamily="49" charset="0"/>
              <a:buChar char="o"/>
              <a:defRPr/>
            </a:lvl2pPr>
            <a:lvl3pPr marL="1143000" indent="-228600">
              <a:buClr>
                <a:schemeClr val="accent1"/>
              </a:buClr>
              <a:buSzPct val="125000"/>
              <a:buFont typeface="Courier New" panose="02070309020205020404" pitchFamily="49" charset="0"/>
              <a:buChar char="o"/>
              <a:defRPr/>
            </a:lvl3pPr>
            <a:lvl4pPr marL="1600200" indent="-228600">
              <a:buClr>
                <a:schemeClr val="accent1"/>
              </a:buClr>
              <a:buSzPct val="125000"/>
              <a:buFont typeface="Courier New" panose="02070309020205020404" pitchFamily="49" charset="0"/>
              <a:buChar char="o"/>
              <a:defRPr/>
            </a:lvl4pPr>
            <a:lvl5pPr marL="2057400" indent="-228600">
              <a:buClr>
                <a:schemeClr val="accent1"/>
              </a:buClr>
              <a:buSzPct val="125000"/>
              <a:buFont typeface="Courier New" panose="02070309020205020404" pitchFamily="49" charset="0"/>
              <a:buChar char="o"/>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a:extLst>
              <a:ext uri="{FF2B5EF4-FFF2-40B4-BE49-F238E27FC236}">
                <a16:creationId xmlns:a16="http://schemas.microsoft.com/office/drawing/2014/main" id="{B6DAD27A-8F08-5A49-AF70-761746D020EE}"/>
              </a:ext>
            </a:extLst>
          </p:cNvPr>
          <p:cNvSpPr>
            <a:spLocks noGrp="1"/>
          </p:cNvSpPr>
          <p:nvPr>
            <p:ph type="sldNum" sz="quarter" idx="4"/>
          </p:nvPr>
        </p:nvSpPr>
        <p:spPr>
          <a:xfrm>
            <a:off x="359999" y="6264872"/>
            <a:ext cx="360000" cy="360000"/>
          </a:xfrm>
          <a:prstGeom prst="rect">
            <a:avLst/>
          </a:prstGeom>
        </p:spPr>
        <p:txBody>
          <a:bodyPr vert="horz" lIns="91440" tIns="45720" rIns="91440" bIns="45720" rtlCol="0" anchor="ctr"/>
          <a:lstStyle>
            <a:lvl1pPr algn="l">
              <a:defRPr sz="800" b="0" i="0">
                <a:solidFill>
                  <a:schemeClr val="tx1"/>
                </a:solidFill>
                <a:latin typeface="Arial" panose="020B0604020202020204" pitchFamily="34" charset="0"/>
                <a:cs typeface="Arial" panose="020B0604020202020204" pitchFamily="34" charset="0"/>
              </a:defRPr>
            </a:lvl1pPr>
          </a:lstStyle>
          <a:p>
            <a:fld id="{52BD4378-72E1-444F-8B73-E4C8D03E6D72}" type="slidenum">
              <a:rPr lang="en-MY" smtClean="0"/>
              <a:t>‹#›</a:t>
            </a:fld>
            <a:endParaRPr lang="en-MY"/>
          </a:p>
        </p:txBody>
      </p:sp>
      <p:sp>
        <p:nvSpPr>
          <p:cNvPr id="9" name="Text Placeholder 4">
            <a:extLst>
              <a:ext uri="{FF2B5EF4-FFF2-40B4-BE49-F238E27FC236}">
                <a16:creationId xmlns:a16="http://schemas.microsoft.com/office/drawing/2014/main" id="{355F38DE-1350-2D4C-B6FB-3A271A28F85A}"/>
              </a:ext>
            </a:extLst>
          </p:cNvPr>
          <p:cNvSpPr>
            <a:spLocks noGrp="1"/>
          </p:cNvSpPr>
          <p:nvPr>
            <p:ph type="body" sz="quarter" idx="16"/>
          </p:nvPr>
        </p:nvSpPr>
        <p:spPr>
          <a:xfrm>
            <a:off x="4237200" y="1800000"/>
            <a:ext cx="3600000" cy="2916793"/>
          </a:xfrm>
        </p:spPr>
        <p:txBody>
          <a:bodyPr>
            <a:noAutofit/>
          </a:bodyPr>
          <a:lstStyle>
            <a:lvl1pPr marL="285750" indent="-285750">
              <a:buClr>
                <a:schemeClr val="accent1"/>
              </a:buClr>
              <a:buSzPct val="125000"/>
              <a:buFont typeface="Courier New" panose="02070309020205020404" pitchFamily="49" charset="0"/>
              <a:buChar char="o"/>
              <a:defRPr/>
            </a:lvl1pPr>
            <a:lvl2pPr marL="742950" indent="-285750">
              <a:buClr>
                <a:schemeClr val="accent1"/>
              </a:buClr>
              <a:buSzPct val="125000"/>
              <a:buFont typeface="Courier New" panose="02070309020205020404" pitchFamily="49" charset="0"/>
              <a:buChar char="o"/>
              <a:defRPr/>
            </a:lvl2pPr>
            <a:lvl3pPr marL="1143000" indent="-228600">
              <a:buClr>
                <a:schemeClr val="accent1"/>
              </a:buClr>
              <a:buSzPct val="125000"/>
              <a:buFont typeface="Courier New" panose="02070309020205020404" pitchFamily="49" charset="0"/>
              <a:buChar char="o"/>
              <a:defRPr/>
            </a:lvl3pPr>
            <a:lvl4pPr marL="1600200" indent="-228600">
              <a:buClr>
                <a:schemeClr val="accent1"/>
              </a:buClr>
              <a:buSzPct val="125000"/>
              <a:buFont typeface="Courier New" panose="02070309020205020404" pitchFamily="49" charset="0"/>
              <a:buChar char="o"/>
              <a:defRPr/>
            </a:lvl4pPr>
            <a:lvl5pPr marL="2057400" indent="-228600">
              <a:buClr>
                <a:schemeClr val="accent1"/>
              </a:buClr>
              <a:buSzPct val="125000"/>
              <a:buFont typeface="Courier New" panose="02070309020205020404" pitchFamily="49" charset="0"/>
              <a:buChar char="o"/>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a:extLst>
              <a:ext uri="{FF2B5EF4-FFF2-40B4-BE49-F238E27FC236}">
                <a16:creationId xmlns:a16="http://schemas.microsoft.com/office/drawing/2014/main" id="{3F80291D-9E0D-4F4E-B07E-13D3B4C2306F}"/>
              </a:ext>
            </a:extLst>
          </p:cNvPr>
          <p:cNvSpPr>
            <a:spLocks noGrp="1"/>
          </p:cNvSpPr>
          <p:nvPr>
            <p:ph type="body" sz="quarter" idx="10" hasCustomPrompt="1"/>
          </p:nvPr>
        </p:nvSpPr>
        <p:spPr>
          <a:xfrm>
            <a:off x="360000" y="540000"/>
            <a:ext cx="11160000" cy="1338676"/>
          </a:xfrm>
          <a:prstGeom prst="rect">
            <a:avLst/>
          </a:prstGeom>
          <a:noFill/>
        </p:spPr>
        <p:txBody>
          <a:bodyPr>
            <a:noAutofit/>
          </a:bodyPr>
          <a:lstStyle>
            <a:lvl1pPr>
              <a:lnSpc>
                <a:spcPts val="3200"/>
              </a:lnSpc>
              <a:defRPr sz="3600">
                <a:solidFill>
                  <a:srgbClr val="333D47"/>
                </a:solidFill>
              </a:defRPr>
            </a:lvl1pPr>
            <a:lvl2pPr marL="457200" indent="0">
              <a:buNone/>
              <a:defRPr/>
            </a:lvl2pPr>
          </a:lstStyle>
          <a:p>
            <a:pPr lvl="0"/>
            <a:r>
              <a:rPr lang="en-US"/>
              <a:t>Headline</a:t>
            </a:r>
          </a:p>
        </p:txBody>
      </p:sp>
      <p:pic>
        <p:nvPicPr>
          <p:cNvPr id="10" name="Graphic 9">
            <a:extLst>
              <a:ext uri="{FF2B5EF4-FFF2-40B4-BE49-F238E27FC236}">
                <a16:creationId xmlns:a16="http://schemas.microsoft.com/office/drawing/2014/main" id="{33BE3CB4-AD8C-5A4B-A57E-EC5458BD22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60000" y="5792400"/>
            <a:ext cx="635000" cy="660400"/>
          </a:xfrm>
          <a:prstGeom prst="rect">
            <a:avLst/>
          </a:prstGeom>
        </p:spPr>
      </p:pic>
    </p:spTree>
    <p:extLst>
      <p:ext uri="{BB962C8B-B14F-4D97-AF65-F5344CB8AC3E}">
        <p14:creationId xmlns:p14="http://schemas.microsoft.com/office/powerpoint/2010/main" val="333864467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3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5427573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3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0915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3_Content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18"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17" name="Group 116">
            <a:extLst>
              <a:ext uri="{FF2B5EF4-FFF2-40B4-BE49-F238E27FC236}">
                <a16:creationId xmlns:a16="http://schemas.microsoft.com/office/drawing/2014/main" id="{78C55BAC-D2A7-4CDC-AC33-87608332CBF2}"/>
              </a:ext>
            </a:extLst>
          </p:cNvPr>
          <p:cNvGrpSpPr/>
          <p:nvPr userDrawn="1"/>
        </p:nvGrpSpPr>
        <p:grpSpPr>
          <a:xfrm>
            <a:off x="699930" y="716437"/>
            <a:ext cx="8389862" cy="5791322"/>
            <a:chOff x="2300130" y="716437"/>
            <a:chExt cx="8389862" cy="5791322"/>
          </a:xfrm>
        </p:grpSpPr>
        <p:sp>
          <p:nvSpPr>
            <p:cNvPr id="7" name="Rectangle 6">
              <a:extLst>
                <a:ext uri="{FF2B5EF4-FFF2-40B4-BE49-F238E27FC236}">
                  <a16:creationId xmlns:a16="http://schemas.microsoft.com/office/drawing/2014/main" id="{6E4B7BE7-D925-441B-8CBE-74A001F63ED8}"/>
                </a:ext>
              </a:extLst>
            </p:cNvPr>
            <p:cNvSpPr/>
            <p:nvPr/>
          </p:nvSpPr>
          <p:spPr bwMode="auto">
            <a:xfrm>
              <a:off x="10134723" y="716438"/>
              <a:ext cx="555269" cy="577828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vert270" wrap="square" lIns="18000" tIns="18000" rIns="72000" bIns="72000" numCol="1" rtlCol="0" anchor="t" anchorCtr="0" compatLnSpc="1">
              <a:prstTxWarp prst="textNoShape">
                <a:avLst/>
              </a:prstTxWarp>
            </a:bodyPr>
            <a:lstStyle/>
            <a:p>
              <a:r>
                <a:rPr lang="en-US" sz="800" b="1">
                  <a:solidFill>
                    <a:schemeClr val="tx1">
                      <a:lumMod val="75000"/>
                      <a:lumOff val="25000"/>
                    </a:schemeClr>
                  </a:solidFill>
                </a:rPr>
                <a:t>Security &amp;  Monitoring</a:t>
              </a:r>
            </a:p>
          </p:txBody>
        </p:sp>
        <p:sp>
          <p:nvSpPr>
            <p:cNvPr id="8" name="Rectangle 7">
              <a:extLst>
                <a:ext uri="{FF2B5EF4-FFF2-40B4-BE49-F238E27FC236}">
                  <a16:creationId xmlns:a16="http://schemas.microsoft.com/office/drawing/2014/main" id="{A46424E0-C3EA-4BE8-A17B-34D64D0CCD2F}"/>
                </a:ext>
              </a:extLst>
            </p:cNvPr>
            <p:cNvSpPr/>
            <p:nvPr/>
          </p:nvSpPr>
          <p:spPr bwMode="auto">
            <a:xfrm>
              <a:off x="2300132" y="6042934"/>
              <a:ext cx="7763033" cy="4648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36000" bIns="36000" numCol="1" rtlCol="0" anchor="t" anchorCtr="0" compatLnSpc="1">
              <a:prstTxWarp prst="textNoShape">
                <a:avLst/>
              </a:prstTxWarp>
            </a:bodyPr>
            <a:lstStyle/>
            <a:p>
              <a:r>
                <a:rPr lang="en-US" sz="800" b="1">
                  <a:solidFill>
                    <a:schemeClr val="tx1">
                      <a:lumMod val="75000"/>
                      <a:lumOff val="25000"/>
                    </a:schemeClr>
                  </a:solidFill>
                </a:rPr>
                <a:t>Infrastructure</a:t>
              </a:r>
            </a:p>
          </p:txBody>
        </p:sp>
        <p:grpSp>
          <p:nvGrpSpPr>
            <p:cNvPr id="111" name="Group 110">
              <a:extLst>
                <a:ext uri="{FF2B5EF4-FFF2-40B4-BE49-F238E27FC236}">
                  <a16:creationId xmlns:a16="http://schemas.microsoft.com/office/drawing/2014/main" id="{14EA603E-8769-4D4D-AED8-158F60C7C4FD}"/>
                </a:ext>
              </a:extLst>
            </p:cNvPr>
            <p:cNvGrpSpPr/>
            <p:nvPr userDrawn="1"/>
          </p:nvGrpSpPr>
          <p:grpSpPr>
            <a:xfrm>
              <a:off x="2300132" y="5118794"/>
              <a:ext cx="7757525" cy="871784"/>
              <a:chOff x="2300132" y="5115863"/>
              <a:chExt cx="7757525" cy="871784"/>
            </a:xfrm>
          </p:grpSpPr>
          <p:sp>
            <p:nvSpPr>
              <p:cNvPr id="9" name="Rectangle 8">
                <a:extLst>
                  <a:ext uri="{FF2B5EF4-FFF2-40B4-BE49-F238E27FC236}">
                    <a16:creationId xmlns:a16="http://schemas.microsoft.com/office/drawing/2014/main" id="{E7B321BD-D494-4042-BAAA-624FDC93E0EF}"/>
                  </a:ext>
                </a:extLst>
              </p:cNvPr>
              <p:cNvSpPr/>
              <p:nvPr/>
            </p:nvSpPr>
            <p:spPr bwMode="auto">
              <a:xfrm>
                <a:off x="2300132" y="5115863"/>
                <a:ext cx="1241657" cy="87178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36000" bIns="36000" numCol="1" rtlCol="0" anchor="t" anchorCtr="0" compatLnSpc="1">
                <a:prstTxWarp prst="textNoShape">
                  <a:avLst/>
                </a:prstTxWarp>
              </a:bodyPr>
              <a:lstStyle/>
              <a:p>
                <a:r>
                  <a:rPr lang="en-US" sz="800" b="1">
                    <a:solidFill>
                      <a:schemeClr val="tx1">
                        <a:lumMod val="75000"/>
                        <a:lumOff val="25000"/>
                      </a:schemeClr>
                    </a:solidFill>
                  </a:rPr>
                  <a:t>HR</a:t>
                </a:r>
              </a:p>
            </p:txBody>
          </p:sp>
          <p:sp>
            <p:nvSpPr>
              <p:cNvPr id="11" name="Rectangle 10">
                <a:extLst>
                  <a:ext uri="{FF2B5EF4-FFF2-40B4-BE49-F238E27FC236}">
                    <a16:creationId xmlns:a16="http://schemas.microsoft.com/office/drawing/2014/main" id="{59A38A97-261D-42B1-96C3-6921FAA4764F}"/>
                  </a:ext>
                </a:extLst>
              </p:cNvPr>
              <p:cNvSpPr/>
              <p:nvPr/>
            </p:nvSpPr>
            <p:spPr bwMode="auto">
              <a:xfrm>
                <a:off x="3603304" y="5115863"/>
                <a:ext cx="1241657" cy="87178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36000" bIns="36000" numCol="1" rtlCol="0" anchor="t" anchorCtr="0" compatLnSpc="1">
                <a:prstTxWarp prst="textNoShape">
                  <a:avLst/>
                </a:prstTxWarp>
              </a:bodyPr>
              <a:lstStyle/>
              <a:p>
                <a:r>
                  <a:rPr lang="en-US" sz="800" b="1">
                    <a:solidFill>
                      <a:schemeClr val="tx1">
                        <a:lumMod val="75000"/>
                        <a:lumOff val="25000"/>
                      </a:schemeClr>
                    </a:solidFill>
                  </a:rPr>
                  <a:t>Finance &amp; </a:t>
                </a:r>
                <a:r>
                  <a:rPr lang="en-US" sz="800" b="1" err="1">
                    <a:solidFill>
                      <a:schemeClr val="tx1">
                        <a:lumMod val="75000"/>
                        <a:lumOff val="25000"/>
                      </a:schemeClr>
                    </a:solidFill>
                  </a:rPr>
                  <a:t>Acturial</a:t>
                </a:r>
                <a:endParaRPr lang="en-US" sz="800" b="1">
                  <a:solidFill>
                    <a:schemeClr val="tx1">
                      <a:lumMod val="75000"/>
                      <a:lumOff val="25000"/>
                    </a:schemeClr>
                  </a:solidFill>
                </a:endParaRPr>
              </a:p>
            </p:txBody>
          </p:sp>
          <p:sp>
            <p:nvSpPr>
              <p:cNvPr id="13" name="Rectangle 12">
                <a:extLst>
                  <a:ext uri="{FF2B5EF4-FFF2-40B4-BE49-F238E27FC236}">
                    <a16:creationId xmlns:a16="http://schemas.microsoft.com/office/drawing/2014/main" id="{1EA1CA7A-B074-4074-B2B6-D51AAED10824}"/>
                  </a:ext>
                </a:extLst>
              </p:cNvPr>
              <p:cNvSpPr/>
              <p:nvPr/>
            </p:nvSpPr>
            <p:spPr bwMode="auto">
              <a:xfrm>
                <a:off x="4906478" y="5115863"/>
                <a:ext cx="1241657" cy="87178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36000" bIns="36000" numCol="1" rtlCol="0" anchor="t" anchorCtr="0" compatLnSpc="1">
                <a:prstTxWarp prst="textNoShape">
                  <a:avLst/>
                </a:prstTxWarp>
              </a:bodyPr>
              <a:lstStyle/>
              <a:p>
                <a:r>
                  <a:rPr lang="en-US" sz="800" b="1">
                    <a:solidFill>
                      <a:schemeClr val="tx1">
                        <a:lumMod val="75000"/>
                        <a:lumOff val="25000"/>
                      </a:schemeClr>
                    </a:solidFill>
                  </a:rPr>
                  <a:t>Investment</a:t>
                </a:r>
              </a:p>
            </p:txBody>
          </p:sp>
          <p:sp>
            <p:nvSpPr>
              <p:cNvPr id="14" name="Rectangle 13">
                <a:extLst>
                  <a:ext uri="{FF2B5EF4-FFF2-40B4-BE49-F238E27FC236}">
                    <a16:creationId xmlns:a16="http://schemas.microsoft.com/office/drawing/2014/main" id="{4D6703B2-5AAE-42BA-A592-2BBD5432D1FD}"/>
                  </a:ext>
                </a:extLst>
              </p:cNvPr>
              <p:cNvSpPr/>
              <p:nvPr/>
            </p:nvSpPr>
            <p:spPr bwMode="auto">
              <a:xfrm>
                <a:off x="6209653" y="5115863"/>
                <a:ext cx="1241657" cy="87178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36000" bIns="36000" numCol="1" rtlCol="0" anchor="t" anchorCtr="0" compatLnSpc="1">
                <a:prstTxWarp prst="textNoShape">
                  <a:avLst/>
                </a:prstTxWarp>
              </a:bodyPr>
              <a:lstStyle/>
              <a:p>
                <a:r>
                  <a:rPr lang="en-US" sz="800" b="1">
                    <a:solidFill>
                      <a:schemeClr val="tx1">
                        <a:lumMod val="75000"/>
                        <a:lumOff val="25000"/>
                      </a:schemeClr>
                    </a:solidFill>
                  </a:rPr>
                  <a:t>Risk Management</a:t>
                </a:r>
              </a:p>
            </p:txBody>
          </p:sp>
          <p:sp>
            <p:nvSpPr>
              <p:cNvPr id="15" name="Rectangle 14">
                <a:extLst>
                  <a:ext uri="{FF2B5EF4-FFF2-40B4-BE49-F238E27FC236}">
                    <a16:creationId xmlns:a16="http://schemas.microsoft.com/office/drawing/2014/main" id="{47726A76-0DB4-4E65-A90C-347FA0C7EB40}"/>
                  </a:ext>
                </a:extLst>
              </p:cNvPr>
              <p:cNvSpPr/>
              <p:nvPr/>
            </p:nvSpPr>
            <p:spPr bwMode="auto">
              <a:xfrm>
                <a:off x="7512825" y="5115863"/>
                <a:ext cx="1241657" cy="87178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36000" numCol="1" rtlCol="0" anchor="t" anchorCtr="0" compatLnSpc="1">
                <a:prstTxWarp prst="textNoShape">
                  <a:avLst/>
                </a:prstTxWarp>
              </a:bodyPr>
              <a:lstStyle/>
              <a:p>
                <a:r>
                  <a:rPr lang="en-US" sz="800" b="1">
                    <a:solidFill>
                      <a:schemeClr val="tx1">
                        <a:lumMod val="75000"/>
                        <a:lumOff val="25000"/>
                      </a:schemeClr>
                    </a:solidFill>
                  </a:rPr>
                  <a:t>Workplace</a:t>
                </a:r>
              </a:p>
            </p:txBody>
          </p:sp>
          <p:sp>
            <p:nvSpPr>
              <p:cNvPr id="16" name="Rectangle 15">
                <a:extLst>
                  <a:ext uri="{FF2B5EF4-FFF2-40B4-BE49-F238E27FC236}">
                    <a16:creationId xmlns:a16="http://schemas.microsoft.com/office/drawing/2014/main" id="{81B03F6B-BBFE-4B57-9238-F690F46D53DC}"/>
                  </a:ext>
                </a:extLst>
              </p:cNvPr>
              <p:cNvSpPr/>
              <p:nvPr/>
            </p:nvSpPr>
            <p:spPr bwMode="auto">
              <a:xfrm>
                <a:off x="8816000" y="5115863"/>
                <a:ext cx="1241657" cy="87178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36000" bIns="36000" numCol="1" rtlCol="0" anchor="t" anchorCtr="0" compatLnSpc="1">
                <a:prstTxWarp prst="textNoShape">
                  <a:avLst/>
                </a:prstTxWarp>
              </a:bodyPr>
              <a:lstStyle/>
              <a:p>
                <a:r>
                  <a:rPr lang="en-US" sz="800" b="1">
                    <a:solidFill>
                      <a:schemeClr val="tx1">
                        <a:lumMod val="75000"/>
                        <a:lumOff val="25000"/>
                      </a:schemeClr>
                    </a:solidFill>
                  </a:rPr>
                  <a:t>IT4IT</a:t>
                </a:r>
              </a:p>
            </p:txBody>
          </p:sp>
        </p:grpSp>
        <p:sp>
          <p:nvSpPr>
            <p:cNvPr id="19" name="Rectangle 18">
              <a:extLst>
                <a:ext uri="{FF2B5EF4-FFF2-40B4-BE49-F238E27FC236}">
                  <a16:creationId xmlns:a16="http://schemas.microsoft.com/office/drawing/2014/main" id="{91BE787D-91DB-4CAD-BCA7-9A4B3AC1F4EB}"/>
                </a:ext>
              </a:extLst>
            </p:cNvPr>
            <p:cNvSpPr/>
            <p:nvPr/>
          </p:nvSpPr>
          <p:spPr bwMode="auto">
            <a:xfrm>
              <a:off x="2300130" y="2927578"/>
              <a:ext cx="7763033" cy="4648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36000" bIns="36000" numCol="1" rtlCol="0" anchor="t" anchorCtr="0" compatLnSpc="1">
              <a:prstTxWarp prst="textNoShape">
                <a:avLst/>
              </a:prstTxWarp>
            </a:bodyPr>
            <a:lstStyle/>
            <a:p>
              <a:r>
                <a:rPr lang="en-US" sz="800" b="1">
                  <a:solidFill>
                    <a:schemeClr val="tx1">
                      <a:lumMod val="75000"/>
                      <a:lumOff val="25000"/>
                    </a:schemeClr>
                  </a:solidFill>
                </a:rPr>
                <a:t>Data and AI</a:t>
              </a:r>
            </a:p>
          </p:txBody>
        </p:sp>
        <p:grpSp>
          <p:nvGrpSpPr>
            <p:cNvPr id="112" name="Group 111">
              <a:extLst>
                <a:ext uri="{FF2B5EF4-FFF2-40B4-BE49-F238E27FC236}">
                  <a16:creationId xmlns:a16="http://schemas.microsoft.com/office/drawing/2014/main" id="{26E39A2C-4C40-480B-BB84-4425A64B273C}"/>
                </a:ext>
              </a:extLst>
            </p:cNvPr>
            <p:cNvGrpSpPr/>
            <p:nvPr userDrawn="1"/>
          </p:nvGrpSpPr>
          <p:grpSpPr>
            <a:xfrm>
              <a:off x="2300132" y="3444758"/>
              <a:ext cx="7757525" cy="1621681"/>
              <a:chOff x="2300132" y="3437144"/>
              <a:chExt cx="7757525" cy="1621681"/>
            </a:xfrm>
          </p:grpSpPr>
          <p:sp>
            <p:nvSpPr>
              <p:cNvPr id="24" name="Rectangle 23">
                <a:extLst>
                  <a:ext uri="{FF2B5EF4-FFF2-40B4-BE49-F238E27FC236}">
                    <a16:creationId xmlns:a16="http://schemas.microsoft.com/office/drawing/2014/main" id="{D70A50DC-55A5-4338-A977-059A04D27165}"/>
                  </a:ext>
                </a:extLst>
              </p:cNvPr>
              <p:cNvSpPr/>
              <p:nvPr/>
            </p:nvSpPr>
            <p:spPr bwMode="auto">
              <a:xfrm>
                <a:off x="8816001" y="3437144"/>
                <a:ext cx="1241656" cy="16216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none" lIns="0" tIns="18000" rIns="0" bIns="0" numCol="1" rtlCol="0" anchor="t" anchorCtr="0" compatLnSpc="1">
                <a:prstTxWarp prst="textNoShape">
                  <a:avLst/>
                </a:prstTxWarp>
              </a:bodyPr>
              <a:lstStyle/>
              <a:p>
                <a:r>
                  <a:rPr lang="en-US" sz="800" b="1">
                    <a:solidFill>
                      <a:schemeClr val="tx1">
                        <a:lumMod val="75000"/>
                        <a:lumOff val="25000"/>
                      </a:schemeClr>
                    </a:solidFill>
                  </a:rPr>
                  <a:t>Communication</a:t>
                </a:r>
                <a:r>
                  <a:rPr lang="en-US" sz="600" b="1">
                    <a:solidFill>
                      <a:schemeClr val="tx1">
                        <a:lumMod val="75000"/>
                        <a:lumOff val="25000"/>
                      </a:schemeClr>
                    </a:solidFill>
                  </a:rPr>
                  <a:t> &amp; </a:t>
                </a:r>
                <a:r>
                  <a:rPr lang="en-US" sz="800" b="1">
                    <a:solidFill>
                      <a:schemeClr val="tx1">
                        <a:lumMod val="75000"/>
                        <a:lumOff val="25000"/>
                      </a:schemeClr>
                    </a:solidFill>
                  </a:rPr>
                  <a:t>Content</a:t>
                </a:r>
              </a:p>
            </p:txBody>
          </p:sp>
          <p:sp>
            <p:nvSpPr>
              <p:cNvPr id="25" name="Rectangle 24">
                <a:extLst>
                  <a:ext uri="{FF2B5EF4-FFF2-40B4-BE49-F238E27FC236}">
                    <a16:creationId xmlns:a16="http://schemas.microsoft.com/office/drawing/2014/main" id="{1D2C0BC4-36D6-486E-842D-BCCB5435398E}"/>
                  </a:ext>
                </a:extLst>
              </p:cNvPr>
              <p:cNvSpPr/>
              <p:nvPr/>
            </p:nvSpPr>
            <p:spPr bwMode="auto">
              <a:xfrm>
                <a:off x="7512826" y="3437144"/>
                <a:ext cx="1241656" cy="16216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Billing and Payment</a:t>
                </a:r>
              </a:p>
            </p:txBody>
          </p:sp>
          <p:sp>
            <p:nvSpPr>
              <p:cNvPr id="26" name="Rectangle 25">
                <a:extLst>
                  <a:ext uri="{FF2B5EF4-FFF2-40B4-BE49-F238E27FC236}">
                    <a16:creationId xmlns:a16="http://schemas.microsoft.com/office/drawing/2014/main" id="{A47A2757-6B7F-4B4A-9C7E-1408BA198A98}"/>
                  </a:ext>
                </a:extLst>
              </p:cNvPr>
              <p:cNvSpPr/>
              <p:nvPr/>
            </p:nvSpPr>
            <p:spPr bwMode="auto">
              <a:xfrm>
                <a:off x="3603305" y="3437144"/>
                <a:ext cx="1241656" cy="16216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Policy Admin</a:t>
                </a:r>
              </a:p>
            </p:txBody>
          </p:sp>
          <p:sp>
            <p:nvSpPr>
              <p:cNvPr id="27" name="Rectangle 26">
                <a:extLst>
                  <a:ext uri="{FF2B5EF4-FFF2-40B4-BE49-F238E27FC236}">
                    <a16:creationId xmlns:a16="http://schemas.microsoft.com/office/drawing/2014/main" id="{581C7FD4-0442-4D37-B718-1EF28FDB732F}"/>
                  </a:ext>
                </a:extLst>
              </p:cNvPr>
              <p:cNvSpPr/>
              <p:nvPr/>
            </p:nvSpPr>
            <p:spPr bwMode="auto">
              <a:xfrm>
                <a:off x="4906479" y="3437144"/>
                <a:ext cx="1241656" cy="16216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Claims</a:t>
                </a:r>
              </a:p>
            </p:txBody>
          </p:sp>
          <p:sp>
            <p:nvSpPr>
              <p:cNvPr id="28" name="Rectangle 27">
                <a:extLst>
                  <a:ext uri="{FF2B5EF4-FFF2-40B4-BE49-F238E27FC236}">
                    <a16:creationId xmlns:a16="http://schemas.microsoft.com/office/drawing/2014/main" id="{92179738-DD65-459D-8CA2-0FABD9888B30}"/>
                  </a:ext>
                </a:extLst>
              </p:cNvPr>
              <p:cNvSpPr/>
              <p:nvPr/>
            </p:nvSpPr>
            <p:spPr bwMode="auto">
              <a:xfrm>
                <a:off x="6209653" y="3437144"/>
                <a:ext cx="1241656" cy="16216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Distribution Support</a:t>
                </a:r>
              </a:p>
            </p:txBody>
          </p:sp>
          <p:sp>
            <p:nvSpPr>
              <p:cNvPr id="29" name="Rectangle 28">
                <a:extLst>
                  <a:ext uri="{FF2B5EF4-FFF2-40B4-BE49-F238E27FC236}">
                    <a16:creationId xmlns:a16="http://schemas.microsoft.com/office/drawing/2014/main" id="{2907D49B-00B1-4418-BBB4-11896E5F7A9D}"/>
                  </a:ext>
                </a:extLst>
              </p:cNvPr>
              <p:cNvSpPr/>
              <p:nvPr/>
            </p:nvSpPr>
            <p:spPr bwMode="auto">
              <a:xfrm>
                <a:off x="2300132" y="3437144"/>
                <a:ext cx="1241656" cy="16216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New Business</a:t>
                </a:r>
              </a:p>
            </p:txBody>
          </p:sp>
        </p:grpSp>
        <p:sp>
          <p:nvSpPr>
            <p:cNvPr id="30" name="Rectangle 29">
              <a:extLst>
                <a:ext uri="{FF2B5EF4-FFF2-40B4-BE49-F238E27FC236}">
                  <a16:creationId xmlns:a16="http://schemas.microsoft.com/office/drawing/2014/main" id="{EE95A977-3CD2-4696-9E6A-3F2A15C7BE7A}"/>
                </a:ext>
              </a:extLst>
            </p:cNvPr>
            <p:cNvSpPr/>
            <p:nvPr/>
          </p:nvSpPr>
          <p:spPr bwMode="auto">
            <a:xfrm>
              <a:off x="2300132" y="2410398"/>
              <a:ext cx="7757524" cy="4648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36000" bIns="36000" numCol="1" rtlCol="0" anchor="t" anchorCtr="0" compatLnSpc="1">
              <a:prstTxWarp prst="textNoShape">
                <a:avLst/>
              </a:prstTxWarp>
            </a:bodyPr>
            <a:lstStyle/>
            <a:p>
              <a:r>
                <a:rPr lang="en-US" sz="800" b="1">
                  <a:solidFill>
                    <a:schemeClr val="tx1">
                      <a:lumMod val="75000"/>
                      <a:lumOff val="25000"/>
                    </a:schemeClr>
                  </a:solidFill>
                </a:rPr>
                <a:t>Integration / </a:t>
              </a:r>
            </a:p>
            <a:p>
              <a:r>
                <a:rPr lang="en-US" sz="800" b="1">
                  <a:solidFill>
                    <a:schemeClr val="tx1">
                      <a:lumMod val="75000"/>
                      <a:lumOff val="25000"/>
                    </a:schemeClr>
                  </a:solidFill>
                </a:rPr>
                <a:t>Process</a:t>
              </a:r>
            </a:p>
          </p:txBody>
        </p:sp>
        <p:grpSp>
          <p:nvGrpSpPr>
            <p:cNvPr id="113" name="Group 112">
              <a:extLst>
                <a:ext uri="{FF2B5EF4-FFF2-40B4-BE49-F238E27FC236}">
                  <a16:creationId xmlns:a16="http://schemas.microsoft.com/office/drawing/2014/main" id="{C24FDAE2-6C41-4EFA-BE9A-A2C1C9485159}"/>
                </a:ext>
              </a:extLst>
            </p:cNvPr>
            <p:cNvGrpSpPr/>
            <p:nvPr userDrawn="1"/>
          </p:nvGrpSpPr>
          <p:grpSpPr>
            <a:xfrm>
              <a:off x="2300131" y="716437"/>
              <a:ext cx="7757525" cy="1641606"/>
              <a:chOff x="2300131" y="716437"/>
              <a:chExt cx="7757525" cy="1641606"/>
            </a:xfrm>
          </p:grpSpPr>
          <p:sp>
            <p:nvSpPr>
              <p:cNvPr id="31" name="Rectangle 30">
                <a:extLst>
                  <a:ext uri="{FF2B5EF4-FFF2-40B4-BE49-F238E27FC236}">
                    <a16:creationId xmlns:a16="http://schemas.microsoft.com/office/drawing/2014/main" id="{DE6560B5-D973-4EBB-9E16-6BD806C9BCCD}"/>
                  </a:ext>
                </a:extLst>
              </p:cNvPr>
              <p:cNvSpPr/>
              <p:nvPr/>
            </p:nvSpPr>
            <p:spPr bwMode="auto">
              <a:xfrm>
                <a:off x="8816000" y="716437"/>
                <a:ext cx="1241656" cy="164160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Provider</a:t>
                </a:r>
              </a:p>
            </p:txBody>
          </p:sp>
          <p:sp>
            <p:nvSpPr>
              <p:cNvPr id="32" name="Rectangle 31">
                <a:extLst>
                  <a:ext uri="{FF2B5EF4-FFF2-40B4-BE49-F238E27FC236}">
                    <a16:creationId xmlns:a16="http://schemas.microsoft.com/office/drawing/2014/main" id="{9E68D316-9767-4998-B6D6-1DA84A4BFC39}"/>
                  </a:ext>
                </a:extLst>
              </p:cNvPr>
              <p:cNvSpPr/>
              <p:nvPr/>
            </p:nvSpPr>
            <p:spPr bwMode="auto">
              <a:xfrm>
                <a:off x="7512825" y="716437"/>
                <a:ext cx="1241656" cy="164160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Marketing</a:t>
                </a:r>
              </a:p>
            </p:txBody>
          </p:sp>
          <p:sp>
            <p:nvSpPr>
              <p:cNvPr id="33" name="Rectangle 32">
                <a:extLst>
                  <a:ext uri="{FF2B5EF4-FFF2-40B4-BE49-F238E27FC236}">
                    <a16:creationId xmlns:a16="http://schemas.microsoft.com/office/drawing/2014/main" id="{285B1EF4-BCDB-4943-BF07-1204F06E736A}"/>
                  </a:ext>
                </a:extLst>
              </p:cNvPr>
              <p:cNvSpPr/>
              <p:nvPr/>
            </p:nvSpPr>
            <p:spPr bwMode="auto">
              <a:xfrm>
                <a:off x="3603304" y="716437"/>
                <a:ext cx="1241656" cy="164160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Agency</a:t>
                </a:r>
              </a:p>
            </p:txBody>
          </p:sp>
          <p:sp>
            <p:nvSpPr>
              <p:cNvPr id="34" name="Rectangle 33">
                <a:extLst>
                  <a:ext uri="{FF2B5EF4-FFF2-40B4-BE49-F238E27FC236}">
                    <a16:creationId xmlns:a16="http://schemas.microsoft.com/office/drawing/2014/main" id="{7925F5BC-B159-4519-AE5D-E7540EA9278F}"/>
                  </a:ext>
                </a:extLst>
              </p:cNvPr>
              <p:cNvSpPr/>
              <p:nvPr/>
            </p:nvSpPr>
            <p:spPr bwMode="auto">
              <a:xfrm>
                <a:off x="4906478" y="716437"/>
                <a:ext cx="1241656" cy="164160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Partnership Distribution</a:t>
                </a:r>
              </a:p>
            </p:txBody>
          </p:sp>
          <p:sp>
            <p:nvSpPr>
              <p:cNvPr id="35" name="Rectangle 34">
                <a:extLst>
                  <a:ext uri="{FF2B5EF4-FFF2-40B4-BE49-F238E27FC236}">
                    <a16:creationId xmlns:a16="http://schemas.microsoft.com/office/drawing/2014/main" id="{D0432148-B906-4BBC-B94B-EB913193CF6D}"/>
                  </a:ext>
                </a:extLst>
              </p:cNvPr>
              <p:cNvSpPr/>
              <p:nvPr/>
            </p:nvSpPr>
            <p:spPr bwMode="auto">
              <a:xfrm>
                <a:off x="6209652" y="716437"/>
                <a:ext cx="1241656" cy="164160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Contact Centre</a:t>
                </a:r>
              </a:p>
            </p:txBody>
          </p:sp>
          <p:sp>
            <p:nvSpPr>
              <p:cNvPr id="36" name="Rectangle 35">
                <a:extLst>
                  <a:ext uri="{FF2B5EF4-FFF2-40B4-BE49-F238E27FC236}">
                    <a16:creationId xmlns:a16="http://schemas.microsoft.com/office/drawing/2014/main" id="{0B24DD80-2299-498F-BBC2-BCB0EADA65B2}"/>
                  </a:ext>
                </a:extLst>
              </p:cNvPr>
              <p:cNvSpPr/>
              <p:nvPr/>
            </p:nvSpPr>
            <p:spPr bwMode="auto">
              <a:xfrm>
                <a:off x="2300131" y="716437"/>
                <a:ext cx="1241656" cy="164160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8000" tIns="18000" rIns="0" bIns="0" numCol="1" rtlCol="0" anchor="t" anchorCtr="0" compatLnSpc="1">
                <a:prstTxWarp prst="textNoShape">
                  <a:avLst/>
                </a:prstTxWarp>
              </a:bodyPr>
              <a:lstStyle/>
              <a:p>
                <a:r>
                  <a:rPr lang="en-US" sz="800" b="1">
                    <a:solidFill>
                      <a:schemeClr val="tx1">
                        <a:lumMod val="75000"/>
                        <a:lumOff val="25000"/>
                      </a:schemeClr>
                    </a:solidFill>
                  </a:rPr>
                  <a:t>Customer</a:t>
                </a:r>
              </a:p>
            </p:txBody>
          </p:sp>
        </p:grpSp>
      </p:grpSp>
      <p:sp>
        <p:nvSpPr>
          <p:cNvPr id="17" name="Text Placeholder 16">
            <a:extLst>
              <a:ext uri="{FF2B5EF4-FFF2-40B4-BE49-F238E27FC236}">
                <a16:creationId xmlns:a16="http://schemas.microsoft.com/office/drawing/2014/main" id="{1C887C4D-4D8E-5941-88BE-BECE9C947E6F}"/>
              </a:ext>
            </a:extLst>
          </p:cNvPr>
          <p:cNvSpPr>
            <a:spLocks noGrp="1"/>
          </p:cNvSpPr>
          <p:nvPr userDrawn="1">
            <p:ph type="body" sz="quarter" idx="11" hasCustomPrompt="1"/>
          </p:nvPr>
        </p:nvSpPr>
        <p:spPr>
          <a:xfrm>
            <a:off x="457198" y="266217"/>
            <a:ext cx="10897566" cy="316145"/>
          </a:xfrm>
          <a:prstGeom prst="rect">
            <a:avLst/>
          </a:prstGeom>
        </p:spPr>
        <p:txBody>
          <a:bodyPr lIns="0" tIns="0" rIns="0" bIns="0" anchor="t"/>
          <a:lstStyle>
            <a:lvl1pPr>
              <a:lnSpc>
                <a:spcPts val="2400"/>
              </a:lnSpc>
              <a:defRPr sz="2000">
                <a:solidFill>
                  <a:srgbClr val="29BA74"/>
                </a:solidFill>
              </a:defRPr>
            </a:lvl1pPr>
          </a:lstStyle>
          <a:p>
            <a:pPr lvl="0"/>
            <a:r>
              <a:rPr lang="en-US"/>
              <a:t>Content Title</a:t>
            </a:r>
          </a:p>
        </p:txBody>
      </p:sp>
      <p:sp>
        <p:nvSpPr>
          <p:cNvPr id="37" name="Rectangle: Rounded Corners 36">
            <a:extLst>
              <a:ext uri="{FF2B5EF4-FFF2-40B4-BE49-F238E27FC236}">
                <a16:creationId xmlns:a16="http://schemas.microsoft.com/office/drawing/2014/main" id="{246D3A22-4972-4ADC-A174-CD9E377D7F2C}"/>
              </a:ext>
            </a:extLst>
          </p:cNvPr>
          <p:cNvSpPr/>
          <p:nvPr userDrawn="1"/>
        </p:nvSpPr>
        <p:spPr>
          <a:xfrm>
            <a:off x="7272107" y="903817"/>
            <a:ext cx="1143095" cy="54593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Healthcare</a:t>
            </a:r>
          </a:p>
          <a:p>
            <a:r>
              <a:rPr lang="en-US" sz="600">
                <a:solidFill>
                  <a:schemeClr val="tx1">
                    <a:lumMod val="65000"/>
                    <a:lumOff val="35000"/>
                  </a:schemeClr>
                </a:solidFill>
              </a:rPr>
              <a:t>Provider</a:t>
            </a:r>
          </a:p>
          <a:p>
            <a:r>
              <a:rPr lang="en-US" sz="600">
                <a:solidFill>
                  <a:schemeClr val="tx1">
                    <a:lumMod val="65000"/>
                    <a:lumOff val="35000"/>
                  </a:schemeClr>
                </a:solidFill>
              </a:rPr>
              <a:t>Mgmt.</a:t>
            </a:r>
          </a:p>
        </p:txBody>
      </p:sp>
      <p:sp>
        <p:nvSpPr>
          <p:cNvPr id="38" name="Rectangle: Rounded Corners 37">
            <a:extLst>
              <a:ext uri="{FF2B5EF4-FFF2-40B4-BE49-F238E27FC236}">
                <a16:creationId xmlns:a16="http://schemas.microsoft.com/office/drawing/2014/main" id="{5656C8E7-CB87-44B8-9476-618151061582}"/>
              </a:ext>
            </a:extLst>
          </p:cNvPr>
          <p:cNvSpPr/>
          <p:nvPr userDrawn="1"/>
        </p:nvSpPr>
        <p:spPr>
          <a:xfrm>
            <a:off x="7272107" y="1471653"/>
            <a:ext cx="1143095" cy="543618"/>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Other</a:t>
            </a:r>
          </a:p>
          <a:p>
            <a:r>
              <a:rPr lang="en-US" sz="600">
                <a:solidFill>
                  <a:schemeClr val="tx1">
                    <a:lumMod val="65000"/>
                    <a:lumOff val="35000"/>
                  </a:schemeClr>
                </a:solidFill>
              </a:rPr>
              <a:t>Provider</a:t>
            </a:r>
          </a:p>
          <a:p>
            <a:r>
              <a:rPr lang="en-US" sz="600">
                <a:solidFill>
                  <a:schemeClr val="tx1">
                    <a:lumMod val="65000"/>
                    <a:lumOff val="35000"/>
                  </a:schemeClr>
                </a:solidFill>
              </a:rPr>
              <a:t>Mgmt.</a:t>
            </a:r>
          </a:p>
        </p:txBody>
      </p:sp>
      <p:sp>
        <p:nvSpPr>
          <p:cNvPr id="39" name="Rectangle: Rounded Corners 38">
            <a:extLst>
              <a:ext uri="{FF2B5EF4-FFF2-40B4-BE49-F238E27FC236}">
                <a16:creationId xmlns:a16="http://schemas.microsoft.com/office/drawing/2014/main" id="{2AF7AABC-4AC1-48A2-9752-1B90E62FE737}"/>
              </a:ext>
            </a:extLst>
          </p:cNvPr>
          <p:cNvSpPr/>
          <p:nvPr userDrawn="1"/>
        </p:nvSpPr>
        <p:spPr>
          <a:xfrm>
            <a:off x="5970886" y="903817"/>
            <a:ext cx="1143095" cy="54593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Corporate</a:t>
            </a:r>
          </a:p>
          <a:p>
            <a:r>
              <a:rPr lang="en-US" sz="600">
                <a:solidFill>
                  <a:schemeClr val="tx1">
                    <a:lumMod val="65000"/>
                    <a:lumOff val="35000"/>
                  </a:schemeClr>
                </a:solidFill>
              </a:rPr>
              <a:t>Website</a:t>
            </a:r>
          </a:p>
        </p:txBody>
      </p:sp>
      <p:sp>
        <p:nvSpPr>
          <p:cNvPr id="42" name="Rectangle: Rounded Corners 41">
            <a:extLst>
              <a:ext uri="{FF2B5EF4-FFF2-40B4-BE49-F238E27FC236}">
                <a16:creationId xmlns:a16="http://schemas.microsoft.com/office/drawing/2014/main" id="{A68D61D7-46FA-4279-8384-6E8EC463AC00}"/>
              </a:ext>
            </a:extLst>
          </p:cNvPr>
          <p:cNvSpPr/>
          <p:nvPr userDrawn="1"/>
        </p:nvSpPr>
        <p:spPr>
          <a:xfrm>
            <a:off x="3363475" y="903817"/>
            <a:ext cx="1143095" cy="54593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Sales</a:t>
            </a:r>
          </a:p>
        </p:txBody>
      </p:sp>
      <p:sp>
        <p:nvSpPr>
          <p:cNvPr id="44" name="Rectangle: Rounded Corners 43">
            <a:extLst>
              <a:ext uri="{FF2B5EF4-FFF2-40B4-BE49-F238E27FC236}">
                <a16:creationId xmlns:a16="http://schemas.microsoft.com/office/drawing/2014/main" id="{C8467273-AB1C-4021-B97E-BF6AAA34CC9E}"/>
              </a:ext>
            </a:extLst>
          </p:cNvPr>
          <p:cNvSpPr/>
          <p:nvPr userDrawn="1"/>
        </p:nvSpPr>
        <p:spPr>
          <a:xfrm>
            <a:off x="3363475" y="1471332"/>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Lead </a:t>
            </a:r>
          </a:p>
          <a:p>
            <a:r>
              <a:rPr lang="en-US" sz="600">
                <a:solidFill>
                  <a:schemeClr val="tx1">
                    <a:lumMod val="65000"/>
                    <a:lumOff val="35000"/>
                  </a:schemeClr>
                </a:solidFill>
              </a:rPr>
              <a:t>&amp; Activity</a:t>
            </a:r>
          </a:p>
        </p:txBody>
      </p:sp>
      <p:sp>
        <p:nvSpPr>
          <p:cNvPr id="45" name="Rectangle: Rounded Corners 44">
            <a:extLst>
              <a:ext uri="{FF2B5EF4-FFF2-40B4-BE49-F238E27FC236}">
                <a16:creationId xmlns:a16="http://schemas.microsoft.com/office/drawing/2014/main" id="{17F3526F-26AF-4FB5-A4C4-B1F6340ED0DE}"/>
              </a:ext>
            </a:extLst>
          </p:cNvPr>
          <p:cNvSpPr/>
          <p:nvPr userDrawn="1"/>
        </p:nvSpPr>
        <p:spPr>
          <a:xfrm>
            <a:off x="4666054" y="903817"/>
            <a:ext cx="1143095" cy="54593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Customer</a:t>
            </a:r>
          </a:p>
          <a:p>
            <a:r>
              <a:rPr lang="en-US" sz="600">
                <a:solidFill>
                  <a:schemeClr val="tx1">
                    <a:lumMod val="65000"/>
                    <a:lumOff val="35000"/>
                  </a:schemeClr>
                </a:solidFill>
              </a:rPr>
              <a:t>Servicing</a:t>
            </a:r>
          </a:p>
        </p:txBody>
      </p:sp>
      <p:sp>
        <p:nvSpPr>
          <p:cNvPr id="46" name="Rectangle: Rounded Corners 45">
            <a:extLst>
              <a:ext uri="{FF2B5EF4-FFF2-40B4-BE49-F238E27FC236}">
                <a16:creationId xmlns:a16="http://schemas.microsoft.com/office/drawing/2014/main" id="{26FF7FC0-2EC3-49FE-882F-F0E5095AFE29}"/>
              </a:ext>
            </a:extLst>
          </p:cNvPr>
          <p:cNvSpPr/>
          <p:nvPr userDrawn="1"/>
        </p:nvSpPr>
        <p:spPr>
          <a:xfrm>
            <a:off x="4666054" y="1471332"/>
            <a:ext cx="1143095" cy="54393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Telephony</a:t>
            </a:r>
          </a:p>
        </p:txBody>
      </p:sp>
      <p:sp>
        <p:nvSpPr>
          <p:cNvPr id="47" name="Rectangle: Rounded Corners 46">
            <a:extLst>
              <a:ext uri="{FF2B5EF4-FFF2-40B4-BE49-F238E27FC236}">
                <a16:creationId xmlns:a16="http://schemas.microsoft.com/office/drawing/2014/main" id="{611A6A3C-8C69-47E5-BB93-D46B87F184DD}"/>
              </a:ext>
            </a:extLst>
          </p:cNvPr>
          <p:cNvSpPr/>
          <p:nvPr userDrawn="1"/>
        </p:nvSpPr>
        <p:spPr>
          <a:xfrm>
            <a:off x="766014" y="903817"/>
            <a:ext cx="1143095" cy="830178"/>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Omni-Channel</a:t>
            </a:r>
          </a:p>
          <a:p>
            <a:r>
              <a:rPr lang="en-US" sz="600">
                <a:solidFill>
                  <a:schemeClr val="tx1">
                    <a:lumMod val="65000"/>
                    <a:lumOff val="35000"/>
                  </a:schemeClr>
                </a:solidFill>
              </a:rPr>
              <a:t>Customer </a:t>
            </a:r>
          </a:p>
          <a:p>
            <a:r>
              <a:rPr lang="en-US" sz="600">
                <a:solidFill>
                  <a:schemeClr val="tx1">
                    <a:lumMod val="65000"/>
                    <a:lumOff val="35000"/>
                  </a:schemeClr>
                </a:solidFill>
              </a:rPr>
              <a:t>Digital</a:t>
            </a:r>
          </a:p>
        </p:txBody>
      </p:sp>
      <p:sp>
        <p:nvSpPr>
          <p:cNvPr id="49" name="Rectangle: Rounded Corners 48">
            <a:extLst>
              <a:ext uri="{FF2B5EF4-FFF2-40B4-BE49-F238E27FC236}">
                <a16:creationId xmlns:a16="http://schemas.microsoft.com/office/drawing/2014/main" id="{1FBD9C3D-36D7-448F-A4B3-001A1652C8A7}"/>
              </a:ext>
            </a:extLst>
          </p:cNvPr>
          <p:cNvSpPr/>
          <p:nvPr userDrawn="1"/>
        </p:nvSpPr>
        <p:spPr>
          <a:xfrm>
            <a:off x="2056295" y="1472828"/>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Lead </a:t>
            </a:r>
          </a:p>
          <a:p>
            <a:r>
              <a:rPr lang="en-US" sz="600">
                <a:solidFill>
                  <a:schemeClr val="tx1">
                    <a:lumMod val="65000"/>
                    <a:lumOff val="35000"/>
                  </a:schemeClr>
                </a:solidFill>
              </a:rPr>
              <a:t>&amp; Activity</a:t>
            </a:r>
          </a:p>
        </p:txBody>
      </p:sp>
      <p:sp>
        <p:nvSpPr>
          <p:cNvPr id="50" name="Rectangle: Rounded Corners 49">
            <a:extLst>
              <a:ext uri="{FF2B5EF4-FFF2-40B4-BE49-F238E27FC236}">
                <a16:creationId xmlns:a16="http://schemas.microsoft.com/office/drawing/2014/main" id="{CA6B7940-D5DD-407D-9304-093A212519AB}"/>
              </a:ext>
            </a:extLst>
          </p:cNvPr>
          <p:cNvSpPr/>
          <p:nvPr userDrawn="1"/>
        </p:nvSpPr>
        <p:spPr>
          <a:xfrm>
            <a:off x="2057124" y="6134587"/>
            <a:ext cx="244936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Public</a:t>
            </a:r>
          </a:p>
          <a:p>
            <a:r>
              <a:rPr lang="en-US" sz="600">
                <a:solidFill>
                  <a:schemeClr val="tx1">
                    <a:lumMod val="65000"/>
                    <a:lumOff val="35000"/>
                  </a:schemeClr>
                </a:solidFill>
              </a:rPr>
              <a:t>Cloud</a:t>
            </a:r>
          </a:p>
        </p:txBody>
      </p:sp>
      <p:sp>
        <p:nvSpPr>
          <p:cNvPr id="52" name="Rectangle: Rounded Corners 51">
            <a:extLst>
              <a:ext uri="{FF2B5EF4-FFF2-40B4-BE49-F238E27FC236}">
                <a16:creationId xmlns:a16="http://schemas.microsoft.com/office/drawing/2014/main" id="{CC62E456-6DDA-4585-BF83-2F8046D292ED}"/>
              </a:ext>
            </a:extLst>
          </p:cNvPr>
          <p:cNvSpPr/>
          <p:nvPr userDrawn="1"/>
        </p:nvSpPr>
        <p:spPr>
          <a:xfrm>
            <a:off x="2056295" y="2516727"/>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API</a:t>
            </a:r>
          </a:p>
        </p:txBody>
      </p:sp>
      <p:sp>
        <p:nvSpPr>
          <p:cNvPr id="53" name="Rectangle: Rounded Corners 52">
            <a:extLst>
              <a:ext uri="{FF2B5EF4-FFF2-40B4-BE49-F238E27FC236}">
                <a16:creationId xmlns:a16="http://schemas.microsoft.com/office/drawing/2014/main" id="{84D09440-536F-4788-9A52-2C5EC3CC5BA9}"/>
              </a:ext>
            </a:extLst>
          </p:cNvPr>
          <p:cNvSpPr/>
          <p:nvPr userDrawn="1"/>
        </p:nvSpPr>
        <p:spPr>
          <a:xfrm>
            <a:off x="3360248" y="2516727"/>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Business </a:t>
            </a:r>
          </a:p>
          <a:p>
            <a:r>
              <a:rPr lang="en-US" sz="600">
                <a:solidFill>
                  <a:schemeClr val="tx1">
                    <a:lumMod val="65000"/>
                    <a:lumOff val="35000"/>
                  </a:schemeClr>
                </a:solidFill>
              </a:rPr>
              <a:t>Process</a:t>
            </a:r>
          </a:p>
        </p:txBody>
      </p:sp>
      <p:sp>
        <p:nvSpPr>
          <p:cNvPr id="54" name="Rectangle: Rounded Corners 53">
            <a:extLst>
              <a:ext uri="{FF2B5EF4-FFF2-40B4-BE49-F238E27FC236}">
                <a16:creationId xmlns:a16="http://schemas.microsoft.com/office/drawing/2014/main" id="{F29D99A0-9E3B-4726-A892-ECF82D8258FC}"/>
              </a:ext>
            </a:extLst>
          </p:cNvPr>
          <p:cNvSpPr/>
          <p:nvPr userDrawn="1"/>
        </p:nvSpPr>
        <p:spPr>
          <a:xfrm>
            <a:off x="4664201" y="2516727"/>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Robotics</a:t>
            </a:r>
          </a:p>
          <a:p>
            <a:r>
              <a:rPr lang="en-US" sz="600">
                <a:solidFill>
                  <a:schemeClr val="tx1">
                    <a:lumMod val="65000"/>
                    <a:lumOff val="35000"/>
                  </a:schemeClr>
                </a:solidFill>
              </a:rPr>
              <a:t>Process</a:t>
            </a:r>
          </a:p>
          <a:p>
            <a:r>
              <a:rPr lang="en-US" sz="600">
                <a:solidFill>
                  <a:schemeClr val="tx1">
                    <a:lumMod val="65000"/>
                    <a:lumOff val="35000"/>
                  </a:schemeClr>
                </a:solidFill>
              </a:rPr>
              <a:t>Automation</a:t>
            </a:r>
          </a:p>
        </p:txBody>
      </p:sp>
      <p:sp>
        <p:nvSpPr>
          <p:cNvPr id="55" name="Rectangle: Rounded Corners 54">
            <a:extLst>
              <a:ext uri="{FF2B5EF4-FFF2-40B4-BE49-F238E27FC236}">
                <a16:creationId xmlns:a16="http://schemas.microsoft.com/office/drawing/2014/main" id="{0D5F7184-6FD5-4E1D-896A-4364E39461C4}"/>
              </a:ext>
            </a:extLst>
          </p:cNvPr>
          <p:cNvSpPr/>
          <p:nvPr userDrawn="1"/>
        </p:nvSpPr>
        <p:spPr>
          <a:xfrm>
            <a:off x="2056295" y="3041455"/>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Customer</a:t>
            </a:r>
          </a:p>
          <a:p>
            <a:r>
              <a:rPr lang="en-US" sz="600">
                <a:solidFill>
                  <a:schemeClr val="tx1">
                    <a:lumMod val="65000"/>
                    <a:lumOff val="35000"/>
                  </a:schemeClr>
                </a:solidFill>
              </a:rPr>
              <a:t>Data</a:t>
            </a:r>
          </a:p>
        </p:txBody>
      </p:sp>
      <p:sp>
        <p:nvSpPr>
          <p:cNvPr id="57" name="Rectangle: Rounded Corners 56">
            <a:extLst>
              <a:ext uri="{FF2B5EF4-FFF2-40B4-BE49-F238E27FC236}">
                <a16:creationId xmlns:a16="http://schemas.microsoft.com/office/drawing/2014/main" id="{C30AA7CD-EA9F-4CB8-8045-346CCD8F5F99}"/>
              </a:ext>
            </a:extLst>
          </p:cNvPr>
          <p:cNvSpPr/>
          <p:nvPr userDrawn="1"/>
        </p:nvSpPr>
        <p:spPr>
          <a:xfrm>
            <a:off x="766014" y="1755571"/>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Health &amp;</a:t>
            </a:r>
          </a:p>
          <a:p>
            <a:r>
              <a:rPr lang="en-US" sz="600">
                <a:solidFill>
                  <a:schemeClr val="tx1">
                    <a:lumMod val="65000"/>
                    <a:lumOff val="35000"/>
                  </a:schemeClr>
                </a:solidFill>
              </a:rPr>
              <a:t>Wellness</a:t>
            </a:r>
          </a:p>
        </p:txBody>
      </p:sp>
      <p:sp>
        <p:nvSpPr>
          <p:cNvPr id="60" name="Rectangle: Rounded Corners 59">
            <a:extLst>
              <a:ext uri="{FF2B5EF4-FFF2-40B4-BE49-F238E27FC236}">
                <a16:creationId xmlns:a16="http://schemas.microsoft.com/office/drawing/2014/main" id="{63E7FF01-0A63-4568-9D6C-5CD6301422E7}"/>
              </a:ext>
            </a:extLst>
          </p:cNvPr>
          <p:cNvSpPr/>
          <p:nvPr userDrawn="1"/>
        </p:nvSpPr>
        <p:spPr>
          <a:xfrm>
            <a:off x="5970886" y="1471653"/>
            <a:ext cx="1143095" cy="543618"/>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Campaign</a:t>
            </a:r>
          </a:p>
          <a:p>
            <a:r>
              <a:rPr lang="en-US" sz="600">
                <a:solidFill>
                  <a:schemeClr val="tx1">
                    <a:lumMod val="65000"/>
                    <a:lumOff val="35000"/>
                  </a:schemeClr>
                </a:solidFill>
              </a:rPr>
              <a:t>Mgmt.</a:t>
            </a:r>
          </a:p>
        </p:txBody>
      </p:sp>
      <p:sp>
        <p:nvSpPr>
          <p:cNvPr id="63" name="Rectangle: Rounded Corners 62">
            <a:extLst>
              <a:ext uri="{FF2B5EF4-FFF2-40B4-BE49-F238E27FC236}">
                <a16:creationId xmlns:a16="http://schemas.microsoft.com/office/drawing/2014/main" id="{0E4AC6A2-C5A2-45C6-A7B0-9038CE280EDE}"/>
              </a:ext>
            </a:extLst>
          </p:cNvPr>
          <p:cNvSpPr/>
          <p:nvPr userDrawn="1"/>
        </p:nvSpPr>
        <p:spPr>
          <a:xfrm>
            <a:off x="759926" y="3612164"/>
            <a:ext cx="1143095" cy="55362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UW </a:t>
            </a:r>
          </a:p>
          <a:p>
            <a:r>
              <a:rPr lang="en-US" sz="600">
                <a:solidFill>
                  <a:schemeClr val="tx1">
                    <a:lumMod val="65000"/>
                    <a:lumOff val="35000"/>
                  </a:schemeClr>
                </a:solidFill>
              </a:rPr>
              <a:t>Front-End</a:t>
            </a:r>
          </a:p>
        </p:txBody>
      </p:sp>
      <p:sp>
        <p:nvSpPr>
          <p:cNvPr id="64" name="Rectangle: Rounded Corners 63">
            <a:extLst>
              <a:ext uri="{FF2B5EF4-FFF2-40B4-BE49-F238E27FC236}">
                <a16:creationId xmlns:a16="http://schemas.microsoft.com/office/drawing/2014/main" id="{E7DFFE50-C2AA-4EE8-BAAC-F23F1E807323}"/>
              </a:ext>
            </a:extLst>
          </p:cNvPr>
          <p:cNvSpPr/>
          <p:nvPr userDrawn="1"/>
        </p:nvSpPr>
        <p:spPr>
          <a:xfrm>
            <a:off x="759926" y="4187369"/>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UW </a:t>
            </a:r>
          </a:p>
          <a:p>
            <a:r>
              <a:rPr lang="en-US" sz="600">
                <a:solidFill>
                  <a:schemeClr val="tx1">
                    <a:lumMod val="65000"/>
                    <a:lumOff val="35000"/>
                  </a:schemeClr>
                </a:solidFill>
              </a:rPr>
              <a:t>Rules</a:t>
            </a:r>
          </a:p>
        </p:txBody>
      </p:sp>
      <p:sp>
        <p:nvSpPr>
          <p:cNvPr id="65" name="Rectangle: Rounded Corners 64">
            <a:extLst>
              <a:ext uri="{FF2B5EF4-FFF2-40B4-BE49-F238E27FC236}">
                <a16:creationId xmlns:a16="http://schemas.microsoft.com/office/drawing/2014/main" id="{027DD4B3-B39A-4EE2-8E6A-9B4AD1A01307}"/>
              </a:ext>
            </a:extLst>
          </p:cNvPr>
          <p:cNvSpPr/>
          <p:nvPr userDrawn="1"/>
        </p:nvSpPr>
        <p:spPr>
          <a:xfrm>
            <a:off x="759926" y="4474971"/>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Others</a:t>
            </a:r>
          </a:p>
        </p:txBody>
      </p:sp>
      <p:sp>
        <p:nvSpPr>
          <p:cNvPr id="66" name="Rectangle: Rounded Corners 65">
            <a:extLst>
              <a:ext uri="{FF2B5EF4-FFF2-40B4-BE49-F238E27FC236}">
                <a16:creationId xmlns:a16="http://schemas.microsoft.com/office/drawing/2014/main" id="{F1AB9617-8180-4608-A3D1-F24FD16B670F}"/>
              </a:ext>
            </a:extLst>
          </p:cNvPr>
          <p:cNvSpPr/>
          <p:nvPr userDrawn="1"/>
        </p:nvSpPr>
        <p:spPr>
          <a:xfrm>
            <a:off x="2061660" y="3612164"/>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Individual</a:t>
            </a:r>
          </a:p>
          <a:p>
            <a:r>
              <a:rPr lang="en-US" sz="600">
                <a:solidFill>
                  <a:schemeClr val="tx1">
                    <a:lumMod val="65000"/>
                    <a:lumOff val="35000"/>
                  </a:schemeClr>
                </a:solidFill>
              </a:rPr>
              <a:t>Life</a:t>
            </a:r>
          </a:p>
        </p:txBody>
      </p:sp>
      <p:sp>
        <p:nvSpPr>
          <p:cNvPr id="67" name="Rectangle: Rounded Corners 66">
            <a:extLst>
              <a:ext uri="{FF2B5EF4-FFF2-40B4-BE49-F238E27FC236}">
                <a16:creationId xmlns:a16="http://schemas.microsoft.com/office/drawing/2014/main" id="{47278C93-390C-46CE-99B6-31BD2329ABEC}"/>
              </a:ext>
            </a:extLst>
          </p:cNvPr>
          <p:cNvSpPr/>
          <p:nvPr userDrawn="1"/>
        </p:nvSpPr>
        <p:spPr>
          <a:xfrm>
            <a:off x="2061660" y="3899767"/>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Corporate</a:t>
            </a:r>
          </a:p>
          <a:p>
            <a:r>
              <a:rPr lang="en-US" sz="600">
                <a:solidFill>
                  <a:schemeClr val="tx1">
                    <a:lumMod val="65000"/>
                    <a:lumOff val="35000"/>
                  </a:schemeClr>
                </a:solidFill>
              </a:rPr>
              <a:t>Solutions</a:t>
            </a:r>
          </a:p>
        </p:txBody>
      </p:sp>
      <p:sp>
        <p:nvSpPr>
          <p:cNvPr id="68" name="Rectangle: Rounded Corners 67">
            <a:extLst>
              <a:ext uri="{FF2B5EF4-FFF2-40B4-BE49-F238E27FC236}">
                <a16:creationId xmlns:a16="http://schemas.microsoft.com/office/drawing/2014/main" id="{1AD2B419-5A1E-497A-9795-836413DBF0C3}"/>
              </a:ext>
            </a:extLst>
          </p:cNvPr>
          <p:cNvSpPr/>
          <p:nvPr userDrawn="1"/>
        </p:nvSpPr>
        <p:spPr>
          <a:xfrm>
            <a:off x="2061660" y="4187369"/>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Other</a:t>
            </a:r>
          </a:p>
          <a:p>
            <a:r>
              <a:rPr lang="en-US" sz="600">
                <a:solidFill>
                  <a:schemeClr val="tx1">
                    <a:lumMod val="65000"/>
                    <a:lumOff val="35000"/>
                  </a:schemeClr>
                </a:solidFill>
              </a:rPr>
              <a:t>LOB</a:t>
            </a:r>
          </a:p>
        </p:txBody>
      </p:sp>
      <p:sp>
        <p:nvSpPr>
          <p:cNvPr id="69" name="Rectangle: Rounded Corners 68">
            <a:extLst>
              <a:ext uri="{FF2B5EF4-FFF2-40B4-BE49-F238E27FC236}">
                <a16:creationId xmlns:a16="http://schemas.microsoft.com/office/drawing/2014/main" id="{A48A830F-326D-4DA3-AF5E-15B3D0562592}"/>
              </a:ext>
            </a:extLst>
          </p:cNvPr>
          <p:cNvSpPr/>
          <p:nvPr userDrawn="1"/>
        </p:nvSpPr>
        <p:spPr>
          <a:xfrm>
            <a:off x="2061660" y="4474971"/>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POS Front-End </a:t>
            </a:r>
          </a:p>
          <a:p>
            <a:r>
              <a:rPr lang="en-US" sz="600">
                <a:solidFill>
                  <a:schemeClr val="tx1">
                    <a:lumMod val="65000"/>
                    <a:lumOff val="35000"/>
                  </a:schemeClr>
                </a:solidFill>
              </a:rPr>
              <a:t>&amp; Rules</a:t>
            </a:r>
          </a:p>
        </p:txBody>
      </p:sp>
      <p:sp>
        <p:nvSpPr>
          <p:cNvPr id="70" name="Rectangle: Rounded Corners 69">
            <a:extLst>
              <a:ext uri="{FF2B5EF4-FFF2-40B4-BE49-F238E27FC236}">
                <a16:creationId xmlns:a16="http://schemas.microsoft.com/office/drawing/2014/main" id="{988516E1-6C59-44F6-BD7B-D4DA389D8CD6}"/>
              </a:ext>
            </a:extLst>
          </p:cNvPr>
          <p:cNvSpPr/>
          <p:nvPr userDrawn="1"/>
        </p:nvSpPr>
        <p:spPr>
          <a:xfrm>
            <a:off x="2061660" y="4762574"/>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Others</a:t>
            </a:r>
          </a:p>
        </p:txBody>
      </p:sp>
      <p:sp>
        <p:nvSpPr>
          <p:cNvPr id="71" name="Rectangle: Rounded Corners 70">
            <a:extLst>
              <a:ext uri="{FF2B5EF4-FFF2-40B4-BE49-F238E27FC236}">
                <a16:creationId xmlns:a16="http://schemas.microsoft.com/office/drawing/2014/main" id="{AD7C65D7-DFCF-424F-9507-295EC6204176}"/>
              </a:ext>
            </a:extLst>
          </p:cNvPr>
          <p:cNvSpPr/>
          <p:nvPr userDrawn="1"/>
        </p:nvSpPr>
        <p:spPr>
          <a:xfrm>
            <a:off x="3363394" y="3612164"/>
            <a:ext cx="1143095" cy="544981"/>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Claims</a:t>
            </a:r>
          </a:p>
          <a:p>
            <a:r>
              <a:rPr lang="en-US" sz="600">
                <a:solidFill>
                  <a:schemeClr val="tx1">
                    <a:lumMod val="65000"/>
                    <a:lumOff val="35000"/>
                  </a:schemeClr>
                </a:solidFill>
              </a:rPr>
              <a:t>Front-End</a:t>
            </a:r>
          </a:p>
        </p:txBody>
      </p:sp>
      <p:sp>
        <p:nvSpPr>
          <p:cNvPr id="72" name="Rectangle: Rounded Corners 71">
            <a:extLst>
              <a:ext uri="{FF2B5EF4-FFF2-40B4-BE49-F238E27FC236}">
                <a16:creationId xmlns:a16="http://schemas.microsoft.com/office/drawing/2014/main" id="{F2FFFC66-CD98-4A9F-961E-9B92D2785DBD}"/>
              </a:ext>
            </a:extLst>
          </p:cNvPr>
          <p:cNvSpPr/>
          <p:nvPr userDrawn="1"/>
        </p:nvSpPr>
        <p:spPr>
          <a:xfrm>
            <a:off x="3363394" y="4187369"/>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Claims</a:t>
            </a:r>
          </a:p>
          <a:p>
            <a:r>
              <a:rPr lang="en-US" sz="600">
                <a:solidFill>
                  <a:schemeClr val="tx1">
                    <a:lumMod val="65000"/>
                    <a:lumOff val="35000"/>
                  </a:schemeClr>
                </a:solidFill>
              </a:rPr>
              <a:t>Rules</a:t>
            </a:r>
          </a:p>
        </p:txBody>
      </p:sp>
      <p:sp>
        <p:nvSpPr>
          <p:cNvPr id="73" name="Rectangle: Rounded Corners 72">
            <a:extLst>
              <a:ext uri="{FF2B5EF4-FFF2-40B4-BE49-F238E27FC236}">
                <a16:creationId xmlns:a16="http://schemas.microsoft.com/office/drawing/2014/main" id="{EC2DD1F6-CBD5-49F5-BB46-2EAC25498EA6}"/>
              </a:ext>
            </a:extLst>
          </p:cNvPr>
          <p:cNvSpPr/>
          <p:nvPr userDrawn="1"/>
        </p:nvSpPr>
        <p:spPr>
          <a:xfrm>
            <a:off x="3363394" y="4474971"/>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Fraud</a:t>
            </a:r>
          </a:p>
          <a:p>
            <a:r>
              <a:rPr lang="en-US" sz="600">
                <a:solidFill>
                  <a:schemeClr val="tx1">
                    <a:lumMod val="65000"/>
                    <a:lumOff val="35000"/>
                  </a:schemeClr>
                </a:solidFill>
              </a:rPr>
              <a:t>Detection</a:t>
            </a:r>
          </a:p>
        </p:txBody>
      </p:sp>
      <p:sp>
        <p:nvSpPr>
          <p:cNvPr id="74" name="Rectangle: Rounded Corners 73">
            <a:extLst>
              <a:ext uri="{FF2B5EF4-FFF2-40B4-BE49-F238E27FC236}">
                <a16:creationId xmlns:a16="http://schemas.microsoft.com/office/drawing/2014/main" id="{6A482572-1457-4572-BF74-6C1D6DDD0E1C}"/>
              </a:ext>
            </a:extLst>
          </p:cNvPr>
          <p:cNvSpPr/>
          <p:nvPr userDrawn="1"/>
        </p:nvSpPr>
        <p:spPr>
          <a:xfrm>
            <a:off x="3363394" y="4762574"/>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Others</a:t>
            </a:r>
          </a:p>
        </p:txBody>
      </p:sp>
      <p:sp>
        <p:nvSpPr>
          <p:cNvPr id="75" name="Rectangle: Rounded Corners 74">
            <a:extLst>
              <a:ext uri="{FF2B5EF4-FFF2-40B4-BE49-F238E27FC236}">
                <a16:creationId xmlns:a16="http://schemas.microsoft.com/office/drawing/2014/main" id="{0F2299C1-99C8-4702-806B-D2A4FBBAD611}"/>
              </a:ext>
            </a:extLst>
          </p:cNvPr>
          <p:cNvSpPr/>
          <p:nvPr userDrawn="1"/>
        </p:nvSpPr>
        <p:spPr>
          <a:xfrm>
            <a:off x="4665128" y="3612164"/>
            <a:ext cx="1143095" cy="544981"/>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Commission</a:t>
            </a:r>
          </a:p>
          <a:p>
            <a:r>
              <a:rPr lang="en-US" sz="600">
                <a:solidFill>
                  <a:schemeClr val="tx1">
                    <a:lumMod val="65000"/>
                    <a:lumOff val="35000"/>
                  </a:schemeClr>
                </a:solidFill>
              </a:rPr>
              <a:t>Mgmt.</a:t>
            </a:r>
          </a:p>
        </p:txBody>
      </p:sp>
      <p:sp>
        <p:nvSpPr>
          <p:cNvPr id="76" name="Rectangle: Rounded Corners 75">
            <a:extLst>
              <a:ext uri="{FF2B5EF4-FFF2-40B4-BE49-F238E27FC236}">
                <a16:creationId xmlns:a16="http://schemas.microsoft.com/office/drawing/2014/main" id="{5A20F75D-4C21-46B3-A9B3-D1F0B313A5D8}"/>
              </a:ext>
            </a:extLst>
          </p:cNvPr>
          <p:cNvSpPr/>
          <p:nvPr userDrawn="1"/>
        </p:nvSpPr>
        <p:spPr>
          <a:xfrm>
            <a:off x="4665128" y="4187369"/>
            <a:ext cx="1143095" cy="553628"/>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Distribution</a:t>
            </a:r>
          </a:p>
          <a:p>
            <a:r>
              <a:rPr lang="en-US" sz="600">
                <a:solidFill>
                  <a:schemeClr val="tx1">
                    <a:lumMod val="65000"/>
                    <a:lumOff val="35000"/>
                  </a:schemeClr>
                </a:solidFill>
              </a:rPr>
              <a:t>Mgmt.</a:t>
            </a:r>
          </a:p>
        </p:txBody>
      </p:sp>
      <p:sp>
        <p:nvSpPr>
          <p:cNvPr id="78" name="Rectangle: Rounded Corners 77">
            <a:extLst>
              <a:ext uri="{FF2B5EF4-FFF2-40B4-BE49-F238E27FC236}">
                <a16:creationId xmlns:a16="http://schemas.microsoft.com/office/drawing/2014/main" id="{3A8642F1-FDC5-49A7-84DC-DAAE4046633A}"/>
              </a:ext>
            </a:extLst>
          </p:cNvPr>
          <p:cNvSpPr/>
          <p:nvPr userDrawn="1"/>
        </p:nvSpPr>
        <p:spPr>
          <a:xfrm>
            <a:off x="5971332" y="3612164"/>
            <a:ext cx="1143095" cy="55362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Billing</a:t>
            </a:r>
          </a:p>
        </p:txBody>
      </p:sp>
      <p:sp>
        <p:nvSpPr>
          <p:cNvPr id="79" name="Rectangle: Rounded Corners 78">
            <a:extLst>
              <a:ext uri="{FF2B5EF4-FFF2-40B4-BE49-F238E27FC236}">
                <a16:creationId xmlns:a16="http://schemas.microsoft.com/office/drawing/2014/main" id="{C57B93D3-98AF-4DE9-84DA-F66DFE8C3B36}"/>
              </a:ext>
            </a:extLst>
          </p:cNvPr>
          <p:cNvSpPr/>
          <p:nvPr userDrawn="1"/>
        </p:nvSpPr>
        <p:spPr>
          <a:xfrm>
            <a:off x="5971332" y="4187369"/>
            <a:ext cx="1143095" cy="55362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Payment</a:t>
            </a:r>
          </a:p>
        </p:txBody>
      </p:sp>
      <p:sp>
        <p:nvSpPr>
          <p:cNvPr id="80" name="Rectangle: Rounded Corners 79">
            <a:extLst>
              <a:ext uri="{FF2B5EF4-FFF2-40B4-BE49-F238E27FC236}">
                <a16:creationId xmlns:a16="http://schemas.microsoft.com/office/drawing/2014/main" id="{E21B34BA-0EB4-4AAB-981A-418207741C37}"/>
              </a:ext>
            </a:extLst>
          </p:cNvPr>
          <p:cNvSpPr/>
          <p:nvPr userDrawn="1"/>
        </p:nvSpPr>
        <p:spPr>
          <a:xfrm>
            <a:off x="7268597" y="3612164"/>
            <a:ext cx="1143095" cy="55362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Content</a:t>
            </a:r>
          </a:p>
          <a:p>
            <a:r>
              <a:rPr lang="en-US" sz="600">
                <a:solidFill>
                  <a:schemeClr val="tx1">
                    <a:lumMod val="65000"/>
                    <a:lumOff val="35000"/>
                  </a:schemeClr>
                </a:solidFill>
              </a:rPr>
              <a:t>Mgmt.</a:t>
            </a:r>
          </a:p>
        </p:txBody>
      </p:sp>
      <p:sp>
        <p:nvSpPr>
          <p:cNvPr id="81" name="Rectangle: Rounded Corners 80">
            <a:extLst>
              <a:ext uri="{FF2B5EF4-FFF2-40B4-BE49-F238E27FC236}">
                <a16:creationId xmlns:a16="http://schemas.microsoft.com/office/drawing/2014/main" id="{4092E159-BFB6-42AA-8335-992F8358C37D}"/>
              </a:ext>
            </a:extLst>
          </p:cNvPr>
          <p:cNvSpPr/>
          <p:nvPr userDrawn="1"/>
        </p:nvSpPr>
        <p:spPr>
          <a:xfrm>
            <a:off x="7268597" y="4187369"/>
            <a:ext cx="1143095" cy="55362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Communication</a:t>
            </a:r>
          </a:p>
          <a:p>
            <a:r>
              <a:rPr lang="en-US" sz="600">
                <a:solidFill>
                  <a:schemeClr val="tx1">
                    <a:lumMod val="65000"/>
                    <a:lumOff val="35000"/>
                  </a:schemeClr>
                </a:solidFill>
              </a:rPr>
              <a:t>Mgmt.</a:t>
            </a:r>
          </a:p>
        </p:txBody>
      </p:sp>
      <p:sp>
        <p:nvSpPr>
          <p:cNvPr id="83" name="Rectangle: Rounded Corners 82">
            <a:extLst>
              <a:ext uri="{FF2B5EF4-FFF2-40B4-BE49-F238E27FC236}">
                <a16:creationId xmlns:a16="http://schemas.microsoft.com/office/drawing/2014/main" id="{EA217EE9-D09F-4A69-8D47-51C3BC895E3A}"/>
              </a:ext>
            </a:extLst>
          </p:cNvPr>
          <p:cNvSpPr/>
          <p:nvPr userDrawn="1"/>
        </p:nvSpPr>
        <p:spPr>
          <a:xfrm>
            <a:off x="766014" y="2041839"/>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Direct Sales</a:t>
            </a:r>
          </a:p>
        </p:txBody>
      </p:sp>
      <p:sp>
        <p:nvSpPr>
          <p:cNvPr id="103" name="Rectangle: Rounded Corners 102">
            <a:extLst>
              <a:ext uri="{FF2B5EF4-FFF2-40B4-BE49-F238E27FC236}">
                <a16:creationId xmlns:a16="http://schemas.microsoft.com/office/drawing/2014/main" id="{790C225F-3C89-4A6E-8AC4-FFCE9DDCF8C8}"/>
              </a:ext>
            </a:extLst>
          </p:cNvPr>
          <p:cNvSpPr/>
          <p:nvPr userDrawn="1"/>
        </p:nvSpPr>
        <p:spPr>
          <a:xfrm>
            <a:off x="2056295" y="903817"/>
            <a:ext cx="1143095" cy="545939"/>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Sales</a:t>
            </a:r>
          </a:p>
        </p:txBody>
      </p:sp>
      <p:sp>
        <p:nvSpPr>
          <p:cNvPr id="20" name="Rectangle: Rounded Corners 19">
            <a:extLst>
              <a:ext uri="{FF2B5EF4-FFF2-40B4-BE49-F238E27FC236}">
                <a16:creationId xmlns:a16="http://schemas.microsoft.com/office/drawing/2014/main" id="{03DD2493-2081-4A07-9F17-F223D196F97A}"/>
              </a:ext>
            </a:extLst>
          </p:cNvPr>
          <p:cNvSpPr/>
          <p:nvPr userDrawn="1"/>
        </p:nvSpPr>
        <p:spPr>
          <a:xfrm>
            <a:off x="3363475" y="3041455"/>
            <a:ext cx="114614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Big Data</a:t>
            </a:r>
          </a:p>
        </p:txBody>
      </p:sp>
      <p:sp>
        <p:nvSpPr>
          <p:cNvPr id="21" name="Rectangle: Rounded Corners 20">
            <a:extLst>
              <a:ext uri="{FF2B5EF4-FFF2-40B4-BE49-F238E27FC236}">
                <a16:creationId xmlns:a16="http://schemas.microsoft.com/office/drawing/2014/main" id="{1ABF71C1-5404-4E3F-8154-083567141491}"/>
              </a:ext>
            </a:extLst>
          </p:cNvPr>
          <p:cNvSpPr/>
          <p:nvPr userDrawn="1"/>
        </p:nvSpPr>
        <p:spPr>
          <a:xfrm>
            <a:off x="7269057" y="3030900"/>
            <a:ext cx="114614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Analytics</a:t>
            </a:r>
          </a:p>
        </p:txBody>
      </p:sp>
      <p:sp>
        <p:nvSpPr>
          <p:cNvPr id="22" name="Rectangle: Rounded Corners 21">
            <a:extLst>
              <a:ext uri="{FF2B5EF4-FFF2-40B4-BE49-F238E27FC236}">
                <a16:creationId xmlns:a16="http://schemas.microsoft.com/office/drawing/2014/main" id="{883901E6-A674-4399-872E-C9BB95B80443}"/>
              </a:ext>
            </a:extLst>
          </p:cNvPr>
          <p:cNvSpPr/>
          <p:nvPr userDrawn="1"/>
        </p:nvSpPr>
        <p:spPr>
          <a:xfrm>
            <a:off x="4666054" y="3041455"/>
            <a:ext cx="114614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Machine </a:t>
            </a:r>
          </a:p>
          <a:p>
            <a:r>
              <a:rPr lang="en-US" sz="600">
                <a:solidFill>
                  <a:schemeClr val="tx1">
                    <a:lumMod val="65000"/>
                    <a:lumOff val="35000"/>
                  </a:schemeClr>
                </a:solidFill>
              </a:rPr>
              <a:t>Learning</a:t>
            </a:r>
          </a:p>
        </p:txBody>
      </p:sp>
      <p:sp>
        <p:nvSpPr>
          <p:cNvPr id="23" name="Rectangle: Rounded Corners 22">
            <a:extLst>
              <a:ext uri="{FF2B5EF4-FFF2-40B4-BE49-F238E27FC236}">
                <a16:creationId xmlns:a16="http://schemas.microsoft.com/office/drawing/2014/main" id="{C26FE0EF-E802-4B35-9861-5EAD59FACED2}"/>
              </a:ext>
            </a:extLst>
          </p:cNvPr>
          <p:cNvSpPr/>
          <p:nvPr userDrawn="1"/>
        </p:nvSpPr>
        <p:spPr>
          <a:xfrm>
            <a:off x="5966241" y="3036407"/>
            <a:ext cx="114614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Vision,  </a:t>
            </a:r>
          </a:p>
          <a:p>
            <a:r>
              <a:rPr lang="en-US" sz="600">
                <a:solidFill>
                  <a:schemeClr val="tx1">
                    <a:lumMod val="65000"/>
                    <a:lumOff val="35000"/>
                  </a:schemeClr>
                </a:solidFill>
              </a:rPr>
              <a:t>Voice &amp; NLP</a:t>
            </a:r>
          </a:p>
        </p:txBody>
      </p:sp>
      <p:sp>
        <p:nvSpPr>
          <p:cNvPr id="107" name="Rectangle: Rounded Corners 106">
            <a:extLst>
              <a:ext uri="{FF2B5EF4-FFF2-40B4-BE49-F238E27FC236}">
                <a16:creationId xmlns:a16="http://schemas.microsoft.com/office/drawing/2014/main" id="{EDC162B5-39A9-4225-9D95-9EA0C79CFB52}"/>
              </a:ext>
            </a:extLst>
          </p:cNvPr>
          <p:cNvSpPr/>
          <p:nvPr userDrawn="1"/>
        </p:nvSpPr>
        <p:spPr>
          <a:xfrm>
            <a:off x="2054774" y="1755571"/>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Recruitment </a:t>
            </a:r>
          </a:p>
          <a:p>
            <a:r>
              <a:rPr lang="en-US" sz="600">
                <a:solidFill>
                  <a:schemeClr val="tx1">
                    <a:lumMod val="65000"/>
                    <a:lumOff val="35000"/>
                  </a:schemeClr>
                </a:solidFill>
              </a:rPr>
              <a:t>&amp; Learning</a:t>
            </a:r>
          </a:p>
        </p:txBody>
      </p:sp>
      <p:sp>
        <p:nvSpPr>
          <p:cNvPr id="108" name="Rectangle: Rounded Corners 107">
            <a:extLst>
              <a:ext uri="{FF2B5EF4-FFF2-40B4-BE49-F238E27FC236}">
                <a16:creationId xmlns:a16="http://schemas.microsoft.com/office/drawing/2014/main" id="{42549386-A055-438C-BE0B-4A298AB46BB9}"/>
              </a:ext>
            </a:extLst>
          </p:cNvPr>
          <p:cNvSpPr/>
          <p:nvPr userDrawn="1"/>
        </p:nvSpPr>
        <p:spPr>
          <a:xfrm>
            <a:off x="2054774" y="2041839"/>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Servicing </a:t>
            </a:r>
          </a:p>
          <a:p>
            <a:r>
              <a:rPr lang="en-US" sz="600">
                <a:solidFill>
                  <a:schemeClr val="tx1">
                    <a:lumMod val="65000"/>
                    <a:lumOff val="35000"/>
                  </a:schemeClr>
                </a:solidFill>
              </a:rPr>
              <a:t>&amp; Portal</a:t>
            </a:r>
          </a:p>
        </p:txBody>
      </p:sp>
      <p:sp>
        <p:nvSpPr>
          <p:cNvPr id="109" name="Rectangle: Rounded Corners 108">
            <a:extLst>
              <a:ext uri="{FF2B5EF4-FFF2-40B4-BE49-F238E27FC236}">
                <a16:creationId xmlns:a16="http://schemas.microsoft.com/office/drawing/2014/main" id="{87D4FF49-9387-45A2-9527-ABF40BECBB42}"/>
              </a:ext>
            </a:extLst>
          </p:cNvPr>
          <p:cNvSpPr/>
          <p:nvPr userDrawn="1"/>
        </p:nvSpPr>
        <p:spPr>
          <a:xfrm>
            <a:off x="3363394" y="1752810"/>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Recruitment </a:t>
            </a:r>
          </a:p>
          <a:p>
            <a:r>
              <a:rPr lang="en-US" sz="600">
                <a:solidFill>
                  <a:schemeClr val="tx1">
                    <a:lumMod val="65000"/>
                    <a:lumOff val="35000"/>
                  </a:schemeClr>
                </a:solidFill>
              </a:rPr>
              <a:t>&amp; Learning</a:t>
            </a:r>
          </a:p>
        </p:txBody>
      </p:sp>
      <p:sp>
        <p:nvSpPr>
          <p:cNvPr id="110" name="Rectangle: Rounded Corners 109">
            <a:extLst>
              <a:ext uri="{FF2B5EF4-FFF2-40B4-BE49-F238E27FC236}">
                <a16:creationId xmlns:a16="http://schemas.microsoft.com/office/drawing/2014/main" id="{623A3F0D-51B3-4FB7-8ECE-D6AC81D34036}"/>
              </a:ext>
            </a:extLst>
          </p:cNvPr>
          <p:cNvSpPr/>
          <p:nvPr userDrawn="1"/>
        </p:nvSpPr>
        <p:spPr>
          <a:xfrm>
            <a:off x="3363394" y="2039078"/>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Servicing </a:t>
            </a:r>
          </a:p>
          <a:p>
            <a:r>
              <a:rPr lang="en-US" sz="600">
                <a:solidFill>
                  <a:schemeClr val="tx1">
                    <a:lumMod val="65000"/>
                    <a:lumOff val="35000"/>
                  </a:schemeClr>
                </a:solidFill>
              </a:rPr>
              <a:t>&amp; Portal</a:t>
            </a:r>
          </a:p>
        </p:txBody>
      </p:sp>
      <p:sp>
        <p:nvSpPr>
          <p:cNvPr id="114" name="Rectangle: Top Corners Rounded 113">
            <a:extLst>
              <a:ext uri="{FF2B5EF4-FFF2-40B4-BE49-F238E27FC236}">
                <a16:creationId xmlns:a16="http://schemas.microsoft.com/office/drawing/2014/main" id="{E3423E05-A44B-4712-8F8E-920EF7693392}"/>
              </a:ext>
            </a:extLst>
          </p:cNvPr>
          <p:cNvSpPr/>
          <p:nvPr userDrawn="1"/>
        </p:nvSpPr>
        <p:spPr>
          <a:xfrm rot="16200000">
            <a:off x="-264764" y="1450832"/>
            <a:ext cx="1638457" cy="175963"/>
          </a:xfrm>
          <a:prstGeom prst="round2SameRect">
            <a:avLst>
              <a:gd name="adj1" fmla="val 33989"/>
              <a:gd name="adj2" fmla="val 0"/>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r>
              <a:rPr lang="en-US" sz="800" b="0">
                <a:solidFill>
                  <a:schemeClr val="bg1"/>
                </a:solidFill>
              </a:rPr>
              <a:t>Front Office</a:t>
            </a:r>
          </a:p>
        </p:txBody>
      </p:sp>
      <p:sp>
        <p:nvSpPr>
          <p:cNvPr id="115" name="Rectangle: Top Corners Rounded 114">
            <a:extLst>
              <a:ext uri="{FF2B5EF4-FFF2-40B4-BE49-F238E27FC236}">
                <a16:creationId xmlns:a16="http://schemas.microsoft.com/office/drawing/2014/main" id="{32FAC37E-AA7A-4C00-B94B-D73C8DA30B19}"/>
              </a:ext>
            </a:extLst>
          </p:cNvPr>
          <p:cNvSpPr/>
          <p:nvPr userDrawn="1"/>
        </p:nvSpPr>
        <p:spPr>
          <a:xfrm rot="16200000">
            <a:off x="-263229" y="4159229"/>
            <a:ext cx="1638457" cy="175963"/>
          </a:xfrm>
          <a:prstGeom prst="round2SameRect">
            <a:avLst>
              <a:gd name="adj1" fmla="val 36876"/>
              <a:gd name="adj2" fmla="val 0"/>
            </a:avLst>
          </a:prstGeom>
          <a:solidFill>
            <a:schemeClr val="bg1">
              <a:lumMod val="65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lvl="0" algn="ctr"/>
            <a:r>
              <a:rPr lang="en-US" sz="800" b="0">
                <a:solidFill>
                  <a:schemeClr val="bg1"/>
                </a:solidFill>
              </a:rPr>
              <a:t>Middle Office</a:t>
            </a:r>
          </a:p>
        </p:txBody>
      </p:sp>
      <p:sp>
        <p:nvSpPr>
          <p:cNvPr id="116" name="Rectangle: Top Corners Rounded 115">
            <a:extLst>
              <a:ext uri="{FF2B5EF4-FFF2-40B4-BE49-F238E27FC236}">
                <a16:creationId xmlns:a16="http://schemas.microsoft.com/office/drawing/2014/main" id="{2A78E9D9-73CD-4D64-BF95-13E295892692}"/>
              </a:ext>
            </a:extLst>
          </p:cNvPr>
          <p:cNvSpPr/>
          <p:nvPr userDrawn="1"/>
        </p:nvSpPr>
        <p:spPr>
          <a:xfrm rot="16200000">
            <a:off x="114541" y="5466703"/>
            <a:ext cx="871784" cy="175963"/>
          </a:xfrm>
          <a:prstGeom prst="round2SameRect">
            <a:avLst>
              <a:gd name="adj1" fmla="val 28215"/>
              <a:gd name="adj2" fmla="val 0"/>
            </a:avLst>
          </a:prstGeom>
          <a:solidFill>
            <a:schemeClr val="bg1">
              <a:lumMod val="65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lvl="0" algn="ctr"/>
            <a:r>
              <a:rPr lang="en-US" sz="800" b="0">
                <a:solidFill>
                  <a:schemeClr val="bg1"/>
                </a:solidFill>
              </a:rPr>
              <a:t>Back Office</a:t>
            </a:r>
          </a:p>
        </p:txBody>
      </p:sp>
      <p:sp>
        <p:nvSpPr>
          <p:cNvPr id="118" name="Rectangle: Rounded Corners 117">
            <a:extLst>
              <a:ext uri="{FF2B5EF4-FFF2-40B4-BE49-F238E27FC236}">
                <a16:creationId xmlns:a16="http://schemas.microsoft.com/office/drawing/2014/main" id="{1FDB4CBA-EB9E-4DDB-9559-96A51C51C583}"/>
              </a:ext>
            </a:extLst>
          </p:cNvPr>
          <p:cNvSpPr/>
          <p:nvPr userDrawn="1"/>
        </p:nvSpPr>
        <p:spPr>
          <a:xfrm>
            <a:off x="5968154" y="2516727"/>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a:solidFill>
                  <a:schemeClr val="tx1">
                    <a:lumMod val="65000"/>
                    <a:lumOff val="35000"/>
                  </a:schemeClr>
                </a:solidFill>
              </a:rPr>
              <a:t>Data</a:t>
            </a:r>
          </a:p>
          <a:p>
            <a:r>
              <a:rPr lang="en-US" sz="600">
                <a:solidFill>
                  <a:schemeClr val="tx1">
                    <a:lumMod val="65000"/>
                    <a:lumOff val="35000"/>
                  </a:schemeClr>
                </a:solidFill>
              </a:rPr>
              <a:t>Integration</a:t>
            </a:r>
          </a:p>
        </p:txBody>
      </p:sp>
      <p:sp>
        <p:nvSpPr>
          <p:cNvPr id="119" name="Rectangle: Rounded Corners 118">
            <a:extLst>
              <a:ext uri="{FF2B5EF4-FFF2-40B4-BE49-F238E27FC236}">
                <a16:creationId xmlns:a16="http://schemas.microsoft.com/office/drawing/2014/main" id="{6AECC901-4A12-413B-B3AE-75081C4C5B79}"/>
              </a:ext>
            </a:extLst>
          </p:cNvPr>
          <p:cNvSpPr/>
          <p:nvPr userDrawn="1"/>
        </p:nvSpPr>
        <p:spPr>
          <a:xfrm>
            <a:off x="7272106" y="2516727"/>
            <a:ext cx="1143095"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600" err="1">
                <a:solidFill>
                  <a:schemeClr val="tx1">
                    <a:lumMod val="65000"/>
                    <a:lumOff val="35000"/>
                  </a:schemeClr>
                </a:solidFill>
              </a:rPr>
              <a:t>ESB</a:t>
            </a:r>
            <a:r>
              <a:rPr lang="en-US" sz="600">
                <a:solidFill>
                  <a:schemeClr val="tx1">
                    <a:lumMod val="65000"/>
                    <a:lumOff val="35000"/>
                  </a:schemeClr>
                </a:solidFill>
              </a:rPr>
              <a:t> and </a:t>
            </a:r>
          </a:p>
          <a:p>
            <a:r>
              <a:rPr lang="en-US" sz="600">
                <a:solidFill>
                  <a:schemeClr val="tx1">
                    <a:lumMod val="65000"/>
                    <a:lumOff val="35000"/>
                  </a:schemeClr>
                </a:solidFill>
              </a:rPr>
              <a:t>Event Mgmt.</a:t>
            </a:r>
          </a:p>
        </p:txBody>
      </p:sp>
      <p:sp>
        <p:nvSpPr>
          <p:cNvPr id="93" name="Rectangle: Rounded Corners 50">
            <a:extLst>
              <a:ext uri="{FF2B5EF4-FFF2-40B4-BE49-F238E27FC236}">
                <a16:creationId xmlns:a16="http://schemas.microsoft.com/office/drawing/2014/main" id="{817B90A2-B602-40D7-A8EF-DBC4B4EE7AD7}"/>
              </a:ext>
            </a:extLst>
          </p:cNvPr>
          <p:cNvSpPr/>
          <p:nvPr userDrawn="1"/>
        </p:nvSpPr>
        <p:spPr>
          <a:xfrm>
            <a:off x="4675446" y="6134587"/>
            <a:ext cx="2434511" cy="266027"/>
          </a:xfrm>
          <a:prstGeom prst="roundRect">
            <a:avLst>
              <a:gd name="adj" fmla="val 78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600">
                <a:solidFill>
                  <a:schemeClr val="tx1">
                    <a:lumMod val="65000"/>
                    <a:lumOff val="35000"/>
                  </a:schemeClr>
                </a:solidFill>
              </a:rPr>
              <a:t>Private </a:t>
            </a:r>
          </a:p>
          <a:p>
            <a:r>
              <a:rPr lang="en-GB" sz="600">
                <a:solidFill>
                  <a:schemeClr val="tx1">
                    <a:lumMod val="65000"/>
                    <a:lumOff val="35000"/>
                  </a:schemeClr>
                </a:solidFill>
              </a:rPr>
              <a:t>Cloud</a:t>
            </a:r>
          </a:p>
        </p:txBody>
      </p:sp>
    </p:spTree>
    <p:extLst>
      <p:ext uri="{BB962C8B-B14F-4D97-AF65-F5344CB8AC3E}">
        <p14:creationId xmlns:p14="http://schemas.microsoft.com/office/powerpoint/2010/main" val="2770980256"/>
      </p:ext>
    </p:extLst>
  </p:cSld>
  <p:clrMapOvr>
    <a:masterClrMapping/>
  </p:clrMapOvr>
  <p:extLst>
    <p:ext uri="{DCECCB84-F9BA-43D5-87BE-67443E8EF086}">
      <p15:sldGuideLst xmlns:p15="http://schemas.microsoft.com/office/powerpoint/2012/main">
        <p15:guide id="1" pos="279">
          <p15:clr>
            <a:srgbClr val="FBAE40"/>
          </p15:clr>
        </p15:guide>
        <p15:guide id="2" pos="7151">
          <p15:clr>
            <a:srgbClr val="FBAE40"/>
          </p15:clr>
        </p15:guide>
        <p15:guide id="3" orient="horz" pos="3906">
          <p15:clr>
            <a:srgbClr val="FBAE40"/>
          </p15:clr>
        </p15:guide>
        <p15:guide id="4" orient="horz" pos="640">
          <p15:clr>
            <a:srgbClr val="FBAE40"/>
          </p15:clr>
        </p15:guide>
        <p15:guide id="5" orient="horz" pos="164">
          <p15:clr>
            <a:srgbClr val="FBAE40"/>
          </p15:clr>
        </p15:guide>
        <p15:guide id="6" orient="horz" pos="686">
          <p15:clr>
            <a:srgbClr val="FBAE40"/>
          </p15:clr>
        </p15:guide>
        <p15:guide id="7" orient="horz" pos="4042">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22746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1"/>
                        <a:ext cx="2159" cy="1619"/>
                      </a:xfrm>
                      <a:prstGeom prst="rect">
                        <a:avLst/>
                      </a:prstGeom>
                    </p:spPr>
                  </p:pic>
                </p:oleObj>
              </mc:Fallback>
            </mc:AlternateContent>
          </a:graphicData>
        </a:graphic>
      </p:graphicFrame>
      <p:pic>
        <p:nvPicPr>
          <p:cNvPr id="14" name="Picture 13"/>
          <p:cNvPicPr>
            <a:picLocks noChangeAspect="1"/>
          </p:cNvPicPr>
          <p:nvPr userDrawn="1"/>
        </p:nvPicPr>
        <p:blipFill>
          <a:blip r:embed="rId6"/>
          <a:stretch>
            <a:fillRect/>
          </a:stretch>
        </p:blipFill>
        <p:spPr bwMode="invGray">
          <a:xfrm>
            <a:off x="0" y="0"/>
            <a:ext cx="12191567" cy="5543415"/>
          </a:xfrm>
          <a:prstGeom prst="rect">
            <a:avLst/>
          </a:prstGeom>
        </p:spPr>
      </p:pic>
      <p:sp>
        <p:nvSpPr>
          <p:cNvPr id="22" name="Rectangle 99"/>
          <p:cNvSpPr>
            <a:spLocks noChangeArrowheads="1"/>
          </p:cNvSpPr>
          <p:nvPr userDrawn="1"/>
        </p:nvSpPr>
        <p:spPr bwMode="ltGray">
          <a:xfrm>
            <a:off x="0" y="5437189"/>
            <a:ext cx="12192000" cy="1425574"/>
          </a:xfrm>
          <a:prstGeom prst="rect">
            <a:avLst/>
          </a:prstGeom>
          <a:solidFill>
            <a:srgbClr val="FFFFFF"/>
          </a:solidFill>
          <a:ln w="9525">
            <a:noFill/>
            <a:miter lim="800000"/>
            <a:headEnd/>
            <a:tailEnd/>
          </a:ln>
        </p:spPr>
        <p:txBody>
          <a:bodyPr lIns="356379" tIns="179989" rIns="356379" bIns="179989"/>
          <a:lstStyle/>
          <a:p>
            <a:pPr fontAlgn="base">
              <a:spcBef>
                <a:spcPct val="0"/>
              </a:spcBef>
              <a:spcAft>
                <a:spcPct val="0"/>
              </a:spcAft>
            </a:pPr>
            <a:endParaRPr lang="en-US" altLang="zh-TW" sz="1200">
              <a:solidFill>
                <a:prstClr val="black"/>
              </a:solidFill>
              <a:ea typeface="PMingLiU" pitchFamily="18" charset="-120"/>
              <a:cs typeface="Arial" pitchFamily="34" charset="0"/>
            </a:endParaRPr>
          </a:p>
        </p:txBody>
      </p:sp>
      <p:sp>
        <p:nvSpPr>
          <p:cNvPr id="23" name="Rectangle 22"/>
          <p:cNvSpPr/>
          <p:nvPr userDrawn="1"/>
        </p:nvSpPr>
        <p:spPr bwMode="ltGray">
          <a:xfrm>
            <a:off x="11655553" y="0"/>
            <a:ext cx="536448" cy="5437188"/>
          </a:xfrm>
          <a:prstGeom prst="rect">
            <a:avLst/>
          </a:prstGeom>
          <a:solidFill>
            <a:sysClr val="window" lastClr="FFFF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457152" indent="-342864" defTabSz="457152">
              <a:spcBef>
                <a:spcPct val="20000"/>
              </a:spcBef>
              <a:buFontTx/>
              <a:buAutoNum type="arabicPeriod"/>
              <a:defRPr/>
            </a:pPr>
            <a:endParaRPr lang="en-US" sz="1200" kern="0">
              <a:solidFill>
                <a:srgbClr val="000000"/>
              </a:solidFill>
              <a:ea typeface="微軟正黑體"/>
              <a:cs typeface="Arial" pitchFamily="34" charset="0"/>
            </a:endParaRPr>
          </a:p>
        </p:txBody>
      </p:sp>
      <p:sp>
        <p:nvSpPr>
          <p:cNvPr id="4" name="Working Draft Text" hidden="1"/>
          <p:cNvSpPr txBox="1">
            <a:spLocks noChangeArrowheads="1"/>
          </p:cNvSpPr>
          <p:nvPr/>
        </p:nvSpPr>
        <p:spPr bwMode="auto">
          <a:xfrm>
            <a:off x="609599" y="349866"/>
            <a:ext cx="1011495"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18" b="1">
                <a:solidFill>
                  <a:srgbClr val="FFFFFF"/>
                </a:solidFill>
                <a:latin typeface="Arial"/>
              </a:rPr>
              <a:t>WORKING DRAFT</a:t>
            </a:r>
          </a:p>
        </p:txBody>
      </p:sp>
      <p:sp>
        <p:nvSpPr>
          <p:cNvPr id="6" name="Working Draft" hidden="1"/>
          <p:cNvSpPr txBox="1">
            <a:spLocks noChangeArrowheads="1"/>
          </p:cNvSpPr>
          <p:nvPr/>
        </p:nvSpPr>
        <p:spPr bwMode="auto">
          <a:xfrm>
            <a:off x="609599" y="508601"/>
            <a:ext cx="3424014"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18">
                <a:solidFill>
                  <a:srgbClr val="FFFFFF"/>
                </a:solidFill>
                <a:latin typeface="Arial"/>
              </a:rPr>
              <a:t>Last Modified 2/23/2017 3:18 PM Malay Peninsula Standard Time</a:t>
            </a:r>
          </a:p>
        </p:txBody>
      </p:sp>
      <p:sp>
        <p:nvSpPr>
          <p:cNvPr id="7" name="Printed" hidden="1"/>
          <p:cNvSpPr txBox="1">
            <a:spLocks noChangeArrowheads="1"/>
          </p:cNvSpPr>
          <p:nvPr/>
        </p:nvSpPr>
        <p:spPr bwMode="auto">
          <a:xfrm>
            <a:off x="609599" y="668956"/>
            <a:ext cx="3097002"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18">
                <a:solidFill>
                  <a:srgbClr val="FFFFFF"/>
                </a:solidFill>
                <a:latin typeface="Arial"/>
              </a:rPr>
              <a:t>Printed 2/21/2017 7:19 PM Malay Peninsula Standard Time</a:t>
            </a:r>
          </a:p>
        </p:txBody>
      </p:sp>
      <p:grpSp>
        <p:nvGrpSpPr>
          <p:cNvPr id="2" name="Title Elements" hidden="1"/>
          <p:cNvGrpSpPr/>
          <p:nvPr userDrawn="1"/>
        </p:nvGrpSpPr>
        <p:grpSpPr>
          <a:xfrm>
            <a:off x="609599" y="4077089"/>
            <a:ext cx="6714779" cy="501859"/>
            <a:chOff x="2640013" y="4926935"/>
            <a:chExt cx="4935538" cy="491868"/>
          </a:xfrm>
        </p:grpSpPr>
        <p:sp>
          <p:nvSpPr>
            <p:cNvPr id="9" name="Document type"/>
            <p:cNvSpPr txBox="1">
              <a:spLocks noChangeArrowheads="1"/>
            </p:cNvSpPr>
            <p:nvPr/>
          </p:nvSpPr>
          <p:spPr bwMode="auto">
            <a:xfrm>
              <a:off x="2640013" y="4926935"/>
              <a:ext cx="4935538"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FFFFFF"/>
                  </a:solidFill>
                  <a:latin typeface="Arial"/>
                </a:rPr>
                <a:t>Document type</a:t>
              </a:r>
            </a:p>
          </p:txBody>
        </p:sp>
        <p:sp>
          <p:nvSpPr>
            <p:cNvPr id="10" name="Date"/>
            <p:cNvSpPr txBox="1">
              <a:spLocks noChangeArrowheads="1"/>
            </p:cNvSpPr>
            <p:nvPr/>
          </p:nvSpPr>
          <p:spPr bwMode="auto">
            <a:xfrm>
              <a:off x="2640013" y="5199063"/>
              <a:ext cx="4935538"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FFFFFF"/>
                  </a:solidFill>
                  <a:latin typeface="Arial"/>
                </a:rPr>
                <a:t>Date</a:t>
              </a:r>
            </a:p>
          </p:txBody>
        </p:sp>
      </p:grpSp>
      <p:sp>
        <p:nvSpPr>
          <p:cNvPr id="13314" name="Rectangle 1026"/>
          <p:cNvSpPr>
            <a:spLocks noGrp="1" noChangeArrowheads="1"/>
          </p:cNvSpPr>
          <p:nvPr>
            <p:ph type="ctrTitle"/>
          </p:nvPr>
        </p:nvSpPr>
        <p:spPr>
          <a:xfrm>
            <a:off x="609599" y="1268205"/>
            <a:ext cx="8448549" cy="439639"/>
          </a:xfrm>
          <a:prstGeom prst="rect">
            <a:avLst/>
          </a:prstGeom>
        </p:spPr>
        <p:txBody>
          <a:bodyPr wrap="square" anchor="t">
            <a:spAutoFit/>
          </a:bodyPr>
          <a:lstStyle>
            <a:lvl1pPr>
              <a:defRPr sz="2857" b="1" baseline="0">
                <a:solidFill>
                  <a:schemeClr val="bg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a:xfrm>
            <a:off x="609599" y="2768815"/>
            <a:ext cx="8448549" cy="251222"/>
          </a:xfrm>
          <a:prstGeom prst="rect">
            <a:avLst/>
          </a:prstGeom>
        </p:spPr>
        <p:txBody>
          <a:bodyPr wrap="square">
            <a:spAutoFit/>
          </a:bodyPr>
          <a:lstStyle>
            <a:lvl1pPr>
              <a:defRPr sz="1632" b="1" baseline="0">
                <a:solidFill>
                  <a:schemeClr val="bg1"/>
                </a:solidFill>
                <a:latin typeface="+mn-lt"/>
                <a:ea typeface="+mn-ea"/>
              </a:defRPr>
            </a:lvl1pPr>
          </a:lstStyle>
          <a:p>
            <a:pPr lvl="0"/>
            <a:r>
              <a:rPr lang="en-US" noProof="0"/>
              <a:t>Click to edit Master subtitle style</a:t>
            </a:r>
          </a:p>
        </p:txBody>
      </p:sp>
      <p:pic>
        <p:nvPicPr>
          <p:cNvPr id="20" name="Picture 19"/>
          <p:cNvPicPr>
            <a:picLocks noChangeAspect="1"/>
          </p:cNvPicPr>
          <p:nvPr userDrawn="1"/>
        </p:nvPicPr>
        <p:blipFill>
          <a:blip r:embed="rId7"/>
          <a:stretch>
            <a:fillRect/>
          </a:stretch>
        </p:blipFill>
        <p:spPr bwMode="invGray">
          <a:xfrm>
            <a:off x="10769601" y="5741281"/>
            <a:ext cx="738193" cy="603375"/>
          </a:xfrm>
          <a:prstGeom prst="rect">
            <a:avLst/>
          </a:prstGeom>
        </p:spPr>
      </p:pic>
      <p:sp>
        <p:nvSpPr>
          <p:cNvPr id="25" name="Rectangle 11"/>
          <p:cNvSpPr>
            <a:spLocks noChangeArrowheads="1"/>
          </p:cNvSpPr>
          <p:nvPr userDrawn="1"/>
        </p:nvSpPr>
        <p:spPr bwMode="auto">
          <a:xfrm>
            <a:off x="508001" y="6537326"/>
            <a:ext cx="3805850" cy="246221"/>
          </a:xfrm>
          <a:prstGeom prst="rect">
            <a:avLst/>
          </a:prstGeom>
          <a:noFill/>
          <a:ln w="9525">
            <a:noFill/>
            <a:miter lim="800000"/>
            <a:headEnd/>
            <a:tailEnd/>
          </a:ln>
          <a:effectLst/>
        </p:spPr>
        <p:txBody>
          <a:bodyPr wrap="none">
            <a:spAutoFit/>
          </a:bodyPr>
          <a:lstStyle/>
          <a:p>
            <a:pPr fontAlgn="base">
              <a:spcBef>
                <a:spcPct val="0"/>
              </a:spcBef>
              <a:spcAft>
                <a:spcPct val="0"/>
              </a:spcAft>
            </a:pPr>
            <a:r>
              <a:rPr lang="en-US" sz="1000">
                <a:solidFill>
                  <a:srgbClr val="58595B"/>
                </a:solidFill>
                <a:ea typeface="MS PGothic" pitchFamily="34" charset="-128"/>
              </a:rPr>
              <a:t>AIA confidential and proprietary information. Not for distribution. </a:t>
            </a:r>
          </a:p>
        </p:txBody>
      </p:sp>
    </p:spTree>
    <p:extLst>
      <p:ext uri="{BB962C8B-B14F-4D97-AF65-F5344CB8AC3E}">
        <p14:creationId xmlns:p14="http://schemas.microsoft.com/office/powerpoint/2010/main" val="1951848539"/>
      </p:ext>
    </p:extLst>
  </p:cSld>
  <p:clrMapOvr>
    <a:masterClrMapping/>
  </p:clrMapOvr>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00400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1" lang="en-US"/>
              <a:t>Click to edit Master title style</a:t>
            </a:r>
          </a:p>
        </p:txBody>
      </p:sp>
    </p:spTree>
    <p:extLst>
      <p:ext uri="{BB962C8B-B14F-4D97-AF65-F5344CB8AC3E}">
        <p14:creationId xmlns:p14="http://schemas.microsoft.com/office/powerpoint/2010/main" val="36007772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AIA_thankyou">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2B5BE0-8CB1-E247-A12A-51429A1939EB}"/>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ubtitle 2">
            <a:extLst>
              <a:ext uri="{FF2B5EF4-FFF2-40B4-BE49-F238E27FC236}">
                <a16:creationId xmlns:a16="http://schemas.microsoft.com/office/drawing/2014/main" id="{4A93DA94-6D62-D040-97F3-1DFA5A72C689}"/>
              </a:ext>
            </a:extLst>
          </p:cNvPr>
          <p:cNvSpPr>
            <a:spLocks noGrp="1"/>
          </p:cNvSpPr>
          <p:nvPr>
            <p:ph type="subTitle" idx="1" hasCustomPrompt="1"/>
          </p:nvPr>
        </p:nvSpPr>
        <p:spPr>
          <a:xfrm>
            <a:off x="360000" y="3601225"/>
            <a:ext cx="5080000" cy="358775"/>
          </a:xfrm>
          <a:prstGeom prst="rect">
            <a:avLst/>
          </a:prstGeom>
        </p:spPr>
        <p:txBody>
          <a:bodyPr>
            <a:noAutofit/>
          </a:bodyPr>
          <a:lstStyle>
            <a:lvl1pPr marL="0" indent="0" algn="l">
              <a:lnSpc>
                <a:spcPct val="100000"/>
              </a:lnSpc>
              <a:spcBef>
                <a:spcPts val="600"/>
              </a:spcBef>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Email</a:t>
            </a:r>
          </a:p>
          <a:p>
            <a:r>
              <a:rPr lang="en-US"/>
              <a:t>Date</a:t>
            </a:r>
          </a:p>
        </p:txBody>
      </p:sp>
      <p:sp>
        <p:nvSpPr>
          <p:cNvPr id="6" name="Text Placeholder 11">
            <a:extLst>
              <a:ext uri="{FF2B5EF4-FFF2-40B4-BE49-F238E27FC236}">
                <a16:creationId xmlns:a16="http://schemas.microsoft.com/office/drawing/2014/main" id="{0C3F0DB7-93FA-D243-9648-A59C82E13702}"/>
              </a:ext>
            </a:extLst>
          </p:cNvPr>
          <p:cNvSpPr>
            <a:spLocks noGrp="1"/>
          </p:cNvSpPr>
          <p:nvPr>
            <p:ph type="body" sz="quarter" idx="11" hasCustomPrompt="1"/>
          </p:nvPr>
        </p:nvSpPr>
        <p:spPr>
          <a:xfrm>
            <a:off x="360000" y="2160000"/>
            <a:ext cx="5400000" cy="1269000"/>
          </a:xfrm>
          <a:prstGeom prst="rect">
            <a:avLst/>
          </a:prstGeom>
          <a:noFill/>
        </p:spPr>
        <p:txBody>
          <a:bodyPr>
            <a:noAutofit/>
          </a:bodyPr>
          <a:lstStyle>
            <a:lvl1pPr>
              <a:lnSpc>
                <a:spcPct val="80000"/>
              </a:lnSpc>
              <a:defRPr sz="4800">
                <a:solidFill>
                  <a:schemeClr val="bg1"/>
                </a:solidFill>
              </a:defRPr>
            </a:lvl1pPr>
            <a:lvl2pPr marL="457200" indent="0">
              <a:buNone/>
              <a:defRPr/>
            </a:lvl2pPr>
          </a:lstStyle>
          <a:p>
            <a:pPr lvl="0"/>
            <a:r>
              <a:rPr lang="en-US"/>
              <a:t>Thank you</a:t>
            </a:r>
          </a:p>
        </p:txBody>
      </p:sp>
      <p:sp>
        <p:nvSpPr>
          <p:cNvPr id="8" name="TextBox 7">
            <a:extLst>
              <a:ext uri="{FF2B5EF4-FFF2-40B4-BE49-F238E27FC236}">
                <a16:creationId xmlns:a16="http://schemas.microsoft.com/office/drawing/2014/main" id="{F7BF49BF-4968-8D47-AB2D-21AB12177162}"/>
              </a:ext>
            </a:extLst>
          </p:cNvPr>
          <p:cNvSpPr txBox="1"/>
          <p:nvPr/>
        </p:nvSpPr>
        <p:spPr>
          <a:xfrm>
            <a:off x="360000" y="6336000"/>
            <a:ext cx="5400000" cy="216000"/>
          </a:xfrm>
          <a:prstGeom prst="rect">
            <a:avLst/>
          </a:prstGeom>
          <a:noFill/>
        </p:spPr>
        <p:txBody>
          <a:bodyPr wrap="square" lIns="90000" rtlCol="0" anchor="ctr" anchorCtr="0">
            <a:spAutoFit/>
          </a:bodyPr>
          <a:lstStyle/>
          <a:p>
            <a:r>
              <a:rPr lang="en-GB" sz="800" b="0" i="0">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a:t>
            </a:r>
            <a:endParaRPr lang="en-US" sz="800" b="0" i="0">
              <a:solidFill>
                <a:schemeClr val="bg1"/>
              </a:solidFill>
              <a:latin typeface="Arial" panose="020B0604020202020204" pitchFamily="34" charset="0"/>
              <a:cs typeface="Arial" panose="020B0604020202020204" pitchFamily="34" charset="0"/>
            </a:endParaRPr>
          </a:p>
        </p:txBody>
      </p:sp>
      <p:pic>
        <p:nvPicPr>
          <p:cNvPr id="9" name="Graphic 8">
            <a:extLst>
              <a:ext uri="{FF2B5EF4-FFF2-40B4-BE49-F238E27FC236}">
                <a16:creationId xmlns:a16="http://schemas.microsoft.com/office/drawing/2014/main" id="{3ED15D05-C961-8646-BB6D-8FC2CD9308E9}"/>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25268" b="30387"/>
          <a:stretch/>
        </p:blipFill>
        <p:spPr>
          <a:xfrm>
            <a:off x="6580800" y="0"/>
            <a:ext cx="5611200" cy="6858000"/>
          </a:xfrm>
          <a:prstGeom prst="rect">
            <a:avLst/>
          </a:prstGeom>
        </p:spPr>
      </p:pic>
      <p:pic>
        <p:nvPicPr>
          <p:cNvPr id="10" name="Graphic 9">
            <a:extLst>
              <a:ext uri="{FF2B5EF4-FFF2-40B4-BE49-F238E27FC236}">
                <a16:creationId xmlns:a16="http://schemas.microsoft.com/office/drawing/2014/main" id="{811844A6-A542-4643-96E7-3B2146FB59F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60000" y="360000"/>
            <a:ext cx="1828800" cy="660400"/>
          </a:xfrm>
          <a:prstGeom prst="rect">
            <a:avLst/>
          </a:prstGeom>
        </p:spPr>
      </p:pic>
    </p:spTree>
    <p:extLst>
      <p:ext uri="{BB962C8B-B14F-4D97-AF65-F5344CB8AC3E}">
        <p14:creationId xmlns:p14="http://schemas.microsoft.com/office/powerpoint/2010/main" val="33067771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AIA_thankyou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152BB14-76F8-2944-B40F-795C33C35009}"/>
              </a:ext>
            </a:extLst>
          </p:cNvPr>
          <p:cNvSpPr>
            <a:spLocks noGrp="1"/>
          </p:cNvSpPr>
          <p:nvPr>
            <p:ph type="sldNum" sz="quarter" idx="10"/>
          </p:nvPr>
        </p:nvSpPr>
        <p:spPr/>
        <p:txBody>
          <a:bodyPr/>
          <a:lstStyle/>
          <a:p>
            <a:fld id="{52BD4378-72E1-444F-8B73-E4C8D03E6D72}" type="slidenum">
              <a:rPr lang="en-MY" smtClean="0"/>
              <a:t>‹#›</a:t>
            </a:fld>
            <a:endParaRPr lang="en-MY"/>
          </a:p>
        </p:txBody>
      </p:sp>
      <p:sp>
        <p:nvSpPr>
          <p:cNvPr id="4" name="Rectangle 3">
            <a:extLst>
              <a:ext uri="{FF2B5EF4-FFF2-40B4-BE49-F238E27FC236}">
                <a16:creationId xmlns:a16="http://schemas.microsoft.com/office/drawing/2014/main" id="{C1C215C4-D502-1145-BEDE-9135BB569AC8}"/>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ubtitle 2">
            <a:extLst>
              <a:ext uri="{FF2B5EF4-FFF2-40B4-BE49-F238E27FC236}">
                <a16:creationId xmlns:a16="http://schemas.microsoft.com/office/drawing/2014/main" id="{918A5D15-09DA-7143-BC88-C61C2ED4BD47}"/>
              </a:ext>
            </a:extLst>
          </p:cNvPr>
          <p:cNvSpPr>
            <a:spLocks noGrp="1"/>
          </p:cNvSpPr>
          <p:nvPr>
            <p:ph type="subTitle" idx="1" hasCustomPrompt="1"/>
          </p:nvPr>
        </p:nvSpPr>
        <p:spPr>
          <a:xfrm>
            <a:off x="360000" y="3601225"/>
            <a:ext cx="5080000" cy="358775"/>
          </a:xfrm>
          <a:prstGeom prst="rect">
            <a:avLst/>
          </a:prstGeom>
        </p:spPr>
        <p:txBody>
          <a:bodyPr>
            <a:noAutofit/>
          </a:bodyPr>
          <a:lstStyle>
            <a:lvl1pPr marL="0" indent="0" algn="l">
              <a:lnSpc>
                <a:spcPct val="100000"/>
              </a:lnSpc>
              <a:spcBef>
                <a:spcPts val="600"/>
              </a:spcBef>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err="1"/>
              <a:t>Eamil</a:t>
            </a:r>
            <a:endParaRPr lang="en-US"/>
          </a:p>
          <a:p>
            <a:r>
              <a:rPr lang="en-US"/>
              <a:t>Date</a:t>
            </a:r>
          </a:p>
        </p:txBody>
      </p:sp>
      <p:sp>
        <p:nvSpPr>
          <p:cNvPr id="6" name="Text Placeholder 11">
            <a:extLst>
              <a:ext uri="{FF2B5EF4-FFF2-40B4-BE49-F238E27FC236}">
                <a16:creationId xmlns:a16="http://schemas.microsoft.com/office/drawing/2014/main" id="{0DBD8FA2-009B-A343-8A6F-852906184FBC}"/>
              </a:ext>
            </a:extLst>
          </p:cNvPr>
          <p:cNvSpPr>
            <a:spLocks noGrp="1"/>
          </p:cNvSpPr>
          <p:nvPr>
            <p:ph type="body" sz="quarter" idx="11" hasCustomPrompt="1"/>
          </p:nvPr>
        </p:nvSpPr>
        <p:spPr>
          <a:xfrm>
            <a:off x="360000" y="2160000"/>
            <a:ext cx="5400000" cy="1269000"/>
          </a:xfrm>
          <a:prstGeom prst="rect">
            <a:avLst/>
          </a:prstGeom>
          <a:noFill/>
        </p:spPr>
        <p:txBody>
          <a:bodyPr>
            <a:noAutofit/>
          </a:bodyPr>
          <a:lstStyle>
            <a:lvl1pPr>
              <a:lnSpc>
                <a:spcPct val="80000"/>
              </a:lnSpc>
              <a:defRPr sz="4800">
                <a:solidFill>
                  <a:schemeClr val="bg1"/>
                </a:solidFill>
              </a:defRPr>
            </a:lvl1pPr>
            <a:lvl2pPr marL="457200" indent="0">
              <a:buNone/>
              <a:defRPr/>
            </a:lvl2pPr>
          </a:lstStyle>
          <a:p>
            <a:pPr lvl="0"/>
            <a:r>
              <a:rPr lang="en-US"/>
              <a:t>Thank you</a:t>
            </a:r>
          </a:p>
        </p:txBody>
      </p:sp>
      <p:sp>
        <p:nvSpPr>
          <p:cNvPr id="8" name="TextBox 7">
            <a:extLst>
              <a:ext uri="{FF2B5EF4-FFF2-40B4-BE49-F238E27FC236}">
                <a16:creationId xmlns:a16="http://schemas.microsoft.com/office/drawing/2014/main" id="{F0B79503-7237-3641-981E-325DCCE41061}"/>
              </a:ext>
            </a:extLst>
          </p:cNvPr>
          <p:cNvSpPr txBox="1"/>
          <p:nvPr/>
        </p:nvSpPr>
        <p:spPr>
          <a:xfrm>
            <a:off x="360000" y="6336000"/>
            <a:ext cx="5400000" cy="216000"/>
          </a:xfrm>
          <a:prstGeom prst="rect">
            <a:avLst/>
          </a:prstGeom>
          <a:noFill/>
        </p:spPr>
        <p:txBody>
          <a:bodyPr wrap="square" lIns="90000" rtlCol="0" anchor="ctr" anchorCtr="0">
            <a:spAutoFit/>
          </a:bodyPr>
          <a:lstStyle/>
          <a:p>
            <a:r>
              <a:rPr lang="en-GB" sz="800" b="0" i="0">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a:t>
            </a:r>
            <a:endParaRPr lang="en-US" sz="800" b="0" i="0">
              <a:solidFill>
                <a:schemeClr val="bg1"/>
              </a:solidFill>
              <a:latin typeface="Arial" panose="020B0604020202020204" pitchFamily="34" charset="0"/>
              <a:cs typeface="Arial" panose="020B0604020202020204" pitchFamily="34" charset="0"/>
            </a:endParaRPr>
          </a:p>
        </p:txBody>
      </p:sp>
      <p:pic>
        <p:nvPicPr>
          <p:cNvPr id="9" name="Graphic 8">
            <a:extLst>
              <a:ext uri="{FF2B5EF4-FFF2-40B4-BE49-F238E27FC236}">
                <a16:creationId xmlns:a16="http://schemas.microsoft.com/office/drawing/2014/main" id="{6C0B189B-4F21-1C47-A5F1-FB51AA20F986}"/>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25268" b="30387"/>
          <a:stretch/>
        </p:blipFill>
        <p:spPr>
          <a:xfrm>
            <a:off x="6580800" y="0"/>
            <a:ext cx="5611200" cy="6858000"/>
          </a:xfrm>
          <a:prstGeom prst="rect">
            <a:avLst/>
          </a:prstGeom>
        </p:spPr>
      </p:pic>
      <p:pic>
        <p:nvPicPr>
          <p:cNvPr id="10" name="Graphic 9">
            <a:extLst>
              <a:ext uri="{FF2B5EF4-FFF2-40B4-BE49-F238E27FC236}">
                <a16:creationId xmlns:a16="http://schemas.microsoft.com/office/drawing/2014/main" id="{5A2EC191-932C-BB44-87E4-8E59744F10A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63600" y="360000"/>
            <a:ext cx="635000" cy="660400"/>
          </a:xfrm>
          <a:prstGeom prst="rect">
            <a:avLst/>
          </a:prstGeom>
        </p:spPr>
      </p:pic>
    </p:spTree>
    <p:extLst>
      <p:ext uri="{BB962C8B-B14F-4D97-AF65-F5344CB8AC3E}">
        <p14:creationId xmlns:p14="http://schemas.microsoft.com/office/powerpoint/2010/main" val="455760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AIA_Instruction_Edit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6F8FAA8-3667-594D-B276-4C1A8BC692E3}"/>
              </a:ext>
            </a:extLst>
          </p:cNvPr>
          <p:cNvSpPr>
            <a:spLocks noGrp="1"/>
          </p:cNvSpPr>
          <p:nvPr>
            <p:ph type="sldNum" sz="quarter" idx="10"/>
          </p:nvPr>
        </p:nvSpPr>
        <p:spPr/>
        <p:txBody>
          <a:bodyPr/>
          <a:lstStyle/>
          <a:p>
            <a:fld id="{52BD4378-72E1-444F-8B73-E4C8D03E6D72}" type="slidenum">
              <a:rPr lang="en-MY" smtClean="0"/>
              <a:t>‹#›</a:t>
            </a:fld>
            <a:endParaRPr lang="en-MY"/>
          </a:p>
        </p:txBody>
      </p:sp>
      <p:sp>
        <p:nvSpPr>
          <p:cNvPr id="10" name="TextBox 9">
            <a:extLst>
              <a:ext uri="{FF2B5EF4-FFF2-40B4-BE49-F238E27FC236}">
                <a16:creationId xmlns:a16="http://schemas.microsoft.com/office/drawing/2014/main" id="{B26295BD-213E-DC41-A739-1873573BBDE4}"/>
              </a:ext>
            </a:extLst>
          </p:cNvPr>
          <p:cNvSpPr txBox="1"/>
          <p:nvPr/>
        </p:nvSpPr>
        <p:spPr>
          <a:xfrm>
            <a:off x="552905" y="2522880"/>
            <a:ext cx="3360629" cy="2431435"/>
          </a:xfrm>
          <a:prstGeom prst="rect">
            <a:avLst/>
          </a:prstGeom>
          <a:noFill/>
        </p:spPr>
        <p:txBody>
          <a:bodyPr wrap="square" rtlCol="0">
            <a:spAutoFit/>
          </a:bodyPr>
          <a:lstStyle/>
          <a:p>
            <a:pPr algn="l"/>
            <a:r>
              <a:rPr lang="en-US">
                <a:solidFill>
                  <a:srgbClr val="333D47"/>
                </a:solidFill>
                <a:latin typeface="+mn-lt"/>
                <a:cs typeface="Arial" panose="020B0604020202020204" pitchFamily="34" charset="0"/>
              </a:rPr>
              <a:t>This shape </a:t>
            </a:r>
            <a:r>
              <a:rPr lang="en-US" baseline="0">
                <a:solidFill>
                  <a:srgbClr val="333D47"/>
                </a:solidFill>
                <a:latin typeface="+mn-lt"/>
                <a:cs typeface="Arial" panose="020B0604020202020204" pitchFamily="34" charset="0"/>
              </a:rPr>
              <a:t>is a photo mask. </a:t>
            </a:r>
          </a:p>
          <a:p>
            <a:pPr algn="l"/>
            <a:endParaRPr lang="en-US" baseline="0">
              <a:solidFill>
                <a:srgbClr val="333D47"/>
              </a:solidFill>
              <a:latin typeface="+mn-lt"/>
              <a:cs typeface="Arial" panose="020B0604020202020204" pitchFamily="34" charset="0"/>
            </a:endParaRPr>
          </a:p>
          <a:p>
            <a:pPr algn="l"/>
            <a:endParaRPr lang="en-US" baseline="0">
              <a:solidFill>
                <a:srgbClr val="333D47"/>
              </a:solidFill>
              <a:latin typeface="+mn-lt"/>
              <a:cs typeface="Arial" panose="020B0604020202020204" pitchFamily="34" charset="0"/>
            </a:endParaRPr>
          </a:p>
          <a:p>
            <a:pPr algn="l"/>
            <a:r>
              <a:rPr lang="en-US" sz="1400">
                <a:solidFill>
                  <a:srgbClr val="333D47"/>
                </a:solidFill>
                <a:latin typeface="+mn-lt"/>
              </a:rPr>
              <a:t>On the </a:t>
            </a:r>
            <a:r>
              <a:rPr lang="en-US" sz="1400" b="1">
                <a:solidFill>
                  <a:srgbClr val="333D47"/>
                </a:solidFill>
                <a:latin typeface="+mn-lt"/>
              </a:rPr>
              <a:t>Format Object</a:t>
            </a:r>
            <a:r>
              <a:rPr lang="en-US" sz="1400">
                <a:solidFill>
                  <a:srgbClr val="333D47"/>
                </a:solidFill>
                <a:latin typeface="+mn-lt"/>
              </a:rPr>
              <a:t> pane, on the </a:t>
            </a:r>
            <a:r>
              <a:rPr lang="en-US" sz="1400" b="1">
                <a:solidFill>
                  <a:srgbClr val="333D47"/>
                </a:solidFill>
                <a:latin typeface="+mn-lt"/>
              </a:rPr>
              <a:t>Shape Options</a:t>
            </a:r>
            <a:r>
              <a:rPr lang="en-US" sz="1400">
                <a:solidFill>
                  <a:srgbClr val="333D47"/>
                </a:solidFill>
                <a:latin typeface="+mn-lt"/>
              </a:rPr>
              <a:t> tab, in the </a:t>
            </a:r>
            <a:r>
              <a:rPr lang="en-US" sz="1400" b="1">
                <a:solidFill>
                  <a:srgbClr val="333D47"/>
                </a:solidFill>
                <a:latin typeface="+mn-lt"/>
              </a:rPr>
              <a:t>Fill &amp; Line</a:t>
            </a:r>
            <a:r>
              <a:rPr lang="en-US" sz="1400">
                <a:solidFill>
                  <a:srgbClr val="333D47"/>
                </a:solidFill>
                <a:latin typeface="+mn-lt"/>
              </a:rPr>
              <a:t> group: </a:t>
            </a:r>
          </a:p>
          <a:p>
            <a:pPr algn="l"/>
            <a:r>
              <a:rPr lang="en-US" sz="1400">
                <a:solidFill>
                  <a:srgbClr val="333D47"/>
                </a:solidFill>
                <a:latin typeface="+mn-lt"/>
              </a:rPr>
              <a:t>In the </a:t>
            </a:r>
            <a:r>
              <a:rPr lang="en-US" sz="1400" b="1">
                <a:solidFill>
                  <a:srgbClr val="333D47"/>
                </a:solidFill>
                <a:latin typeface="+mn-lt"/>
              </a:rPr>
              <a:t>Fill</a:t>
            </a:r>
            <a:r>
              <a:rPr lang="en-US" sz="1400">
                <a:solidFill>
                  <a:srgbClr val="333D47"/>
                </a:solidFill>
                <a:latin typeface="+mn-lt"/>
              </a:rPr>
              <a:t> section: </a:t>
            </a:r>
            <a:br>
              <a:rPr lang="en-US" sz="1400">
                <a:solidFill>
                  <a:srgbClr val="333D47"/>
                </a:solidFill>
                <a:latin typeface="+mn-lt"/>
              </a:rPr>
            </a:br>
            <a:r>
              <a:rPr lang="en-US" sz="1400">
                <a:solidFill>
                  <a:srgbClr val="333D47"/>
                </a:solidFill>
                <a:latin typeface="+mn-lt"/>
              </a:rPr>
              <a:t>Choose </a:t>
            </a:r>
            <a:r>
              <a:rPr lang="en-US" sz="1400" b="1">
                <a:solidFill>
                  <a:srgbClr val="333D47"/>
                </a:solidFill>
                <a:latin typeface="+mn-lt"/>
              </a:rPr>
              <a:t>Picture or texture fill</a:t>
            </a:r>
            <a:r>
              <a:rPr lang="en-US" sz="1400">
                <a:solidFill>
                  <a:srgbClr val="333D47"/>
                </a:solidFill>
                <a:latin typeface="+mn-lt"/>
              </a:rPr>
              <a:t>,</a:t>
            </a:r>
            <a:br>
              <a:rPr lang="en-US" sz="1400">
                <a:solidFill>
                  <a:srgbClr val="333D47"/>
                </a:solidFill>
                <a:latin typeface="+mn-lt"/>
              </a:rPr>
            </a:br>
            <a:r>
              <a:rPr lang="en-US" sz="1400">
                <a:solidFill>
                  <a:srgbClr val="333D47"/>
                </a:solidFill>
                <a:latin typeface="+mn-lt"/>
              </a:rPr>
              <a:t>Click on the </a:t>
            </a:r>
            <a:r>
              <a:rPr lang="en-US" sz="1400" b="1">
                <a:solidFill>
                  <a:srgbClr val="333D47"/>
                </a:solidFill>
                <a:latin typeface="+mn-lt"/>
              </a:rPr>
              <a:t>insert...</a:t>
            </a:r>
            <a:r>
              <a:rPr lang="en-US" sz="1400">
                <a:solidFill>
                  <a:srgbClr val="333D47"/>
                </a:solidFill>
                <a:latin typeface="+mn-lt"/>
              </a:rPr>
              <a:t> button and then choose the picture you prefer:</a:t>
            </a:r>
          </a:p>
        </p:txBody>
      </p:sp>
      <p:sp>
        <p:nvSpPr>
          <p:cNvPr id="11" name="Manual Input 7">
            <a:extLst>
              <a:ext uri="{FF2B5EF4-FFF2-40B4-BE49-F238E27FC236}">
                <a16:creationId xmlns:a16="http://schemas.microsoft.com/office/drawing/2014/main" id="{D38D3221-DA6A-1041-9128-A245568D215E}"/>
              </a:ext>
            </a:extLst>
          </p:cNvPr>
          <p:cNvSpPr/>
          <p:nvPr/>
        </p:nvSpPr>
        <p:spPr>
          <a:xfrm>
            <a:off x="5129811" y="-1"/>
            <a:ext cx="7065797" cy="685801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4419 h 12419"/>
              <a:gd name="connsiteX1" fmla="*/ 4692 w 10000"/>
              <a:gd name="connsiteY1" fmla="*/ 0 h 12419"/>
              <a:gd name="connsiteX2" fmla="*/ 10000 w 10000"/>
              <a:gd name="connsiteY2" fmla="*/ 12419 h 12419"/>
              <a:gd name="connsiteX3" fmla="*/ 0 w 10000"/>
              <a:gd name="connsiteY3" fmla="*/ 12419 h 12419"/>
              <a:gd name="connsiteX4" fmla="*/ 0 w 10000"/>
              <a:gd name="connsiteY4" fmla="*/ 4419 h 12419"/>
              <a:gd name="connsiteX0" fmla="*/ 0 w 12463"/>
              <a:gd name="connsiteY0" fmla="*/ 4419 h 12419"/>
              <a:gd name="connsiteX1" fmla="*/ 4692 w 12463"/>
              <a:gd name="connsiteY1" fmla="*/ 0 h 12419"/>
              <a:gd name="connsiteX2" fmla="*/ 12463 w 12463"/>
              <a:gd name="connsiteY2" fmla="*/ 109 h 12419"/>
              <a:gd name="connsiteX3" fmla="*/ 0 w 12463"/>
              <a:gd name="connsiteY3" fmla="*/ 12419 h 12419"/>
              <a:gd name="connsiteX4" fmla="*/ 0 w 12463"/>
              <a:gd name="connsiteY4" fmla="*/ 4419 h 12419"/>
              <a:gd name="connsiteX0" fmla="*/ 0 w 12463"/>
              <a:gd name="connsiteY0" fmla="*/ 4419 h 12419"/>
              <a:gd name="connsiteX1" fmla="*/ 4692 w 12463"/>
              <a:gd name="connsiteY1" fmla="*/ 0 h 12419"/>
              <a:gd name="connsiteX2" fmla="*/ 12463 w 12463"/>
              <a:gd name="connsiteY2" fmla="*/ 109 h 12419"/>
              <a:gd name="connsiteX3" fmla="*/ 11261 w 12463"/>
              <a:gd name="connsiteY3" fmla="*/ 1300 h 12419"/>
              <a:gd name="connsiteX4" fmla="*/ 0 w 12463"/>
              <a:gd name="connsiteY4" fmla="*/ 12419 h 12419"/>
              <a:gd name="connsiteX5" fmla="*/ 0 w 12463"/>
              <a:gd name="connsiteY5" fmla="*/ 4419 h 12419"/>
              <a:gd name="connsiteX0" fmla="*/ 0 w 12463"/>
              <a:gd name="connsiteY0" fmla="*/ 4419 h 12419"/>
              <a:gd name="connsiteX1" fmla="*/ 4692 w 12463"/>
              <a:gd name="connsiteY1" fmla="*/ 0 h 12419"/>
              <a:gd name="connsiteX2" fmla="*/ 12463 w 12463"/>
              <a:gd name="connsiteY2" fmla="*/ 109 h 12419"/>
              <a:gd name="connsiteX3" fmla="*/ 12405 w 12463"/>
              <a:gd name="connsiteY3" fmla="*/ 1083 h 12419"/>
              <a:gd name="connsiteX4" fmla="*/ 0 w 12463"/>
              <a:gd name="connsiteY4" fmla="*/ 12419 h 12419"/>
              <a:gd name="connsiteX5" fmla="*/ 0 w 12463"/>
              <a:gd name="connsiteY5" fmla="*/ 4419 h 12419"/>
              <a:gd name="connsiteX0" fmla="*/ 0 w 17771"/>
              <a:gd name="connsiteY0" fmla="*/ 7849 h 12419"/>
              <a:gd name="connsiteX1" fmla="*/ 10000 w 17771"/>
              <a:gd name="connsiteY1" fmla="*/ 0 h 12419"/>
              <a:gd name="connsiteX2" fmla="*/ 17771 w 17771"/>
              <a:gd name="connsiteY2" fmla="*/ 109 h 12419"/>
              <a:gd name="connsiteX3" fmla="*/ 17713 w 17771"/>
              <a:gd name="connsiteY3" fmla="*/ 1083 h 12419"/>
              <a:gd name="connsiteX4" fmla="*/ 5308 w 17771"/>
              <a:gd name="connsiteY4" fmla="*/ 12419 h 12419"/>
              <a:gd name="connsiteX5" fmla="*/ 0 w 17771"/>
              <a:gd name="connsiteY5" fmla="*/ 7849 h 12419"/>
              <a:gd name="connsiteX0" fmla="*/ 0 w 17771"/>
              <a:gd name="connsiteY0" fmla="*/ 7849 h 21444"/>
              <a:gd name="connsiteX1" fmla="*/ 10000 w 17771"/>
              <a:gd name="connsiteY1" fmla="*/ 0 h 21444"/>
              <a:gd name="connsiteX2" fmla="*/ 17771 w 17771"/>
              <a:gd name="connsiteY2" fmla="*/ 109 h 21444"/>
              <a:gd name="connsiteX3" fmla="*/ 17713 w 17771"/>
              <a:gd name="connsiteY3" fmla="*/ 1083 h 21444"/>
              <a:gd name="connsiteX4" fmla="*/ 10645 w 17771"/>
              <a:gd name="connsiteY4" fmla="*/ 21444 h 21444"/>
              <a:gd name="connsiteX5" fmla="*/ 0 w 17771"/>
              <a:gd name="connsiteY5" fmla="*/ 7849 h 21444"/>
              <a:gd name="connsiteX0" fmla="*/ 0 w 17771"/>
              <a:gd name="connsiteY0" fmla="*/ 7849 h 21444"/>
              <a:gd name="connsiteX1" fmla="*/ 10000 w 17771"/>
              <a:gd name="connsiteY1" fmla="*/ 0 h 21444"/>
              <a:gd name="connsiteX2" fmla="*/ 17771 w 17771"/>
              <a:gd name="connsiteY2" fmla="*/ 109 h 21444"/>
              <a:gd name="connsiteX3" fmla="*/ 17713 w 17771"/>
              <a:gd name="connsiteY3" fmla="*/ 1083 h 21444"/>
              <a:gd name="connsiteX4" fmla="*/ 11906 w 17771"/>
              <a:gd name="connsiteY4" fmla="*/ 17726 h 21444"/>
              <a:gd name="connsiteX5" fmla="*/ 10645 w 17771"/>
              <a:gd name="connsiteY5" fmla="*/ 21444 h 21444"/>
              <a:gd name="connsiteX6" fmla="*/ 0 w 17771"/>
              <a:gd name="connsiteY6" fmla="*/ 7849 h 21444"/>
              <a:gd name="connsiteX0" fmla="*/ 0 w 17771"/>
              <a:gd name="connsiteY0" fmla="*/ 7849 h 21444"/>
              <a:gd name="connsiteX1" fmla="*/ 10000 w 17771"/>
              <a:gd name="connsiteY1" fmla="*/ 0 h 21444"/>
              <a:gd name="connsiteX2" fmla="*/ 17771 w 17771"/>
              <a:gd name="connsiteY2" fmla="*/ 109 h 21444"/>
              <a:gd name="connsiteX3" fmla="*/ 17713 w 17771"/>
              <a:gd name="connsiteY3" fmla="*/ 1083 h 21444"/>
              <a:gd name="connsiteX4" fmla="*/ 12463 w 17771"/>
              <a:gd name="connsiteY4" fmla="*/ 21192 h 21444"/>
              <a:gd name="connsiteX5" fmla="*/ 10645 w 17771"/>
              <a:gd name="connsiteY5" fmla="*/ 21444 h 21444"/>
              <a:gd name="connsiteX6" fmla="*/ 0 w 17771"/>
              <a:gd name="connsiteY6" fmla="*/ 7849 h 21444"/>
              <a:gd name="connsiteX0" fmla="*/ 0 w 17771"/>
              <a:gd name="connsiteY0" fmla="*/ 7849 h 21192"/>
              <a:gd name="connsiteX1" fmla="*/ 10000 w 17771"/>
              <a:gd name="connsiteY1" fmla="*/ 0 h 21192"/>
              <a:gd name="connsiteX2" fmla="*/ 17771 w 17771"/>
              <a:gd name="connsiteY2" fmla="*/ 109 h 21192"/>
              <a:gd name="connsiteX3" fmla="*/ 17713 w 17771"/>
              <a:gd name="connsiteY3" fmla="*/ 1083 h 21192"/>
              <a:gd name="connsiteX4" fmla="*/ 12463 w 17771"/>
              <a:gd name="connsiteY4" fmla="*/ 21192 h 21192"/>
              <a:gd name="connsiteX5" fmla="*/ 10469 w 17771"/>
              <a:gd name="connsiteY5" fmla="*/ 21191 h 21192"/>
              <a:gd name="connsiteX6" fmla="*/ 0 w 17771"/>
              <a:gd name="connsiteY6" fmla="*/ 7849 h 21192"/>
              <a:gd name="connsiteX0" fmla="*/ 0 w 17771"/>
              <a:gd name="connsiteY0" fmla="*/ 7849 h 21192"/>
              <a:gd name="connsiteX1" fmla="*/ 10000 w 17771"/>
              <a:gd name="connsiteY1" fmla="*/ 0 h 21192"/>
              <a:gd name="connsiteX2" fmla="*/ 17771 w 17771"/>
              <a:gd name="connsiteY2" fmla="*/ 109 h 21192"/>
              <a:gd name="connsiteX3" fmla="*/ 17684 w 17771"/>
              <a:gd name="connsiteY3" fmla="*/ 11227 h 21192"/>
              <a:gd name="connsiteX4" fmla="*/ 12463 w 17771"/>
              <a:gd name="connsiteY4" fmla="*/ 21192 h 21192"/>
              <a:gd name="connsiteX5" fmla="*/ 10469 w 17771"/>
              <a:gd name="connsiteY5" fmla="*/ 21191 h 21192"/>
              <a:gd name="connsiteX6" fmla="*/ 0 w 17771"/>
              <a:gd name="connsiteY6" fmla="*/ 7849 h 21192"/>
              <a:gd name="connsiteX0" fmla="*/ 0 w 17712"/>
              <a:gd name="connsiteY0" fmla="*/ 8174 h 21192"/>
              <a:gd name="connsiteX1" fmla="*/ 9941 w 17712"/>
              <a:gd name="connsiteY1" fmla="*/ 0 h 21192"/>
              <a:gd name="connsiteX2" fmla="*/ 17712 w 17712"/>
              <a:gd name="connsiteY2" fmla="*/ 109 h 21192"/>
              <a:gd name="connsiteX3" fmla="*/ 17625 w 17712"/>
              <a:gd name="connsiteY3" fmla="*/ 11227 h 21192"/>
              <a:gd name="connsiteX4" fmla="*/ 12404 w 17712"/>
              <a:gd name="connsiteY4" fmla="*/ 21192 h 21192"/>
              <a:gd name="connsiteX5" fmla="*/ 10410 w 17712"/>
              <a:gd name="connsiteY5" fmla="*/ 21191 h 21192"/>
              <a:gd name="connsiteX6" fmla="*/ 0 w 17712"/>
              <a:gd name="connsiteY6" fmla="*/ 8174 h 21192"/>
              <a:gd name="connsiteX0" fmla="*/ 0 w 17712"/>
              <a:gd name="connsiteY0" fmla="*/ 8174 h 21192"/>
              <a:gd name="connsiteX1" fmla="*/ 394 w 17712"/>
              <a:gd name="connsiteY1" fmla="*/ 7814 h 21192"/>
              <a:gd name="connsiteX2" fmla="*/ 9941 w 17712"/>
              <a:gd name="connsiteY2" fmla="*/ 0 h 21192"/>
              <a:gd name="connsiteX3" fmla="*/ 17712 w 17712"/>
              <a:gd name="connsiteY3" fmla="*/ 109 h 21192"/>
              <a:gd name="connsiteX4" fmla="*/ 17625 w 17712"/>
              <a:gd name="connsiteY4" fmla="*/ 11227 h 21192"/>
              <a:gd name="connsiteX5" fmla="*/ 12404 w 17712"/>
              <a:gd name="connsiteY5" fmla="*/ 21192 h 21192"/>
              <a:gd name="connsiteX6" fmla="*/ 10410 w 17712"/>
              <a:gd name="connsiteY6" fmla="*/ 21191 h 21192"/>
              <a:gd name="connsiteX7" fmla="*/ 0 w 17712"/>
              <a:gd name="connsiteY7" fmla="*/ 8174 h 21192"/>
              <a:gd name="connsiteX0" fmla="*/ 0 w 17712"/>
              <a:gd name="connsiteY0" fmla="*/ 8174 h 21192"/>
              <a:gd name="connsiteX1" fmla="*/ 211 w 17712"/>
              <a:gd name="connsiteY1" fmla="*/ 7708 h 21192"/>
              <a:gd name="connsiteX2" fmla="*/ 9941 w 17712"/>
              <a:gd name="connsiteY2" fmla="*/ 0 h 21192"/>
              <a:gd name="connsiteX3" fmla="*/ 17712 w 17712"/>
              <a:gd name="connsiteY3" fmla="*/ 109 h 21192"/>
              <a:gd name="connsiteX4" fmla="*/ 17625 w 17712"/>
              <a:gd name="connsiteY4" fmla="*/ 11227 h 21192"/>
              <a:gd name="connsiteX5" fmla="*/ 12404 w 17712"/>
              <a:gd name="connsiteY5" fmla="*/ 21192 h 21192"/>
              <a:gd name="connsiteX6" fmla="*/ 10410 w 17712"/>
              <a:gd name="connsiteY6" fmla="*/ 21191 h 21192"/>
              <a:gd name="connsiteX7" fmla="*/ 0 w 17712"/>
              <a:gd name="connsiteY7" fmla="*/ 8174 h 21192"/>
              <a:gd name="connsiteX0" fmla="*/ 7 w 17719"/>
              <a:gd name="connsiteY0" fmla="*/ 8174 h 21192"/>
              <a:gd name="connsiteX1" fmla="*/ 218 w 17719"/>
              <a:gd name="connsiteY1" fmla="*/ 7708 h 21192"/>
              <a:gd name="connsiteX2" fmla="*/ 9948 w 17719"/>
              <a:gd name="connsiteY2" fmla="*/ 0 h 21192"/>
              <a:gd name="connsiteX3" fmla="*/ 17719 w 17719"/>
              <a:gd name="connsiteY3" fmla="*/ 109 h 21192"/>
              <a:gd name="connsiteX4" fmla="*/ 17632 w 17719"/>
              <a:gd name="connsiteY4" fmla="*/ 11227 h 21192"/>
              <a:gd name="connsiteX5" fmla="*/ 12411 w 17719"/>
              <a:gd name="connsiteY5" fmla="*/ 21192 h 21192"/>
              <a:gd name="connsiteX6" fmla="*/ 10417 w 17719"/>
              <a:gd name="connsiteY6" fmla="*/ 21191 h 21192"/>
              <a:gd name="connsiteX7" fmla="*/ 7 w 17719"/>
              <a:gd name="connsiteY7" fmla="*/ 8174 h 21192"/>
              <a:gd name="connsiteX0" fmla="*/ 51 w 17763"/>
              <a:gd name="connsiteY0" fmla="*/ 8174 h 21192"/>
              <a:gd name="connsiteX1" fmla="*/ 262 w 17763"/>
              <a:gd name="connsiteY1" fmla="*/ 7708 h 21192"/>
              <a:gd name="connsiteX2" fmla="*/ 9992 w 17763"/>
              <a:gd name="connsiteY2" fmla="*/ 0 h 21192"/>
              <a:gd name="connsiteX3" fmla="*/ 17763 w 17763"/>
              <a:gd name="connsiteY3" fmla="*/ 109 h 21192"/>
              <a:gd name="connsiteX4" fmla="*/ 17676 w 17763"/>
              <a:gd name="connsiteY4" fmla="*/ 11227 h 21192"/>
              <a:gd name="connsiteX5" fmla="*/ 12455 w 17763"/>
              <a:gd name="connsiteY5" fmla="*/ 21192 h 21192"/>
              <a:gd name="connsiteX6" fmla="*/ 10461 w 17763"/>
              <a:gd name="connsiteY6" fmla="*/ 21191 h 21192"/>
              <a:gd name="connsiteX7" fmla="*/ 51 w 17763"/>
              <a:gd name="connsiteY7" fmla="*/ 8174 h 21192"/>
              <a:gd name="connsiteX0" fmla="*/ 104 w 17713"/>
              <a:gd name="connsiteY0" fmla="*/ 8301 h 21192"/>
              <a:gd name="connsiteX1" fmla="*/ 212 w 17713"/>
              <a:gd name="connsiteY1" fmla="*/ 7708 h 21192"/>
              <a:gd name="connsiteX2" fmla="*/ 9942 w 17713"/>
              <a:gd name="connsiteY2" fmla="*/ 0 h 21192"/>
              <a:gd name="connsiteX3" fmla="*/ 17713 w 17713"/>
              <a:gd name="connsiteY3" fmla="*/ 109 h 21192"/>
              <a:gd name="connsiteX4" fmla="*/ 17626 w 17713"/>
              <a:gd name="connsiteY4" fmla="*/ 11227 h 21192"/>
              <a:gd name="connsiteX5" fmla="*/ 12405 w 17713"/>
              <a:gd name="connsiteY5" fmla="*/ 21192 h 21192"/>
              <a:gd name="connsiteX6" fmla="*/ 10411 w 17713"/>
              <a:gd name="connsiteY6" fmla="*/ 21191 h 21192"/>
              <a:gd name="connsiteX7" fmla="*/ 104 w 17713"/>
              <a:gd name="connsiteY7" fmla="*/ 8301 h 21192"/>
              <a:gd name="connsiteX0" fmla="*/ 136 w 17745"/>
              <a:gd name="connsiteY0" fmla="*/ 8301 h 21192"/>
              <a:gd name="connsiteX1" fmla="*/ 244 w 17745"/>
              <a:gd name="connsiteY1" fmla="*/ 7708 h 21192"/>
              <a:gd name="connsiteX2" fmla="*/ 9974 w 17745"/>
              <a:gd name="connsiteY2" fmla="*/ 0 h 21192"/>
              <a:gd name="connsiteX3" fmla="*/ 17745 w 17745"/>
              <a:gd name="connsiteY3" fmla="*/ 109 h 21192"/>
              <a:gd name="connsiteX4" fmla="*/ 17658 w 17745"/>
              <a:gd name="connsiteY4" fmla="*/ 11227 h 21192"/>
              <a:gd name="connsiteX5" fmla="*/ 12437 w 17745"/>
              <a:gd name="connsiteY5" fmla="*/ 21192 h 21192"/>
              <a:gd name="connsiteX6" fmla="*/ 10443 w 17745"/>
              <a:gd name="connsiteY6" fmla="*/ 21191 h 21192"/>
              <a:gd name="connsiteX7" fmla="*/ 136 w 17745"/>
              <a:gd name="connsiteY7" fmla="*/ 8301 h 21192"/>
              <a:gd name="connsiteX0" fmla="*/ 136 w 17745"/>
              <a:gd name="connsiteY0" fmla="*/ 8301 h 21192"/>
              <a:gd name="connsiteX1" fmla="*/ 244 w 17745"/>
              <a:gd name="connsiteY1" fmla="*/ 7708 h 21192"/>
              <a:gd name="connsiteX2" fmla="*/ 9974 w 17745"/>
              <a:gd name="connsiteY2" fmla="*/ 0 h 21192"/>
              <a:gd name="connsiteX3" fmla="*/ 17745 w 17745"/>
              <a:gd name="connsiteY3" fmla="*/ 109 h 21192"/>
              <a:gd name="connsiteX4" fmla="*/ 17658 w 17745"/>
              <a:gd name="connsiteY4" fmla="*/ 11227 h 21192"/>
              <a:gd name="connsiteX5" fmla="*/ 12437 w 17745"/>
              <a:gd name="connsiteY5" fmla="*/ 21192 h 21192"/>
              <a:gd name="connsiteX6" fmla="*/ 10372 w 17745"/>
              <a:gd name="connsiteY6" fmla="*/ 21191 h 21192"/>
              <a:gd name="connsiteX7" fmla="*/ 136 w 17745"/>
              <a:gd name="connsiteY7" fmla="*/ 8301 h 21192"/>
              <a:gd name="connsiteX0" fmla="*/ 136 w 17745"/>
              <a:gd name="connsiteY0" fmla="*/ 8301 h 21192"/>
              <a:gd name="connsiteX1" fmla="*/ 244 w 17745"/>
              <a:gd name="connsiteY1" fmla="*/ 7708 h 21192"/>
              <a:gd name="connsiteX2" fmla="*/ 9974 w 17745"/>
              <a:gd name="connsiteY2" fmla="*/ 0 h 21192"/>
              <a:gd name="connsiteX3" fmla="*/ 17745 w 17745"/>
              <a:gd name="connsiteY3" fmla="*/ 109 h 21192"/>
              <a:gd name="connsiteX4" fmla="*/ 17595 w 17745"/>
              <a:gd name="connsiteY4" fmla="*/ 11549 h 21192"/>
              <a:gd name="connsiteX5" fmla="*/ 12437 w 17745"/>
              <a:gd name="connsiteY5" fmla="*/ 21192 h 21192"/>
              <a:gd name="connsiteX6" fmla="*/ 10372 w 17745"/>
              <a:gd name="connsiteY6" fmla="*/ 21191 h 21192"/>
              <a:gd name="connsiteX7" fmla="*/ 136 w 17745"/>
              <a:gd name="connsiteY7" fmla="*/ 8301 h 21192"/>
              <a:gd name="connsiteX0" fmla="*/ 136 w 17600"/>
              <a:gd name="connsiteY0" fmla="*/ 8301 h 21192"/>
              <a:gd name="connsiteX1" fmla="*/ 244 w 17600"/>
              <a:gd name="connsiteY1" fmla="*/ 7708 h 21192"/>
              <a:gd name="connsiteX2" fmla="*/ 9974 w 17600"/>
              <a:gd name="connsiteY2" fmla="*/ 0 h 21192"/>
              <a:gd name="connsiteX3" fmla="*/ 17595 w 17600"/>
              <a:gd name="connsiteY3" fmla="*/ 128 h 21192"/>
              <a:gd name="connsiteX4" fmla="*/ 17595 w 17600"/>
              <a:gd name="connsiteY4" fmla="*/ 11549 h 21192"/>
              <a:gd name="connsiteX5" fmla="*/ 12437 w 17600"/>
              <a:gd name="connsiteY5" fmla="*/ 21192 h 21192"/>
              <a:gd name="connsiteX6" fmla="*/ 10372 w 17600"/>
              <a:gd name="connsiteY6" fmla="*/ 21191 h 21192"/>
              <a:gd name="connsiteX7" fmla="*/ 136 w 17600"/>
              <a:gd name="connsiteY7" fmla="*/ 8301 h 21192"/>
              <a:gd name="connsiteX0" fmla="*/ 136 w 17596"/>
              <a:gd name="connsiteY0" fmla="*/ 8301 h 21192"/>
              <a:gd name="connsiteX1" fmla="*/ 244 w 17596"/>
              <a:gd name="connsiteY1" fmla="*/ 7708 h 21192"/>
              <a:gd name="connsiteX2" fmla="*/ 9974 w 17596"/>
              <a:gd name="connsiteY2" fmla="*/ 0 h 21192"/>
              <a:gd name="connsiteX3" fmla="*/ 17445 w 17596"/>
              <a:gd name="connsiteY3" fmla="*/ 206 h 21192"/>
              <a:gd name="connsiteX4" fmla="*/ 17595 w 17596"/>
              <a:gd name="connsiteY4" fmla="*/ 11549 h 21192"/>
              <a:gd name="connsiteX5" fmla="*/ 12437 w 17596"/>
              <a:gd name="connsiteY5" fmla="*/ 21192 h 21192"/>
              <a:gd name="connsiteX6" fmla="*/ 10372 w 17596"/>
              <a:gd name="connsiteY6" fmla="*/ 21191 h 21192"/>
              <a:gd name="connsiteX7" fmla="*/ 136 w 17596"/>
              <a:gd name="connsiteY7" fmla="*/ 8301 h 21192"/>
              <a:gd name="connsiteX0" fmla="*/ 136 w 17611"/>
              <a:gd name="connsiteY0" fmla="*/ 8301 h 21192"/>
              <a:gd name="connsiteX1" fmla="*/ 244 w 17611"/>
              <a:gd name="connsiteY1" fmla="*/ 7708 h 21192"/>
              <a:gd name="connsiteX2" fmla="*/ 9974 w 17611"/>
              <a:gd name="connsiteY2" fmla="*/ 0 h 21192"/>
              <a:gd name="connsiteX3" fmla="*/ 17611 w 17611"/>
              <a:gd name="connsiteY3" fmla="*/ 128 h 21192"/>
              <a:gd name="connsiteX4" fmla="*/ 17595 w 17611"/>
              <a:gd name="connsiteY4" fmla="*/ 11549 h 21192"/>
              <a:gd name="connsiteX5" fmla="*/ 12437 w 17611"/>
              <a:gd name="connsiteY5" fmla="*/ 21192 h 21192"/>
              <a:gd name="connsiteX6" fmla="*/ 10372 w 17611"/>
              <a:gd name="connsiteY6" fmla="*/ 21191 h 21192"/>
              <a:gd name="connsiteX7" fmla="*/ 136 w 17611"/>
              <a:gd name="connsiteY7" fmla="*/ 8301 h 21192"/>
              <a:gd name="connsiteX0" fmla="*/ 136 w 17611"/>
              <a:gd name="connsiteY0" fmla="*/ 8204 h 21095"/>
              <a:gd name="connsiteX1" fmla="*/ 244 w 17611"/>
              <a:gd name="connsiteY1" fmla="*/ 7611 h 21095"/>
              <a:gd name="connsiteX2" fmla="*/ 9855 w 17611"/>
              <a:gd name="connsiteY2" fmla="*/ 0 h 21095"/>
              <a:gd name="connsiteX3" fmla="*/ 17611 w 17611"/>
              <a:gd name="connsiteY3" fmla="*/ 31 h 21095"/>
              <a:gd name="connsiteX4" fmla="*/ 17595 w 17611"/>
              <a:gd name="connsiteY4" fmla="*/ 11452 h 21095"/>
              <a:gd name="connsiteX5" fmla="*/ 12437 w 17611"/>
              <a:gd name="connsiteY5" fmla="*/ 21095 h 21095"/>
              <a:gd name="connsiteX6" fmla="*/ 10372 w 17611"/>
              <a:gd name="connsiteY6" fmla="*/ 21094 h 21095"/>
              <a:gd name="connsiteX7" fmla="*/ 136 w 17611"/>
              <a:gd name="connsiteY7" fmla="*/ 8204 h 21095"/>
              <a:gd name="connsiteX0" fmla="*/ 136 w 17600"/>
              <a:gd name="connsiteY0" fmla="*/ 8204 h 21095"/>
              <a:gd name="connsiteX1" fmla="*/ 244 w 17600"/>
              <a:gd name="connsiteY1" fmla="*/ 7611 h 21095"/>
              <a:gd name="connsiteX2" fmla="*/ 9855 w 17600"/>
              <a:gd name="connsiteY2" fmla="*/ 0 h 21095"/>
              <a:gd name="connsiteX3" fmla="*/ 17595 w 17600"/>
              <a:gd name="connsiteY3" fmla="*/ 21 h 21095"/>
              <a:gd name="connsiteX4" fmla="*/ 17595 w 17600"/>
              <a:gd name="connsiteY4" fmla="*/ 11452 h 21095"/>
              <a:gd name="connsiteX5" fmla="*/ 12437 w 17600"/>
              <a:gd name="connsiteY5" fmla="*/ 21095 h 21095"/>
              <a:gd name="connsiteX6" fmla="*/ 10372 w 17600"/>
              <a:gd name="connsiteY6" fmla="*/ 21094 h 21095"/>
              <a:gd name="connsiteX7" fmla="*/ 136 w 17600"/>
              <a:gd name="connsiteY7" fmla="*/ 8204 h 21095"/>
              <a:gd name="connsiteX0" fmla="*/ 136 w 17610"/>
              <a:gd name="connsiteY0" fmla="*/ 8204 h 21095"/>
              <a:gd name="connsiteX1" fmla="*/ 244 w 17610"/>
              <a:gd name="connsiteY1" fmla="*/ 7611 h 21095"/>
              <a:gd name="connsiteX2" fmla="*/ 9855 w 17610"/>
              <a:gd name="connsiteY2" fmla="*/ 0 h 21095"/>
              <a:gd name="connsiteX3" fmla="*/ 17595 w 17610"/>
              <a:gd name="connsiteY3" fmla="*/ 21 h 21095"/>
              <a:gd name="connsiteX4" fmla="*/ 17595 w 17610"/>
              <a:gd name="connsiteY4" fmla="*/ 11452 h 21095"/>
              <a:gd name="connsiteX5" fmla="*/ 12437 w 17610"/>
              <a:gd name="connsiteY5" fmla="*/ 21095 h 21095"/>
              <a:gd name="connsiteX6" fmla="*/ 10372 w 17610"/>
              <a:gd name="connsiteY6" fmla="*/ 21094 h 21095"/>
              <a:gd name="connsiteX7" fmla="*/ 136 w 17610"/>
              <a:gd name="connsiteY7" fmla="*/ 8204 h 21095"/>
              <a:gd name="connsiteX0" fmla="*/ 136 w 17601"/>
              <a:gd name="connsiteY0" fmla="*/ 8204 h 21095"/>
              <a:gd name="connsiteX1" fmla="*/ 244 w 17601"/>
              <a:gd name="connsiteY1" fmla="*/ 7611 h 21095"/>
              <a:gd name="connsiteX2" fmla="*/ 9855 w 17601"/>
              <a:gd name="connsiteY2" fmla="*/ 0 h 21095"/>
              <a:gd name="connsiteX3" fmla="*/ 17595 w 17601"/>
              <a:gd name="connsiteY3" fmla="*/ 21 h 21095"/>
              <a:gd name="connsiteX4" fmla="*/ 17595 w 17601"/>
              <a:gd name="connsiteY4" fmla="*/ 11452 h 21095"/>
              <a:gd name="connsiteX5" fmla="*/ 12437 w 17601"/>
              <a:gd name="connsiteY5" fmla="*/ 21095 h 21095"/>
              <a:gd name="connsiteX6" fmla="*/ 10372 w 17601"/>
              <a:gd name="connsiteY6" fmla="*/ 21094 h 21095"/>
              <a:gd name="connsiteX7" fmla="*/ 136 w 17601"/>
              <a:gd name="connsiteY7" fmla="*/ 8204 h 21095"/>
              <a:gd name="connsiteX0" fmla="*/ 136 w 17610"/>
              <a:gd name="connsiteY0" fmla="*/ 8204 h 21095"/>
              <a:gd name="connsiteX1" fmla="*/ 244 w 17610"/>
              <a:gd name="connsiteY1" fmla="*/ 7611 h 21095"/>
              <a:gd name="connsiteX2" fmla="*/ 9855 w 17610"/>
              <a:gd name="connsiteY2" fmla="*/ 0 h 21095"/>
              <a:gd name="connsiteX3" fmla="*/ 17595 w 17610"/>
              <a:gd name="connsiteY3" fmla="*/ 21 h 21095"/>
              <a:gd name="connsiteX4" fmla="*/ 17595 w 17610"/>
              <a:gd name="connsiteY4" fmla="*/ 11452 h 21095"/>
              <a:gd name="connsiteX5" fmla="*/ 12437 w 17610"/>
              <a:gd name="connsiteY5" fmla="*/ 21095 h 21095"/>
              <a:gd name="connsiteX6" fmla="*/ 10372 w 17610"/>
              <a:gd name="connsiteY6" fmla="*/ 21094 h 21095"/>
              <a:gd name="connsiteX7" fmla="*/ 136 w 17610"/>
              <a:gd name="connsiteY7" fmla="*/ 8204 h 21095"/>
              <a:gd name="connsiteX0" fmla="*/ 136 w 17620"/>
              <a:gd name="connsiteY0" fmla="*/ 8204 h 21095"/>
              <a:gd name="connsiteX1" fmla="*/ 244 w 17620"/>
              <a:gd name="connsiteY1" fmla="*/ 7611 h 21095"/>
              <a:gd name="connsiteX2" fmla="*/ 9855 w 17620"/>
              <a:gd name="connsiteY2" fmla="*/ 0 h 21095"/>
              <a:gd name="connsiteX3" fmla="*/ 17611 w 17620"/>
              <a:gd name="connsiteY3" fmla="*/ 11 h 21095"/>
              <a:gd name="connsiteX4" fmla="*/ 17595 w 17620"/>
              <a:gd name="connsiteY4" fmla="*/ 11452 h 21095"/>
              <a:gd name="connsiteX5" fmla="*/ 12437 w 17620"/>
              <a:gd name="connsiteY5" fmla="*/ 21095 h 21095"/>
              <a:gd name="connsiteX6" fmla="*/ 10372 w 17620"/>
              <a:gd name="connsiteY6" fmla="*/ 21094 h 21095"/>
              <a:gd name="connsiteX7" fmla="*/ 136 w 17620"/>
              <a:gd name="connsiteY7" fmla="*/ 8204 h 21095"/>
              <a:gd name="connsiteX0" fmla="*/ 136 w 17620"/>
              <a:gd name="connsiteY0" fmla="*/ 8204 h 21094"/>
              <a:gd name="connsiteX1" fmla="*/ 244 w 17620"/>
              <a:gd name="connsiteY1" fmla="*/ 7611 h 21094"/>
              <a:gd name="connsiteX2" fmla="*/ 9855 w 17620"/>
              <a:gd name="connsiteY2" fmla="*/ 0 h 21094"/>
              <a:gd name="connsiteX3" fmla="*/ 17611 w 17620"/>
              <a:gd name="connsiteY3" fmla="*/ 11 h 21094"/>
              <a:gd name="connsiteX4" fmla="*/ 17595 w 17620"/>
              <a:gd name="connsiteY4" fmla="*/ 11452 h 21094"/>
              <a:gd name="connsiteX5" fmla="*/ 12413 w 17620"/>
              <a:gd name="connsiteY5" fmla="*/ 21056 h 21094"/>
              <a:gd name="connsiteX6" fmla="*/ 10372 w 17620"/>
              <a:gd name="connsiteY6" fmla="*/ 21094 h 21094"/>
              <a:gd name="connsiteX7" fmla="*/ 136 w 17620"/>
              <a:gd name="connsiteY7" fmla="*/ 8204 h 21094"/>
              <a:gd name="connsiteX0" fmla="*/ 136 w 17620"/>
              <a:gd name="connsiteY0" fmla="*/ 8204 h 21056"/>
              <a:gd name="connsiteX1" fmla="*/ 244 w 17620"/>
              <a:gd name="connsiteY1" fmla="*/ 7611 h 21056"/>
              <a:gd name="connsiteX2" fmla="*/ 9855 w 17620"/>
              <a:gd name="connsiteY2" fmla="*/ 0 h 21056"/>
              <a:gd name="connsiteX3" fmla="*/ 17611 w 17620"/>
              <a:gd name="connsiteY3" fmla="*/ 11 h 21056"/>
              <a:gd name="connsiteX4" fmla="*/ 17595 w 17620"/>
              <a:gd name="connsiteY4" fmla="*/ 11452 h 21056"/>
              <a:gd name="connsiteX5" fmla="*/ 12413 w 17620"/>
              <a:gd name="connsiteY5" fmla="*/ 21056 h 21056"/>
              <a:gd name="connsiteX6" fmla="*/ 10388 w 17620"/>
              <a:gd name="connsiteY6" fmla="*/ 21055 h 21056"/>
              <a:gd name="connsiteX7" fmla="*/ 136 w 17620"/>
              <a:gd name="connsiteY7" fmla="*/ 8204 h 21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20" h="21056">
                <a:moveTo>
                  <a:pt x="136" y="8204"/>
                </a:moveTo>
                <a:cubicBezTo>
                  <a:pt x="0" y="7971"/>
                  <a:pt x="-128" y="7925"/>
                  <a:pt x="244" y="7611"/>
                </a:cubicBezTo>
                <a:lnTo>
                  <a:pt x="9855" y="0"/>
                </a:lnTo>
                <a:lnTo>
                  <a:pt x="17611" y="11"/>
                </a:lnTo>
                <a:cubicBezTo>
                  <a:pt x="17632" y="355"/>
                  <a:pt x="17614" y="11127"/>
                  <a:pt x="17595" y="11452"/>
                </a:cubicBezTo>
                <a:lnTo>
                  <a:pt x="12413" y="21056"/>
                </a:lnTo>
                <a:lnTo>
                  <a:pt x="10388" y="21055"/>
                </a:lnTo>
                <a:lnTo>
                  <a:pt x="136" y="8204"/>
                </a:lnTo>
                <a:close/>
              </a:path>
            </a:pathLst>
          </a:cu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Manual Input 6">
            <a:extLst>
              <a:ext uri="{FF2B5EF4-FFF2-40B4-BE49-F238E27FC236}">
                <a16:creationId xmlns:a16="http://schemas.microsoft.com/office/drawing/2014/main" id="{08ACB6E3-B89E-4049-B1DB-98EC7097ACA8}"/>
              </a:ext>
            </a:extLst>
          </p:cNvPr>
          <p:cNvSpPr/>
          <p:nvPr/>
        </p:nvSpPr>
        <p:spPr>
          <a:xfrm>
            <a:off x="5106468" y="0"/>
            <a:ext cx="7085532" cy="6870279"/>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600 w 10000"/>
              <a:gd name="connsiteY0" fmla="*/ 0 h 10951"/>
              <a:gd name="connsiteX1" fmla="*/ 10000 w 10000"/>
              <a:gd name="connsiteY1" fmla="*/ 951 h 10951"/>
              <a:gd name="connsiteX2" fmla="*/ 10000 w 10000"/>
              <a:gd name="connsiteY2" fmla="*/ 10951 h 10951"/>
              <a:gd name="connsiteX3" fmla="*/ 0 w 10000"/>
              <a:gd name="connsiteY3" fmla="*/ 10951 h 10951"/>
              <a:gd name="connsiteX4" fmla="*/ 600 w 10000"/>
              <a:gd name="connsiteY4" fmla="*/ 0 h 10951"/>
              <a:gd name="connsiteX0" fmla="*/ 600 w 10933"/>
              <a:gd name="connsiteY0" fmla="*/ 0 h 10951"/>
              <a:gd name="connsiteX1" fmla="*/ 10933 w 10933"/>
              <a:gd name="connsiteY1" fmla="*/ 3694 h 10951"/>
              <a:gd name="connsiteX2" fmla="*/ 10000 w 10933"/>
              <a:gd name="connsiteY2" fmla="*/ 10951 h 10951"/>
              <a:gd name="connsiteX3" fmla="*/ 0 w 10933"/>
              <a:gd name="connsiteY3" fmla="*/ 10951 h 10951"/>
              <a:gd name="connsiteX4" fmla="*/ 600 w 10933"/>
              <a:gd name="connsiteY4" fmla="*/ 0 h 10951"/>
              <a:gd name="connsiteX0" fmla="*/ 600 w 20533"/>
              <a:gd name="connsiteY0" fmla="*/ 0 h 10951"/>
              <a:gd name="connsiteX1" fmla="*/ 20533 w 20533"/>
              <a:gd name="connsiteY1" fmla="*/ 7132 h 10951"/>
              <a:gd name="connsiteX2" fmla="*/ 10000 w 20533"/>
              <a:gd name="connsiteY2" fmla="*/ 10951 h 10951"/>
              <a:gd name="connsiteX3" fmla="*/ 0 w 20533"/>
              <a:gd name="connsiteY3" fmla="*/ 10951 h 10951"/>
              <a:gd name="connsiteX4" fmla="*/ 600 w 20533"/>
              <a:gd name="connsiteY4" fmla="*/ 0 h 10951"/>
              <a:gd name="connsiteX0" fmla="*/ 600 w 20533"/>
              <a:gd name="connsiteY0" fmla="*/ 0 h 20569"/>
              <a:gd name="connsiteX1" fmla="*/ 20533 w 20533"/>
              <a:gd name="connsiteY1" fmla="*/ 7132 h 20569"/>
              <a:gd name="connsiteX2" fmla="*/ 13100 w 20533"/>
              <a:gd name="connsiteY2" fmla="*/ 20569 h 20569"/>
              <a:gd name="connsiteX3" fmla="*/ 0 w 20533"/>
              <a:gd name="connsiteY3" fmla="*/ 10951 h 20569"/>
              <a:gd name="connsiteX4" fmla="*/ 600 w 20533"/>
              <a:gd name="connsiteY4" fmla="*/ 0 h 20569"/>
              <a:gd name="connsiteX0" fmla="*/ 600 w 20533"/>
              <a:gd name="connsiteY0" fmla="*/ 0 h 20569"/>
              <a:gd name="connsiteX1" fmla="*/ 20533 w 20533"/>
              <a:gd name="connsiteY1" fmla="*/ 7132 h 20569"/>
              <a:gd name="connsiteX2" fmla="*/ 19400 w 20533"/>
              <a:gd name="connsiteY2" fmla="*/ 9076 h 20569"/>
              <a:gd name="connsiteX3" fmla="*/ 13100 w 20533"/>
              <a:gd name="connsiteY3" fmla="*/ 20569 h 20569"/>
              <a:gd name="connsiteX4" fmla="*/ 0 w 20533"/>
              <a:gd name="connsiteY4" fmla="*/ 10951 h 20569"/>
              <a:gd name="connsiteX5" fmla="*/ 600 w 20533"/>
              <a:gd name="connsiteY5" fmla="*/ 0 h 20569"/>
              <a:gd name="connsiteX0" fmla="*/ 600 w 20533"/>
              <a:gd name="connsiteY0" fmla="*/ 0 h 20569"/>
              <a:gd name="connsiteX1" fmla="*/ 20533 w 20533"/>
              <a:gd name="connsiteY1" fmla="*/ 7132 h 20569"/>
              <a:gd name="connsiteX2" fmla="*/ 19233 w 20533"/>
              <a:gd name="connsiteY2" fmla="*/ 10847 h 20569"/>
              <a:gd name="connsiteX3" fmla="*/ 13100 w 20533"/>
              <a:gd name="connsiteY3" fmla="*/ 20569 h 20569"/>
              <a:gd name="connsiteX4" fmla="*/ 0 w 20533"/>
              <a:gd name="connsiteY4" fmla="*/ 10951 h 20569"/>
              <a:gd name="connsiteX5" fmla="*/ 600 w 20533"/>
              <a:gd name="connsiteY5" fmla="*/ 0 h 20569"/>
              <a:gd name="connsiteX0" fmla="*/ 600 w 19266"/>
              <a:gd name="connsiteY0" fmla="*/ 0 h 20569"/>
              <a:gd name="connsiteX1" fmla="*/ 19266 w 19266"/>
              <a:gd name="connsiteY1" fmla="*/ 6750 h 20569"/>
              <a:gd name="connsiteX2" fmla="*/ 19233 w 19266"/>
              <a:gd name="connsiteY2" fmla="*/ 10847 h 20569"/>
              <a:gd name="connsiteX3" fmla="*/ 13100 w 19266"/>
              <a:gd name="connsiteY3" fmla="*/ 20569 h 20569"/>
              <a:gd name="connsiteX4" fmla="*/ 0 w 19266"/>
              <a:gd name="connsiteY4" fmla="*/ 10951 h 20569"/>
              <a:gd name="connsiteX5" fmla="*/ 600 w 19266"/>
              <a:gd name="connsiteY5" fmla="*/ 0 h 20569"/>
              <a:gd name="connsiteX0" fmla="*/ 600 w 19234"/>
              <a:gd name="connsiteY0" fmla="*/ 0 h 20569"/>
              <a:gd name="connsiteX1" fmla="*/ 19199 w 19234"/>
              <a:gd name="connsiteY1" fmla="*/ 6646 h 20569"/>
              <a:gd name="connsiteX2" fmla="*/ 19233 w 19234"/>
              <a:gd name="connsiteY2" fmla="*/ 10847 h 20569"/>
              <a:gd name="connsiteX3" fmla="*/ 13100 w 19234"/>
              <a:gd name="connsiteY3" fmla="*/ 20569 h 20569"/>
              <a:gd name="connsiteX4" fmla="*/ 0 w 19234"/>
              <a:gd name="connsiteY4" fmla="*/ 10951 h 20569"/>
              <a:gd name="connsiteX5" fmla="*/ 600 w 19234"/>
              <a:gd name="connsiteY5" fmla="*/ 0 h 20569"/>
              <a:gd name="connsiteX0" fmla="*/ 600 w 19236"/>
              <a:gd name="connsiteY0" fmla="*/ 0 h 20569"/>
              <a:gd name="connsiteX1" fmla="*/ 19232 w 19236"/>
              <a:gd name="connsiteY1" fmla="*/ 6681 h 20569"/>
              <a:gd name="connsiteX2" fmla="*/ 19233 w 19236"/>
              <a:gd name="connsiteY2" fmla="*/ 10847 h 20569"/>
              <a:gd name="connsiteX3" fmla="*/ 13100 w 19236"/>
              <a:gd name="connsiteY3" fmla="*/ 20569 h 20569"/>
              <a:gd name="connsiteX4" fmla="*/ 0 w 19236"/>
              <a:gd name="connsiteY4" fmla="*/ 10951 h 20569"/>
              <a:gd name="connsiteX5" fmla="*/ 600 w 19236"/>
              <a:gd name="connsiteY5" fmla="*/ 0 h 20569"/>
              <a:gd name="connsiteX0" fmla="*/ 600 w 19236"/>
              <a:gd name="connsiteY0" fmla="*/ 0 h 20569"/>
              <a:gd name="connsiteX1" fmla="*/ 19232 w 19236"/>
              <a:gd name="connsiteY1" fmla="*/ 6681 h 20569"/>
              <a:gd name="connsiteX2" fmla="*/ 19233 w 19236"/>
              <a:gd name="connsiteY2" fmla="*/ 10847 h 20569"/>
              <a:gd name="connsiteX3" fmla="*/ 13100 w 19236"/>
              <a:gd name="connsiteY3" fmla="*/ 20569 h 20569"/>
              <a:gd name="connsiteX4" fmla="*/ 9800 w 19236"/>
              <a:gd name="connsiteY4" fmla="*/ 18104 h 20569"/>
              <a:gd name="connsiteX5" fmla="*/ 0 w 19236"/>
              <a:gd name="connsiteY5" fmla="*/ 10951 h 20569"/>
              <a:gd name="connsiteX6" fmla="*/ 600 w 19236"/>
              <a:gd name="connsiteY6" fmla="*/ 0 h 20569"/>
              <a:gd name="connsiteX0" fmla="*/ 600 w 19236"/>
              <a:gd name="connsiteY0" fmla="*/ 0 h 20569"/>
              <a:gd name="connsiteX1" fmla="*/ 19232 w 19236"/>
              <a:gd name="connsiteY1" fmla="*/ 6681 h 20569"/>
              <a:gd name="connsiteX2" fmla="*/ 19233 w 19236"/>
              <a:gd name="connsiteY2" fmla="*/ 10847 h 20569"/>
              <a:gd name="connsiteX3" fmla="*/ 13100 w 19236"/>
              <a:gd name="connsiteY3" fmla="*/ 20569 h 20569"/>
              <a:gd name="connsiteX4" fmla="*/ 11033 w 19236"/>
              <a:gd name="connsiteY4" fmla="*/ 20153 h 20569"/>
              <a:gd name="connsiteX5" fmla="*/ 0 w 19236"/>
              <a:gd name="connsiteY5" fmla="*/ 10951 h 20569"/>
              <a:gd name="connsiteX6" fmla="*/ 600 w 19236"/>
              <a:gd name="connsiteY6" fmla="*/ 0 h 20569"/>
              <a:gd name="connsiteX0" fmla="*/ 600 w 19236"/>
              <a:gd name="connsiteY0" fmla="*/ 0 h 20222"/>
              <a:gd name="connsiteX1" fmla="*/ 19232 w 19236"/>
              <a:gd name="connsiteY1" fmla="*/ 6681 h 20222"/>
              <a:gd name="connsiteX2" fmla="*/ 19233 w 19236"/>
              <a:gd name="connsiteY2" fmla="*/ 10847 h 20222"/>
              <a:gd name="connsiteX3" fmla="*/ 13267 w 19236"/>
              <a:gd name="connsiteY3" fmla="*/ 20222 h 20222"/>
              <a:gd name="connsiteX4" fmla="*/ 11033 w 19236"/>
              <a:gd name="connsiteY4" fmla="*/ 20153 h 20222"/>
              <a:gd name="connsiteX5" fmla="*/ 0 w 19236"/>
              <a:gd name="connsiteY5" fmla="*/ 10951 h 20222"/>
              <a:gd name="connsiteX6" fmla="*/ 600 w 19236"/>
              <a:gd name="connsiteY6" fmla="*/ 0 h 20222"/>
              <a:gd name="connsiteX0" fmla="*/ 600 w 19236"/>
              <a:gd name="connsiteY0" fmla="*/ 0 h 20222"/>
              <a:gd name="connsiteX1" fmla="*/ 19232 w 19236"/>
              <a:gd name="connsiteY1" fmla="*/ 6681 h 20222"/>
              <a:gd name="connsiteX2" fmla="*/ 19233 w 19236"/>
              <a:gd name="connsiteY2" fmla="*/ 10847 h 20222"/>
              <a:gd name="connsiteX3" fmla="*/ 13267 w 19236"/>
              <a:gd name="connsiteY3" fmla="*/ 20222 h 20222"/>
              <a:gd name="connsiteX4" fmla="*/ 11433 w 19236"/>
              <a:gd name="connsiteY4" fmla="*/ 20153 h 20222"/>
              <a:gd name="connsiteX5" fmla="*/ 0 w 19236"/>
              <a:gd name="connsiteY5" fmla="*/ 10951 h 20222"/>
              <a:gd name="connsiteX6" fmla="*/ 600 w 19236"/>
              <a:gd name="connsiteY6" fmla="*/ 0 h 20222"/>
              <a:gd name="connsiteX0" fmla="*/ 600 w 19236"/>
              <a:gd name="connsiteY0" fmla="*/ 0 h 20222"/>
              <a:gd name="connsiteX1" fmla="*/ 19232 w 19236"/>
              <a:gd name="connsiteY1" fmla="*/ 6681 h 20222"/>
              <a:gd name="connsiteX2" fmla="*/ 19233 w 19236"/>
              <a:gd name="connsiteY2" fmla="*/ 10847 h 20222"/>
              <a:gd name="connsiteX3" fmla="*/ 13267 w 19236"/>
              <a:gd name="connsiteY3" fmla="*/ 20222 h 20222"/>
              <a:gd name="connsiteX4" fmla="*/ 11133 w 19236"/>
              <a:gd name="connsiteY4" fmla="*/ 20222 h 20222"/>
              <a:gd name="connsiteX5" fmla="*/ 0 w 19236"/>
              <a:gd name="connsiteY5" fmla="*/ 10951 h 20222"/>
              <a:gd name="connsiteX6" fmla="*/ 600 w 19236"/>
              <a:gd name="connsiteY6" fmla="*/ 0 h 20222"/>
              <a:gd name="connsiteX0" fmla="*/ 733 w 19369"/>
              <a:gd name="connsiteY0" fmla="*/ 0 h 20222"/>
              <a:gd name="connsiteX1" fmla="*/ 19365 w 19369"/>
              <a:gd name="connsiteY1" fmla="*/ 6681 h 20222"/>
              <a:gd name="connsiteX2" fmla="*/ 19366 w 19369"/>
              <a:gd name="connsiteY2" fmla="*/ 10847 h 20222"/>
              <a:gd name="connsiteX3" fmla="*/ 13400 w 19369"/>
              <a:gd name="connsiteY3" fmla="*/ 20222 h 20222"/>
              <a:gd name="connsiteX4" fmla="*/ 11266 w 19369"/>
              <a:gd name="connsiteY4" fmla="*/ 20222 h 20222"/>
              <a:gd name="connsiteX5" fmla="*/ 0 w 19369"/>
              <a:gd name="connsiteY5" fmla="*/ 8312 h 20222"/>
              <a:gd name="connsiteX6" fmla="*/ 733 w 19369"/>
              <a:gd name="connsiteY6" fmla="*/ 0 h 20222"/>
              <a:gd name="connsiteX0" fmla="*/ 733 w 19369"/>
              <a:gd name="connsiteY0" fmla="*/ 0 h 20222"/>
              <a:gd name="connsiteX1" fmla="*/ 1966 w 19369"/>
              <a:gd name="connsiteY1" fmla="*/ 465 h 20222"/>
              <a:gd name="connsiteX2" fmla="*/ 19365 w 19369"/>
              <a:gd name="connsiteY2" fmla="*/ 6681 h 20222"/>
              <a:gd name="connsiteX3" fmla="*/ 19366 w 19369"/>
              <a:gd name="connsiteY3" fmla="*/ 10847 h 20222"/>
              <a:gd name="connsiteX4" fmla="*/ 13400 w 19369"/>
              <a:gd name="connsiteY4" fmla="*/ 20222 h 20222"/>
              <a:gd name="connsiteX5" fmla="*/ 11266 w 19369"/>
              <a:gd name="connsiteY5" fmla="*/ 20222 h 20222"/>
              <a:gd name="connsiteX6" fmla="*/ 0 w 19369"/>
              <a:gd name="connsiteY6" fmla="*/ 8312 h 20222"/>
              <a:gd name="connsiteX7" fmla="*/ 733 w 19369"/>
              <a:gd name="connsiteY7" fmla="*/ 0 h 20222"/>
              <a:gd name="connsiteX0" fmla="*/ 733 w 19369"/>
              <a:gd name="connsiteY0" fmla="*/ 125 h 20347"/>
              <a:gd name="connsiteX1" fmla="*/ 1966 w 19369"/>
              <a:gd name="connsiteY1" fmla="*/ 590 h 20347"/>
              <a:gd name="connsiteX2" fmla="*/ 1466 w 19369"/>
              <a:gd name="connsiteY2" fmla="*/ 0 h 20347"/>
              <a:gd name="connsiteX3" fmla="*/ 19365 w 19369"/>
              <a:gd name="connsiteY3" fmla="*/ 6806 h 20347"/>
              <a:gd name="connsiteX4" fmla="*/ 19366 w 19369"/>
              <a:gd name="connsiteY4" fmla="*/ 10972 h 20347"/>
              <a:gd name="connsiteX5" fmla="*/ 13400 w 19369"/>
              <a:gd name="connsiteY5" fmla="*/ 20347 h 20347"/>
              <a:gd name="connsiteX6" fmla="*/ 11266 w 19369"/>
              <a:gd name="connsiteY6" fmla="*/ 20347 h 20347"/>
              <a:gd name="connsiteX7" fmla="*/ 0 w 19369"/>
              <a:gd name="connsiteY7" fmla="*/ 8437 h 20347"/>
              <a:gd name="connsiteX8" fmla="*/ 733 w 19369"/>
              <a:gd name="connsiteY8" fmla="*/ 125 h 20347"/>
              <a:gd name="connsiteX0" fmla="*/ 733 w 19369"/>
              <a:gd name="connsiteY0" fmla="*/ 125 h 20347"/>
              <a:gd name="connsiteX1" fmla="*/ 1466 w 19369"/>
              <a:gd name="connsiteY1" fmla="*/ 0 h 20347"/>
              <a:gd name="connsiteX2" fmla="*/ 19365 w 19369"/>
              <a:gd name="connsiteY2" fmla="*/ 6806 h 20347"/>
              <a:gd name="connsiteX3" fmla="*/ 19366 w 19369"/>
              <a:gd name="connsiteY3" fmla="*/ 10972 h 20347"/>
              <a:gd name="connsiteX4" fmla="*/ 13400 w 19369"/>
              <a:gd name="connsiteY4" fmla="*/ 20347 h 20347"/>
              <a:gd name="connsiteX5" fmla="*/ 11266 w 19369"/>
              <a:gd name="connsiteY5" fmla="*/ 20347 h 20347"/>
              <a:gd name="connsiteX6" fmla="*/ 0 w 19369"/>
              <a:gd name="connsiteY6" fmla="*/ 8437 h 20347"/>
              <a:gd name="connsiteX7" fmla="*/ 733 w 19369"/>
              <a:gd name="connsiteY7" fmla="*/ 125 h 20347"/>
              <a:gd name="connsiteX0" fmla="*/ 666 w 19369"/>
              <a:gd name="connsiteY0" fmla="*/ 0 h 20361"/>
              <a:gd name="connsiteX1" fmla="*/ 1466 w 19369"/>
              <a:gd name="connsiteY1" fmla="*/ 14 h 20361"/>
              <a:gd name="connsiteX2" fmla="*/ 19365 w 19369"/>
              <a:gd name="connsiteY2" fmla="*/ 6820 h 20361"/>
              <a:gd name="connsiteX3" fmla="*/ 19366 w 19369"/>
              <a:gd name="connsiteY3" fmla="*/ 10986 h 20361"/>
              <a:gd name="connsiteX4" fmla="*/ 13400 w 19369"/>
              <a:gd name="connsiteY4" fmla="*/ 20361 h 20361"/>
              <a:gd name="connsiteX5" fmla="*/ 11266 w 19369"/>
              <a:gd name="connsiteY5" fmla="*/ 20361 h 20361"/>
              <a:gd name="connsiteX6" fmla="*/ 0 w 19369"/>
              <a:gd name="connsiteY6" fmla="*/ 8451 h 20361"/>
              <a:gd name="connsiteX7" fmla="*/ 666 w 19369"/>
              <a:gd name="connsiteY7" fmla="*/ 0 h 20361"/>
              <a:gd name="connsiteX0" fmla="*/ 1466 w 20169"/>
              <a:gd name="connsiteY0" fmla="*/ 0 h 20361"/>
              <a:gd name="connsiteX1" fmla="*/ 2266 w 20169"/>
              <a:gd name="connsiteY1" fmla="*/ 14 h 20361"/>
              <a:gd name="connsiteX2" fmla="*/ 20165 w 20169"/>
              <a:gd name="connsiteY2" fmla="*/ 6820 h 20361"/>
              <a:gd name="connsiteX3" fmla="*/ 20166 w 20169"/>
              <a:gd name="connsiteY3" fmla="*/ 10986 h 20361"/>
              <a:gd name="connsiteX4" fmla="*/ 14200 w 20169"/>
              <a:gd name="connsiteY4" fmla="*/ 20361 h 20361"/>
              <a:gd name="connsiteX5" fmla="*/ 12066 w 20169"/>
              <a:gd name="connsiteY5" fmla="*/ 20361 h 20361"/>
              <a:gd name="connsiteX6" fmla="*/ 0 w 20169"/>
              <a:gd name="connsiteY6" fmla="*/ 7652 h 20361"/>
              <a:gd name="connsiteX7" fmla="*/ 1466 w 20169"/>
              <a:gd name="connsiteY7" fmla="*/ 0 h 20361"/>
              <a:gd name="connsiteX0" fmla="*/ 1166 w 19869"/>
              <a:gd name="connsiteY0" fmla="*/ 0 h 20361"/>
              <a:gd name="connsiteX1" fmla="*/ 1966 w 19869"/>
              <a:gd name="connsiteY1" fmla="*/ 14 h 20361"/>
              <a:gd name="connsiteX2" fmla="*/ 19865 w 19869"/>
              <a:gd name="connsiteY2" fmla="*/ 6820 h 20361"/>
              <a:gd name="connsiteX3" fmla="*/ 19866 w 19869"/>
              <a:gd name="connsiteY3" fmla="*/ 10986 h 20361"/>
              <a:gd name="connsiteX4" fmla="*/ 13900 w 19869"/>
              <a:gd name="connsiteY4" fmla="*/ 20361 h 20361"/>
              <a:gd name="connsiteX5" fmla="*/ 11766 w 19869"/>
              <a:gd name="connsiteY5" fmla="*/ 20361 h 20361"/>
              <a:gd name="connsiteX6" fmla="*/ 0 w 19869"/>
              <a:gd name="connsiteY6" fmla="*/ 7860 h 20361"/>
              <a:gd name="connsiteX7" fmla="*/ 1166 w 19869"/>
              <a:gd name="connsiteY7" fmla="*/ 0 h 20361"/>
              <a:gd name="connsiteX0" fmla="*/ 1196 w 19899"/>
              <a:gd name="connsiteY0" fmla="*/ 0 h 20361"/>
              <a:gd name="connsiteX1" fmla="*/ 1996 w 19899"/>
              <a:gd name="connsiteY1" fmla="*/ 14 h 20361"/>
              <a:gd name="connsiteX2" fmla="*/ 19895 w 19899"/>
              <a:gd name="connsiteY2" fmla="*/ 6820 h 20361"/>
              <a:gd name="connsiteX3" fmla="*/ 19896 w 19899"/>
              <a:gd name="connsiteY3" fmla="*/ 10986 h 20361"/>
              <a:gd name="connsiteX4" fmla="*/ 13930 w 19899"/>
              <a:gd name="connsiteY4" fmla="*/ 20361 h 20361"/>
              <a:gd name="connsiteX5" fmla="*/ 11796 w 19899"/>
              <a:gd name="connsiteY5" fmla="*/ 20361 h 20361"/>
              <a:gd name="connsiteX6" fmla="*/ 0 w 19899"/>
              <a:gd name="connsiteY6" fmla="*/ 7954 h 20361"/>
              <a:gd name="connsiteX7" fmla="*/ 1196 w 19899"/>
              <a:gd name="connsiteY7" fmla="*/ 0 h 20361"/>
              <a:gd name="connsiteX0" fmla="*/ 1196 w 19899"/>
              <a:gd name="connsiteY0" fmla="*/ 0 h 20377"/>
              <a:gd name="connsiteX1" fmla="*/ 1996 w 19899"/>
              <a:gd name="connsiteY1" fmla="*/ 14 h 20377"/>
              <a:gd name="connsiteX2" fmla="*/ 19895 w 19899"/>
              <a:gd name="connsiteY2" fmla="*/ 6820 h 20377"/>
              <a:gd name="connsiteX3" fmla="*/ 19896 w 19899"/>
              <a:gd name="connsiteY3" fmla="*/ 10986 h 20377"/>
              <a:gd name="connsiteX4" fmla="*/ 13930 w 19899"/>
              <a:gd name="connsiteY4" fmla="*/ 20361 h 20377"/>
              <a:gd name="connsiteX5" fmla="*/ 11721 w 19899"/>
              <a:gd name="connsiteY5" fmla="*/ 20377 h 20377"/>
              <a:gd name="connsiteX6" fmla="*/ 0 w 19899"/>
              <a:gd name="connsiteY6" fmla="*/ 7954 h 20377"/>
              <a:gd name="connsiteX7" fmla="*/ 1196 w 19899"/>
              <a:gd name="connsiteY7" fmla="*/ 0 h 20377"/>
              <a:gd name="connsiteX0" fmla="*/ 1181 w 19899"/>
              <a:gd name="connsiteY0" fmla="*/ 17 h 20363"/>
              <a:gd name="connsiteX1" fmla="*/ 1996 w 19899"/>
              <a:gd name="connsiteY1" fmla="*/ 0 h 20363"/>
              <a:gd name="connsiteX2" fmla="*/ 19895 w 19899"/>
              <a:gd name="connsiteY2" fmla="*/ 6806 h 20363"/>
              <a:gd name="connsiteX3" fmla="*/ 19896 w 19899"/>
              <a:gd name="connsiteY3" fmla="*/ 10972 h 20363"/>
              <a:gd name="connsiteX4" fmla="*/ 13930 w 19899"/>
              <a:gd name="connsiteY4" fmla="*/ 20347 h 20363"/>
              <a:gd name="connsiteX5" fmla="*/ 11721 w 19899"/>
              <a:gd name="connsiteY5" fmla="*/ 20363 h 20363"/>
              <a:gd name="connsiteX6" fmla="*/ 0 w 19899"/>
              <a:gd name="connsiteY6" fmla="*/ 7940 h 20363"/>
              <a:gd name="connsiteX7" fmla="*/ 1181 w 19899"/>
              <a:gd name="connsiteY7" fmla="*/ 17 h 20363"/>
              <a:gd name="connsiteX0" fmla="*/ 1271 w 19899"/>
              <a:gd name="connsiteY0" fmla="*/ 17 h 20363"/>
              <a:gd name="connsiteX1" fmla="*/ 1996 w 19899"/>
              <a:gd name="connsiteY1" fmla="*/ 0 h 20363"/>
              <a:gd name="connsiteX2" fmla="*/ 19895 w 19899"/>
              <a:gd name="connsiteY2" fmla="*/ 6806 h 20363"/>
              <a:gd name="connsiteX3" fmla="*/ 19896 w 19899"/>
              <a:gd name="connsiteY3" fmla="*/ 10972 h 20363"/>
              <a:gd name="connsiteX4" fmla="*/ 13930 w 19899"/>
              <a:gd name="connsiteY4" fmla="*/ 20347 h 20363"/>
              <a:gd name="connsiteX5" fmla="*/ 11721 w 19899"/>
              <a:gd name="connsiteY5" fmla="*/ 20363 h 20363"/>
              <a:gd name="connsiteX6" fmla="*/ 0 w 19899"/>
              <a:gd name="connsiteY6" fmla="*/ 7940 h 20363"/>
              <a:gd name="connsiteX7" fmla="*/ 1271 w 19899"/>
              <a:gd name="connsiteY7" fmla="*/ 17 h 20363"/>
              <a:gd name="connsiteX0" fmla="*/ 1271 w 19899"/>
              <a:gd name="connsiteY0" fmla="*/ 17 h 20363"/>
              <a:gd name="connsiteX1" fmla="*/ 1996 w 19899"/>
              <a:gd name="connsiteY1" fmla="*/ 0 h 20363"/>
              <a:gd name="connsiteX2" fmla="*/ 19895 w 19899"/>
              <a:gd name="connsiteY2" fmla="*/ 6806 h 20363"/>
              <a:gd name="connsiteX3" fmla="*/ 19896 w 19899"/>
              <a:gd name="connsiteY3" fmla="*/ 10972 h 20363"/>
              <a:gd name="connsiteX4" fmla="*/ 13930 w 19899"/>
              <a:gd name="connsiteY4" fmla="*/ 20347 h 20363"/>
              <a:gd name="connsiteX5" fmla="*/ 11721 w 19899"/>
              <a:gd name="connsiteY5" fmla="*/ 20363 h 20363"/>
              <a:gd name="connsiteX6" fmla="*/ 0 w 19899"/>
              <a:gd name="connsiteY6" fmla="*/ 7940 h 20363"/>
              <a:gd name="connsiteX7" fmla="*/ 1271 w 19899"/>
              <a:gd name="connsiteY7" fmla="*/ 17 h 20363"/>
              <a:gd name="connsiteX0" fmla="*/ 2132 w 20760"/>
              <a:gd name="connsiteY0" fmla="*/ 17 h 20363"/>
              <a:gd name="connsiteX1" fmla="*/ 2857 w 20760"/>
              <a:gd name="connsiteY1" fmla="*/ 0 h 20363"/>
              <a:gd name="connsiteX2" fmla="*/ 20756 w 20760"/>
              <a:gd name="connsiteY2" fmla="*/ 6806 h 20363"/>
              <a:gd name="connsiteX3" fmla="*/ 20757 w 20760"/>
              <a:gd name="connsiteY3" fmla="*/ 10972 h 20363"/>
              <a:gd name="connsiteX4" fmla="*/ 14791 w 20760"/>
              <a:gd name="connsiteY4" fmla="*/ 20347 h 20363"/>
              <a:gd name="connsiteX5" fmla="*/ 12582 w 20760"/>
              <a:gd name="connsiteY5" fmla="*/ 20363 h 20363"/>
              <a:gd name="connsiteX6" fmla="*/ 861 w 20760"/>
              <a:gd name="connsiteY6" fmla="*/ 7940 h 20363"/>
              <a:gd name="connsiteX7" fmla="*/ 1022 w 20760"/>
              <a:gd name="connsiteY7" fmla="*/ 6379 h 20363"/>
              <a:gd name="connsiteX8" fmla="*/ 2132 w 20760"/>
              <a:gd name="connsiteY8" fmla="*/ 17 h 20363"/>
              <a:gd name="connsiteX0" fmla="*/ 2132 w 20760"/>
              <a:gd name="connsiteY0" fmla="*/ 17 h 20363"/>
              <a:gd name="connsiteX1" fmla="*/ 2857 w 20760"/>
              <a:gd name="connsiteY1" fmla="*/ 0 h 20363"/>
              <a:gd name="connsiteX2" fmla="*/ 20756 w 20760"/>
              <a:gd name="connsiteY2" fmla="*/ 6806 h 20363"/>
              <a:gd name="connsiteX3" fmla="*/ 20757 w 20760"/>
              <a:gd name="connsiteY3" fmla="*/ 10972 h 20363"/>
              <a:gd name="connsiteX4" fmla="*/ 14791 w 20760"/>
              <a:gd name="connsiteY4" fmla="*/ 20347 h 20363"/>
              <a:gd name="connsiteX5" fmla="*/ 12582 w 20760"/>
              <a:gd name="connsiteY5" fmla="*/ 20363 h 20363"/>
              <a:gd name="connsiteX6" fmla="*/ 861 w 20760"/>
              <a:gd name="connsiteY6" fmla="*/ 7940 h 20363"/>
              <a:gd name="connsiteX7" fmla="*/ 1022 w 20760"/>
              <a:gd name="connsiteY7" fmla="*/ 6379 h 20363"/>
              <a:gd name="connsiteX8" fmla="*/ 2132 w 20760"/>
              <a:gd name="connsiteY8" fmla="*/ 17 h 20363"/>
              <a:gd name="connsiteX0" fmla="*/ 2186 w 20814"/>
              <a:gd name="connsiteY0" fmla="*/ 17 h 20363"/>
              <a:gd name="connsiteX1" fmla="*/ 2911 w 20814"/>
              <a:gd name="connsiteY1" fmla="*/ 0 h 20363"/>
              <a:gd name="connsiteX2" fmla="*/ 20810 w 20814"/>
              <a:gd name="connsiteY2" fmla="*/ 6806 h 20363"/>
              <a:gd name="connsiteX3" fmla="*/ 20811 w 20814"/>
              <a:gd name="connsiteY3" fmla="*/ 10972 h 20363"/>
              <a:gd name="connsiteX4" fmla="*/ 14845 w 20814"/>
              <a:gd name="connsiteY4" fmla="*/ 20347 h 20363"/>
              <a:gd name="connsiteX5" fmla="*/ 12636 w 20814"/>
              <a:gd name="connsiteY5" fmla="*/ 20363 h 20363"/>
              <a:gd name="connsiteX6" fmla="*/ 915 w 20814"/>
              <a:gd name="connsiteY6" fmla="*/ 7940 h 20363"/>
              <a:gd name="connsiteX7" fmla="*/ 881 w 20814"/>
              <a:gd name="connsiteY7" fmla="*/ 6191 h 20363"/>
              <a:gd name="connsiteX8" fmla="*/ 2186 w 20814"/>
              <a:gd name="connsiteY8" fmla="*/ 17 h 20363"/>
              <a:gd name="connsiteX0" fmla="*/ 2228 w 20856"/>
              <a:gd name="connsiteY0" fmla="*/ 17 h 20363"/>
              <a:gd name="connsiteX1" fmla="*/ 2953 w 20856"/>
              <a:gd name="connsiteY1" fmla="*/ 0 h 20363"/>
              <a:gd name="connsiteX2" fmla="*/ 20852 w 20856"/>
              <a:gd name="connsiteY2" fmla="*/ 6806 h 20363"/>
              <a:gd name="connsiteX3" fmla="*/ 20853 w 20856"/>
              <a:gd name="connsiteY3" fmla="*/ 10972 h 20363"/>
              <a:gd name="connsiteX4" fmla="*/ 14887 w 20856"/>
              <a:gd name="connsiteY4" fmla="*/ 20347 h 20363"/>
              <a:gd name="connsiteX5" fmla="*/ 12678 w 20856"/>
              <a:gd name="connsiteY5" fmla="*/ 20363 h 20363"/>
              <a:gd name="connsiteX6" fmla="*/ 957 w 20856"/>
              <a:gd name="connsiteY6" fmla="*/ 7940 h 20363"/>
              <a:gd name="connsiteX7" fmla="*/ 923 w 20856"/>
              <a:gd name="connsiteY7" fmla="*/ 6191 h 20363"/>
              <a:gd name="connsiteX8" fmla="*/ 2228 w 20856"/>
              <a:gd name="connsiteY8" fmla="*/ 17 h 20363"/>
              <a:gd name="connsiteX0" fmla="*/ 2179 w 20807"/>
              <a:gd name="connsiteY0" fmla="*/ 17 h 20363"/>
              <a:gd name="connsiteX1" fmla="*/ 2904 w 20807"/>
              <a:gd name="connsiteY1" fmla="*/ 0 h 20363"/>
              <a:gd name="connsiteX2" fmla="*/ 20803 w 20807"/>
              <a:gd name="connsiteY2" fmla="*/ 6806 h 20363"/>
              <a:gd name="connsiteX3" fmla="*/ 20804 w 20807"/>
              <a:gd name="connsiteY3" fmla="*/ 10972 h 20363"/>
              <a:gd name="connsiteX4" fmla="*/ 14838 w 20807"/>
              <a:gd name="connsiteY4" fmla="*/ 20347 h 20363"/>
              <a:gd name="connsiteX5" fmla="*/ 12629 w 20807"/>
              <a:gd name="connsiteY5" fmla="*/ 20363 h 20363"/>
              <a:gd name="connsiteX6" fmla="*/ 908 w 20807"/>
              <a:gd name="connsiteY6" fmla="*/ 7940 h 20363"/>
              <a:gd name="connsiteX7" fmla="*/ 874 w 20807"/>
              <a:gd name="connsiteY7" fmla="*/ 6191 h 20363"/>
              <a:gd name="connsiteX8" fmla="*/ 2179 w 20807"/>
              <a:gd name="connsiteY8" fmla="*/ 17 h 20363"/>
              <a:gd name="connsiteX0" fmla="*/ 1540 w 20168"/>
              <a:gd name="connsiteY0" fmla="*/ 17 h 20363"/>
              <a:gd name="connsiteX1" fmla="*/ 2265 w 20168"/>
              <a:gd name="connsiteY1" fmla="*/ 0 h 20363"/>
              <a:gd name="connsiteX2" fmla="*/ 20164 w 20168"/>
              <a:gd name="connsiteY2" fmla="*/ 6806 h 20363"/>
              <a:gd name="connsiteX3" fmla="*/ 20165 w 20168"/>
              <a:gd name="connsiteY3" fmla="*/ 10972 h 20363"/>
              <a:gd name="connsiteX4" fmla="*/ 14199 w 20168"/>
              <a:gd name="connsiteY4" fmla="*/ 20347 h 20363"/>
              <a:gd name="connsiteX5" fmla="*/ 11990 w 20168"/>
              <a:gd name="connsiteY5" fmla="*/ 20363 h 20363"/>
              <a:gd name="connsiteX6" fmla="*/ 269 w 20168"/>
              <a:gd name="connsiteY6" fmla="*/ 7940 h 20363"/>
              <a:gd name="connsiteX7" fmla="*/ 235 w 20168"/>
              <a:gd name="connsiteY7" fmla="*/ 6191 h 20363"/>
              <a:gd name="connsiteX8" fmla="*/ 1540 w 20168"/>
              <a:gd name="connsiteY8" fmla="*/ 17 h 20363"/>
              <a:gd name="connsiteX0" fmla="*/ 1418 w 20046"/>
              <a:gd name="connsiteY0" fmla="*/ 17 h 20363"/>
              <a:gd name="connsiteX1" fmla="*/ 2143 w 20046"/>
              <a:gd name="connsiteY1" fmla="*/ 0 h 20363"/>
              <a:gd name="connsiteX2" fmla="*/ 20042 w 20046"/>
              <a:gd name="connsiteY2" fmla="*/ 6806 h 20363"/>
              <a:gd name="connsiteX3" fmla="*/ 20043 w 20046"/>
              <a:gd name="connsiteY3" fmla="*/ 10972 h 20363"/>
              <a:gd name="connsiteX4" fmla="*/ 14077 w 20046"/>
              <a:gd name="connsiteY4" fmla="*/ 20347 h 20363"/>
              <a:gd name="connsiteX5" fmla="*/ 11868 w 20046"/>
              <a:gd name="connsiteY5" fmla="*/ 20363 h 20363"/>
              <a:gd name="connsiteX6" fmla="*/ 147 w 20046"/>
              <a:gd name="connsiteY6" fmla="*/ 7940 h 20363"/>
              <a:gd name="connsiteX7" fmla="*/ 113 w 20046"/>
              <a:gd name="connsiteY7" fmla="*/ 6191 h 20363"/>
              <a:gd name="connsiteX8" fmla="*/ 1418 w 20046"/>
              <a:gd name="connsiteY8" fmla="*/ 17 h 20363"/>
              <a:gd name="connsiteX0" fmla="*/ 1471 w 20099"/>
              <a:gd name="connsiteY0" fmla="*/ 17 h 20363"/>
              <a:gd name="connsiteX1" fmla="*/ 2196 w 20099"/>
              <a:gd name="connsiteY1" fmla="*/ 0 h 20363"/>
              <a:gd name="connsiteX2" fmla="*/ 20095 w 20099"/>
              <a:gd name="connsiteY2" fmla="*/ 6806 h 20363"/>
              <a:gd name="connsiteX3" fmla="*/ 20096 w 20099"/>
              <a:gd name="connsiteY3" fmla="*/ 10972 h 20363"/>
              <a:gd name="connsiteX4" fmla="*/ 14130 w 20099"/>
              <a:gd name="connsiteY4" fmla="*/ 20347 h 20363"/>
              <a:gd name="connsiteX5" fmla="*/ 11921 w 20099"/>
              <a:gd name="connsiteY5" fmla="*/ 20363 h 20363"/>
              <a:gd name="connsiteX6" fmla="*/ 200 w 20099"/>
              <a:gd name="connsiteY6" fmla="*/ 7940 h 20363"/>
              <a:gd name="connsiteX7" fmla="*/ 166 w 20099"/>
              <a:gd name="connsiteY7" fmla="*/ 6191 h 20363"/>
              <a:gd name="connsiteX8" fmla="*/ 1471 w 20099"/>
              <a:gd name="connsiteY8" fmla="*/ 17 h 20363"/>
              <a:gd name="connsiteX0" fmla="*/ 1486 w 20114"/>
              <a:gd name="connsiteY0" fmla="*/ 17 h 20363"/>
              <a:gd name="connsiteX1" fmla="*/ 2211 w 20114"/>
              <a:gd name="connsiteY1" fmla="*/ 0 h 20363"/>
              <a:gd name="connsiteX2" fmla="*/ 20110 w 20114"/>
              <a:gd name="connsiteY2" fmla="*/ 6806 h 20363"/>
              <a:gd name="connsiteX3" fmla="*/ 20111 w 20114"/>
              <a:gd name="connsiteY3" fmla="*/ 10972 h 20363"/>
              <a:gd name="connsiteX4" fmla="*/ 14145 w 20114"/>
              <a:gd name="connsiteY4" fmla="*/ 20347 h 20363"/>
              <a:gd name="connsiteX5" fmla="*/ 11936 w 20114"/>
              <a:gd name="connsiteY5" fmla="*/ 20363 h 20363"/>
              <a:gd name="connsiteX6" fmla="*/ 215 w 20114"/>
              <a:gd name="connsiteY6" fmla="*/ 7940 h 20363"/>
              <a:gd name="connsiteX7" fmla="*/ 151 w 20114"/>
              <a:gd name="connsiteY7" fmla="*/ 6363 h 20363"/>
              <a:gd name="connsiteX8" fmla="*/ 1486 w 20114"/>
              <a:gd name="connsiteY8" fmla="*/ 17 h 20363"/>
              <a:gd name="connsiteX0" fmla="*/ 1476 w 20104"/>
              <a:gd name="connsiteY0" fmla="*/ 17 h 20363"/>
              <a:gd name="connsiteX1" fmla="*/ 2201 w 20104"/>
              <a:gd name="connsiteY1" fmla="*/ 0 h 20363"/>
              <a:gd name="connsiteX2" fmla="*/ 20100 w 20104"/>
              <a:gd name="connsiteY2" fmla="*/ 6806 h 20363"/>
              <a:gd name="connsiteX3" fmla="*/ 20101 w 20104"/>
              <a:gd name="connsiteY3" fmla="*/ 10972 h 20363"/>
              <a:gd name="connsiteX4" fmla="*/ 14135 w 20104"/>
              <a:gd name="connsiteY4" fmla="*/ 20347 h 20363"/>
              <a:gd name="connsiteX5" fmla="*/ 11926 w 20104"/>
              <a:gd name="connsiteY5" fmla="*/ 20363 h 20363"/>
              <a:gd name="connsiteX6" fmla="*/ 205 w 20104"/>
              <a:gd name="connsiteY6" fmla="*/ 7940 h 20363"/>
              <a:gd name="connsiteX7" fmla="*/ 141 w 20104"/>
              <a:gd name="connsiteY7" fmla="*/ 6363 h 20363"/>
              <a:gd name="connsiteX8" fmla="*/ 1476 w 20104"/>
              <a:gd name="connsiteY8" fmla="*/ 17 h 20363"/>
              <a:gd name="connsiteX0" fmla="*/ 1470 w 20098"/>
              <a:gd name="connsiteY0" fmla="*/ 17 h 20363"/>
              <a:gd name="connsiteX1" fmla="*/ 2195 w 20098"/>
              <a:gd name="connsiteY1" fmla="*/ 0 h 20363"/>
              <a:gd name="connsiteX2" fmla="*/ 20094 w 20098"/>
              <a:gd name="connsiteY2" fmla="*/ 6806 h 20363"/>
              <a:gd name="connsiteX3" fmla="*/ 20095 w 20098"/>
              <a:gd name="connsiteY3" fmla="*/ 10972 h 20363"/>
              <a:gd name="connsiteX4" fmla="*/ 14129 w 20098"/>
              <a:gd name="connsiteY4" fmla="*/ 20347 h 20363"/>
              <a:gd name="connsiteX5" fmla="*/ 11920 w 20098"/>
              <a:gd name="connsiteY5" fmla="*/ 20363 h 20363"/>
              <a:gd name="connsiteX6" fmla="*/ 199 w 20098"/>
              <a:gd name="connsiteY6" fmla="*/ 7940 h 20363"/>
              <a:gd name="connsiteX7" fmla="*/ 135 w 20098"/>
              <a:gd name="connsiteY7" fmla="*/ 6363 h 20363"/>
              <a:gd name="connsiteX8" fmla="*/ 1470 w 20098"/>
              <a:gd name="connsiteY8" fmla="*/ 17 h 20363"/>
              <a:gd name="connsiteX0" fmla="*/ 1499 w 20127"/>
              <a:gd name="connsiteY0" fmla="*/ 17 h 20363"/>
              <a:gd name="connsiteX1" fmla="*/ 2224 w 20127"/>
              <a:gd name="connsiteY1" fmla="*/ 0 h 20363"/>
              <a:gd name="connsiteX2" fmla="*/ 20123 w 20127"/>
              <a:gd name="connsiteY2" fmla="*/ 6806 h 20363"/>
              <a:gd name="connsiteX3" fmla="*/ 20124 w 20127"/>
              <a:gd name="connsiteY3" fmla="*/ 10972 h 20363"/>
              <a:gd name="connsiteX4" fmla="*/ 14158 w 20127"/>
              <a:gd name="connsiteY4" fmla="*/ 20347 h 20363"/>
              <a:gd name="connsiteX5" fmla="*/ 11949 w 20127"/>
              <a:gd name="connsiteY5" fmla="*/ 20363 h 20363"/>
              <a:gd name="connsiteX6" fmla="*/ 228 w 20127"/>
              <a:gd name="connsiteY6" fmla="*/ 7940 h 20363"/>
              <a:gd name="connsiteX7" fmla="*/ 164 w 20127"/>
              <a:gd name="connsiteY7" fmla="*/ 6363 h 20363"/>
              <a:gd name="connsiteX8" fmla="*/ 1499 w 20127"/>
              <a:gd name="connsiteY8" fmla="*/ 17 h 20363"/>
              <a:gd name="connsiteX0" fmla="*/ 1499 w 20127"/>
              <a:gd name="connsiteY0" fmla="*/ 17 h 20347"/>
              <a:gd name="connsiteX1" fmla="*/ 2224 w 20127"/>
              <a:gd name="connsiteY1" fmla="*/ 0 h 20347"/>
              <a:gd name="connsiteX2" fmla="*/ 20123 w 20127"/>
              <a:gd name="connsiteY2" fmla="*/ 6806 h 20347"/>
              <a:gd name="connsiteX3" fmla="*/ 20124 w 20127"/>
              <a:gd name="connsiteY3" fmla="*/ 10972 h 20347"/>
              <a:gd name="connsiteX4" fmla="*/ 14158 w 20127"/>
              <a:gd name="connsiteY4" fmla="*/ 20347 h 20347"/>
              <a:gd name="connsiteX5" fmla="*/ 11886 w 20127"/>
              <a:gd name="connsiteY5" fmla="*/ 20288 h 20347"/>
              <a:gd name="connsiteX6" fmla="*/ 228 w 20127"/>
              <a:gd name="connsiteY6" fmla="*/ 7940 h 20347"/>
              <a:gd name="connsiteX7" fmla="*/ 164 w 20127"/>
              <a:gd name="connsiteY7" fmla="*/ 6363 h 20347"/>
              <a:gd name="connsiteX8" fmla="*/ 1499 w 20127"/>
              <a:gd name="connsiteY8" fmla="*/ 17 h 20347"/>
              <a:gd name="connsiteX0" fmla="*/ 1499 w 20127"/>
              <a:gd name="connsiteY0" fmla="*/ 17 h 20288"/>
              <a:gd name="connsiteX1" fmla="*/ 2224 w 20127"/>
              <a:gd name="connsiteY1" fmla="*/ 0 h 20288"/>
              <a:gd name="connsiteX2" fmla="*/ 20123 w 20127"/>
              <a:gd name="connsiteY2" fmla="*/ 6806 h 20288"/>
              <a:gd name="connsiteX3" fmla="*/ 20124 w 20127"/>
              <a:gd name="connsiteY3" fmla="*/ 10972 h 20288"/>
              <a:gd name="connsiteX4" fmla="*/ 14185 w 20127"/>
              <a:gd name="connsiteY4" fmla="*/ 20272 h 20288"/>
              <a:gd name="connsiteX5" fmla="*/ 11886 w 20127"/>
              <a:gd name="connsiteY5" fmla="*/ 20288 h 20288"/>
              <a:gd name="connsiteX6" fmla="*/ 228 w 20127"/>
              <a:gd name="connsiteY6" fmla="*/ 7940 h 20288"/>
              <a:gd name="connsiteX7" fmla="*/ 164 w 20127"/>
              <a:gd name="connsiteY7" fmla="*/ 6363 h 20288"/>
              <a:gd name="connsiteX8" fmla="*/ 1499 w 20127"/>
              <a:gd name="connsiteY8" fmla="*/ 17 h 20288"/>
              <a:gd name="connsiteX0" fmla="*/ 1499 w 20123"/>
              <a:gd name="connsiteY0" fmla="*/ 17 h 20288"/>
              <a:gd name="connsiteX1" fmla="*/ 2224 w 20123"/>
              <a:gd name="connsiteY1" fmla="*/ 0 h 20288"/>
              <a:gd name="connsiteX2" fmla="*/ 20123 w 20123"/>
              <a:gd name="connsiteY2" fmla="*/ 6806 h 20288"/>
              <a:gd name="connsiteX3" fmla="*/ 20066 w 20123"/>
              <a:gd name="connsiteY3" fmla="*/ 11052 h 20288"/>
              <a:gd name="connsiteX4" fmla="*/ 14185 w 20123"/>
              <a:gd name="connsiteY4" fmla="*/ 20272 h 20288"/>
              <a:gd name="connsiteX5" fmla="*/ 11886 w 20123"/>
              <a:gd name="connsiteY5" fmla="*/ 20288 h 20288"/>
              <a:gd name="connsiteX6" fmla="*/ 228 w 20123"/>
              <a:gd name="connsiteY6" fmla="*/ 7940 h 20288"/>
              <a:gd name="connsiteX7" fmla="*/ 164 w 20123"/>
              <a:gd name="connsiteY7" fmla="*/ 6363 h 20288"/>
              <a:gd name="connsiteX8" fmla="*/ 1499 w 20123"/>
              <a:gd name="connsiteY8" fmla="*/ 17 h 20288"/>
              <a:gd name="connsiteX0" fmla="*/ 1499 w 20084"/>
              <a:gd name="connsiteY0" fmla="*/ 17 h 20288"/>
              <a:gd name="connsiteX1" fmla="*/ 2224 w 20084"/>
              <a:gd name="connsiteY1" fmla="*/ 0 h 20288"/>
              <a:gd name="connsiteX2" fmla="*/ 20084 w 20084"/>
              <a:gd name="connsiteY2" fmla="*/ 6796 h 20288"/>
              <a:gd name="connsiteX3" fmla="*/ 20066 w 20084"/>
              <a:gd name="connsiteY3" fmla="*/ 11052 h 20288"/>
              <a:gd name="connsiteX4" fmla="*/ 14185 w 20084"/>
              <a:gd name="connsiteY4" fmla="*/ 20272 h 20288"/>
              <a:gd name="connsiteX5" fmla="*/ 11886 w 20084"/>
              <a:gd name="connsiteY5" fmla="*/ 20288 h 20288"/>
              <a:gd name="connsiteX6" fmla="*/ 228 w 20084"/>
              <a:gd name="connsiteY6" fmla="*/ 7940 h 20288"/>
              <a:gd name="connsiteX7" fmla="*/ 164 w 20084"/>
              <a:gd name="connsiteY7" fmla="*/ 6363 h 20288"/>
              <a:gd name="connsiteX8" fmla="*/ 1499 w 20084"/>
              <a:gd name="connsiteY8" fmla="*/ 17 h 2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84" h="20288">
                <a:moveTo>
                  <a:pt x="1499" y="17"/>
                </a:moveTo>
                <a:lnTo>
                  <a:pt x="2224" y="0"/>
                </a:lnTo>
                <a:lnTo>
                  <a:pt x="20084" y="6796"/>
                </a:lnTo>
                <a:cubicBezTo>
                  <a:pt x="20073" y="8162"/>
                  <a:pt x="20077" y="9686"/>
                  <a:pt x="20066" y="11052"/>
                </a:cubicBezTo>
                <a:lnTo>
                  <a:pt x="14185" y="20272"/>
                </a:lnTo>
                <a:lnTo>
                  <a:pt x="11886" y="20288"/>
                </a:lnTo>
                <a:lnTo>
                  <a:pt x="228" y="7940"/>
                </a:lnTo>
                <a:cubicBezTo>
                  <a:pt x="-154" y="7593"/>
                  <a:pt x="27" y="7059"/>
                  <a:pt x="164" y="6363"/>
                </a:cubicBezTo>
                <a:cubicBezTo>
                  <a:pt x="301" y="5667"/>
                  <a:pt x="1193" y="1080"/>
                  <a:pt x="1499" y="1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apezoid 5">
            <a:extLst>
              <a:ext uri="{FF2B5EF4-FFF2-40B4-BE49-F238E27FC236}">
                <a16:creationId xmlns:a16="http://schemas.microsoft.com/office/drawing/2014/main" id="{2353DF7A-2B86-1847-B936-379DA3080D60}"/>
              </a:ext>
            </a:extLst>
          </p:cNvPr>
          <p:cNvSpPr/>
          <p:nvPr/>
        </p:nvSpPr>
        <p:spPr>
          <a:xfrm>
            <a:off x="5111479" y="325839"/>
            <a:ext cx="7084961" cy="6536530"/>
          </a:xfrm>
          <a:custGeom>
            <a:avLst/>
            <a:gdLst>
              <a:gd name="connsiteX0" fmla="*/ 0 w 3508169"/>
              <a:gd name="connsiteY0" fmla="*/ 3543337 h 3543337"/>
              <a:gd name="connsiteX1" fmla="*/ 877042 w 3508169"/>
              <a:gd name="connsiteY1" fmla="*/ 0 h 3543337"/>
              <a:gd name="connsiteX2" fmla="*/ 2631127 w 3508169"/>
              <a:gd name="connsiteY2" fmla="*/ 0 h 3543337"/>
              <a:gd name="connsiteX3" fmla="*/ 3508169 w 3508169"/>
              <a:gd name="connsiteY3" fmla="*/ 3543337 h 3543337"/>
              <a:gd name="connsiteX4" fmla="*/ 0 w 3508169"/>
              <a:gd name="connsiteY4" fmla="*/ 3543337 h 3543337"/>
              <a:gd name="connsiteX0" fmla="*/ 0 w 6086008"/>
              <a:gd name="connsiteY0" fmla="*/ 5470415 h 5470415"/>
              <a:gd name="connsiteX1" fmla="*/ 877042 w 6086008"/>
              <a:gd name="connsiteY1" fmla="*/ 1927078 h 5470415"/>
              <a:gd name="connsiteX2" fmla="*/ 6086008 w 6086008"/>
              <a:gd name="connsiteY2" fmla="*/ 0 h 5470415"/>
              <a:gd name="connsiteX3" fmla="*/ 3508169 w 6086008"/>
              <a:gd name="connsiteY3" fmla="*/ 5470415 h 5470415"/>
              <a:gd name="connsiteX4" fmla="*/ 0 w 6086008"/>
              <a:gd name="connsiteY4" fmla="*/ 5470415 h 5470415"/>
              <a:gd name="connsiteX0" fmla="*/ 0 w 6086008"/>
              <a:gd name="connsiteY0" fmla="*/ 5470415 h 5470415"/>
              <a:gd name="connsiteX1" fmla="*/ 877042 w 6086008"/>
              <a:gd name="connsiteY1" fmla="*/ 1927078 h 5470415"/>
              <a:gd name="connsiteX2" fmla="*/ 6086008 w 6086008"/>
              <a:gd name="connsiteY2" fmla="*/ 0 h 5470415"/>
              <a:gd name="connsiteX3" fmla="*/ 6057143 w 6086008"/>
              <a:gd name="connsiteY3" fmla="*/ 3419009 h 5470415"/>
              <a:gd name="connsiteX4" fmla="*/ 0 w 6086008"/>
              <a:gd name="connsiteY4" fmla="*/ 5470415 h 5470415"/>
              <a:gd name="connsiteX0" fmla="*/ 3048556 w 5208966"/>
              <a:gd name="connsiteY0" fmla="*/ 6607124 h 6607124"/>
              <a:gd name="connsiteX1" fmla="*/ 0 w 5208966"/>
              <a:gd name="connsiteY1" fmla="*/ 1927078 h 6607124"/>
              <a:gd name="connsiteX2" fmla="*/ 5208966 w 5208966"/>
              <a:gd name="connsiteY2" fmla="*/ 0 h 6607124"/>
              <a:gd name="connsiteX3" fmla="*/ 5180101 w 5208966"/>
              <a:gd name="connsiteY3" fmla="*/ 3419009 h 6607124"/>
              <a:gd name="connsiteX4" fmla="*/ 3048556 w 5208966"/>
              <a:gd name="connsiteY4" fmla="*/ 6607124 h 6607124"/>
              <a:gd name="connsiteX0" fmla="*/ 4833726 w 6994136"/>
              <a:gd name="connsiteY0" fmla="*/ 6607124 h 6607124"/>
              <a:gd name="connsiteX1" fmla="*/ 0 w 6994136"/>
              <a:gd name="connsiteY1" fmla="*/ 2193494 h 6607124"/>
              <a:gd name="connsiteX2" fmla="*/ 6994136 w 6994136"/>
              <a:gd name="connsiteY2" fmla="*/ 0 h 6607124"/>
              <a:gd name="connsiteX3" fmla="*/ 6965271 w 6994136"/>
              <a:gd name="connsiteY3" fmla="*/ 3419009 h 6607124"/>
              <a:gd name="connsiteX4" fmla="*/ 4833726 w 6994136"/>
              <a:gd name="connsiteY4" fmla="*/ 6607124 h 6607124"/>
              <a:gd name="connsiteX0" fmla="*/ 4833726 w 6994136"/>
              <a:gd name="connsiteY0" fmla="*/ 6607124 h 6607124"/>
              <a:gd name="connsiteX1" fmla="*/ 1405487 w 6994136"/>
              <a:gd name="connsiteY1" fmla="*/ 3490053 h 6607124"/>
              <a:gd name="connsiteX2" fmla="*/ 0 w 6994136"/>
              <a:gd name="connsiteY2" fmla="*/ 2193494 h 6607124"/>
              <a:gd name="connsiteX3" fmla="*/ 6994136 w 6994136"/>
              <a:gd name="connsiteY3" fmla="*/ 0 h 6607124"/>
              <a:gd name="connsiteX4" fmla="*/ 6965271 w 6994136"/>
              <a:gd name="connsiteY4" fmla="*/ 3419009 h 6607124"/>
              <a:gd name="connsiteX5" fmla="*/ 4833726 w 6994136"/>
              <a:gd name="connsiteY5" fmla="*/ 6607124 h 6607124"/>
              <a:gd name="connsiteX0" fmla="*/ 4833726 w 6994136"/>
              <a:gd name="connsiteY0" fmla="*/ 6607124 h 6607124"/>
              <a:gd name="connsiteX1" fmla="*/ 4078801 w 6994136"/>
              <a:gd name="connsiteY1" fmla="*/ 6571601 h 6607124"/>
              <a:gd name="connsiteX2" fmla="*/ 0 w 6994136"/>
              <a:gd name="connsiteY2" fmla="*/ 2193494 h 6607124"/>
              <a:gd name="connsiteX3" fmla="*/ 6994136 w 6994136"/>
              <a:gd name="connsiteY3" fmla="*/ 0 h 6607124"/>
              <a:gd name="connsiteX4" fmla="*/ 6965271 w 6994136"/>
              <a:gd name="connsiteY4" fmla="*/ 3419009 h 6607124"/>
              <a:gd name="connsiteX5" fmla="*/ 4833726 w 6994136"/>
              <a:gd name="connsiteY5" fmla="*/ 6607124 h 6607124"/>
              <a:gd name="connsiteX0" fmla="*/ 4833726 w 6994136"/>
              <a:gd name="connsiteY0" fmla="*/ 6553841 h 6571601"/>
              <a:gd name="connsiteX1" fmla="*/ 4078801 w 6994136"/>
              <a:gd name="connsiteY1" fmla="*/ 6571601 h 6571601"/>
              <a:gd name="connsiteX2" fmla="*/ 0 w 6994136"/>
              <a:gd name="connsiteY2" fmla="*/ 2193494 h 6571601"/>
              <a:gd name="connsiteX3" fmla="*/ 6994136 w 6994136"/>
              <a:gd name="connsiteY3" fmla="*/ 0 h 6571601"/>
              <a:gd name="connsiteX4" fmla="*/ 6965271 w 6994136"/>
              <a:gd name="connsiteY4" fmla="*/ 3419009 h 6571601"/>
              <a:gd name="connsiteX5" fmla="*/ 4833726 w 6994136"/>
              <a:gd name="connsiteY5" fmla="*/ 6553841 h 6571601"/>
              <a:gd name="connsiteX0" fmla="*/ 4833726 w 6994136"/>
              <a:gd name="connsiteY0" fmla="*/ 6553841 h 6553841"/>
              <a:gd name="connsiteX1" fmla="*/ 4061039 w 6994136"/>
              <a:gd name="connsiteY1" fmla="*/ 6544959 h 6553841"/>
              <a:gd name="connsiteX2" fmla="*/ 0 w 6994136"/>
              <a:gd name="connsiteY2" fmla="*/ 2193494 h 6553841"/>
              <a:gd name="connsiteX3" fmla="*/ 6994136 w 6994136"/>
              <a:gd name="connsiteY3" fmla="*/ 0 h 6553841"/>
              <a:gd name="connsiteX4" fmla="*/ 6965271 w 6994136"/>
              <a:gd name="connsiteY4" fmla="*/ 3419009 h 6553841"/>
              <a:gd name="connsiteX5" fmla="*/ 4833726 w 6994136"/>
              <a:gd name="connsiteY5" fmla="*/ 6553841 h 6553841"/>
              <a:gd name="connsiteX0" fmla="*/ 4895896 w 7056306"/>
              <a:gd name="connsiteY0" fmla="*/ 6553841 h 6553841"/>
              <a:gd name="connsiteX1" fmla="*/ 4123209 w 7056306"/>
              <a:gd name="connsiteY1" fmla="*/ 6544959 h 6553841"/>
              <a:gd name="connsiteX2" fmla="*/ 0 w 7056306"/>
              <a:gd name="connsiteY2" fmla="*/ 2193494 h 6553841"/>
              <a:gd name="connsiteX3" fmla="*/ 7056306 w 7056306"/>
              <a:gd name="connsiteY3" fmla="*/ 0 h 6553841"/>
              <a:gd name="connsiteX4" fmla="*/ 7027441 w 7056306"/>
              <a:gd name="connsiteY4" fmla="*/ 3419009 h 6553841"/>
              <a:gd name="connsiteX5" fmla="*/ 4895896 w 7056306"/>
              <a:gd name="connsiteY5" fmla="*/ 6553841 h 6553841"/>
              <a:gd name="connsiteX0" fmla="*/ 4895896 w 7056306"/>
              <a:gd name="connsiteY0" fmla="*/ 6553841 h 6553841"/>
              <a:gd name="connsiteX1" fmla="*/ 4123209 w 7056306"/>
              <a:gd name="connsiteY1" fmla="*/ 6544959 h 6553841"/>
              <a:gd name="connsiteX2" fmla="*/ 197612 w 7056306"/>
              <a:gd name="connsiteY2" fmla="*/ 2397746 h 6553841"/>
              <a:gd name="connsiteX3" fmla="*/ 0 w 7056306"/>
              <a:gd name="connsiteY3" fmla="*/ 2193494 h 6553841"/>
              <a:gd name="connsiteX4" fmla="*/ 7056306 w 7056306"/>
              <a:gd name="connsiteY4" fmla="*/ 0 h 6553841"/>
              <a:gd name="connsiteX5" fmla="*/ 7027441 w 7056306"/>
              <a:gd name="connsiteY5" fmla="*/ 3419009 h 6553841"/>
              <a:gd name="connsiteX6" fmla="*/ 4895896 w 7056306"/>
              <a:gd name="connsiteY6" fmla="*/ 6553841 h 6553841"/>
              <a:gd name="connsiteX0" fmla="*/ 4895896 w 7056306"/>
              <a:gd name="connsiteY0" fmla="*/ 6553841 h 6553841"/>
              <a:gd name="connsiteX1" fmla="*/ 4123209 w 7056306"/>
              <a:gd name="connsiteY1" fmla="*/ 6544959 h 6553841"/>
              <a:gd name="connsiteX2" fmla="*/ 91034 w 7056306"/>
              <a:gd name="connsiteY2" fmla="*/ 2442148 h 6553841"/>
              <a:gd name="connsiteX3" fmla="*/ 0 w 7056306"/>
              <a:gd name="connsiteY3" fmla="*/ 2193494 h 6553841"/>
              <a:gd name="connsiteX4" fmla="*/ 7056306 w 7056306"/>
              <a:gd name="connsiteY4" fmla="*/ 0 h 6553841"/>
              <a:gd name="connsiteX5" fmla="*/ 7027441 w 7056306"/>
              <a:gd name="connsiteY5" fmla="*/ 3419009 h 6553841"/>
              <a:gd name="connsiteX6" fmla="*/ 4895896 w 7056306"/>
              <a:gd name="connsiteY6" fmla="*/ 6553841 h 6553841"/>
              <a:gd name="connsiteX0" fmla="*/ 4922142 w 7082552"/>
              <a:gd name="connsiteY0" fmla="*/ 6553841 h 6553841"/>
              <a:gd name="connsiteX1" fmla="*/ 4149455 w 7082552"/>
              <a:gd name="connsiteY1" fmla="*/ 6544959 h 6553841"/>
              <a:gd name="connsiteX2" fmla="*/ 117280 w 7082552"/>
              <a:gd name="connsiteY2" fmla="*/ 2442148 h 6553841"/>
              <a:gd name="connsiteX3" fmla="*/ 26246 w 7082552"/>
              <a:gd name="connsiteY3" fmla="*/ 2193494 h 6553841"/>
              <a:gd name="connsiteX4" fmla="*/ 7082552 w 7082552"/>
              <a:gd name="connsiteY4" fmla="*/ 0 h 6553841"/>
              <a:gd name="connsiteX5" fmla="*/ 7053687 w 7082552"/>
              <a:gd name="connsiteY5" fmla="*/ 3419009 h 6553841"/>
              <a:gd name="connsiteX6" fmla="*/ 4922142 w 7082552"/>
              <a:gd name="connsiteY6" fmla="*/ 6553841 h 6553841"/>
              <a:gd name="connsiteX0" fmla="*/ 4950971 w 7111381"/>
              <a:gd name="connsiteY0" fmla="*/ 6553841 h 6553841"/>
              <a:gd name="connsiteX1" fmla="*/ 4178284 w 7111381"/>
              <a:gd name="connsiteY1" fmla="*/ 6544959 h 6553841"/>
              <a:gd name="connsiteX2" fmla="*/ 146109 w 7111381"/>
              <a:gd name="connsiteY2" fmla="*/ 2442148 h 6553841"/>
              <a:gd name="connsiteX3" fmla="*/ 55075 w 7111381"/>
              <a:gd name="connsiteY3" fmla="*/ 2193494 h 6553841"/>
              <a:gd name="connsiteX4" fmla="*/ 7111381 w 7111381"/>
              <a:gd name="connsiteY4" fmla="*/ 0 h 6553841"/>
              <a:gd name="connsiteX5" fmla="*/ 7082516 w 7111381"/>
              <a:gd name="connsiteY5" fmla="*/ 3419009 h 6553841"/>
              <a:gd name="connsiteX6" fmla="*/ 4950971 w 7111381"/>
              <a:gd name="connsiteY6" fmla="*/ 6553841 h 6553841"/>
              <a:gd name="connsiteX0" fmla="*/ 4963653 w 7124063"/>
              <a:gd name="connsiteY0" fmla="*/ 6553841 h 6553841"/>
              <a:gd name="connsiteX1" fmla="*/ 4190966 w 7124063"/>
              <a:gd name="connsiteY1" fmla="*/ 6544959 h 6553841"/>
              <a:gd name="connsiteX2" fmla="*/ 158791 w 7124063"/>
              <a:gd name="connsiteY2" fmla="*/ 2442148 h 6553841"/>
              <a:gd name="connsiteX3" fmla="*/ 67757 w 7124063"/>
              <a:gd name="connsiteY3" fmla="*/ 2193494 h 6553841"/>
              <a:gd name="connsiteX4" fmla="*/ 7124063 w 7124063"/>
              <a:gd name="connsiteY4" fmla="*/ 0 h 6553841"/>
              <a:gd name="connsiteX5" fmla="*/ 7095198 w 7124063"/>
              <a:gd name="connsiteY5" fmla="*/ 3419009 h 6553841"/>
              <a:gd name="connsiteX6" fmla="*/ 4963653 w 7124063"/>
              <a:gd name="connsiteY6" fmla="*/ 6553841 h 6553841"/>
              <a:gd name="connsiteX0" fmla="*/ 4951680 w 7112090"/>
              <a:gd name="connsiteY0" fmla="*/ 6553841 h 6553841"/>
              <a:gd name="connsiteX1" fmla="*/ 4178993 w 7112090"/>
              <a:gd name="connsiteY1" fmla="*/ 6544959 h 6553841"/>
              <a:gd name="connsiteX2" fmla="*/ 146818 w 7112090"/>
              <a:gd name="connsiteY2" fmla="*/ 2442148 h 6553841"/>
              <a:gd name="connsiteX3" fmla="*/ 78234 w 7112090"/>
              <a:gd name="connsiteY3" fmla="*/ 2187080 h 6553841"/>
              <a:gd name="connsiteX4" fmla="*/ 7112090 w 7112090"/>
              <a:gd name="connsiteY4" fmla="*/ 0 h 6553841"/>
              <a:gd name="connsiteX5" fmla="*/ 7083225 w 7112090"/>
              <a:gd name="connsiteY5" fmla="*/ 3419009 h 6553841"/>
              <a:gd name="connsiteX6" fmla="*/ 4951680 w 7112090"/>
              <a:gd name="connsiteY6" fmla="*/ 6553841 h 6553841"/>
              <a:gd name="connsiteX0" fmla="*/ 4951680 w 7083225"/>
              <a:gd name="connsiteY0" fmla="*/ 6527921 h 6527921"/>
              <a:gd name="connsiteX1" fmla="*/ 4178993 w 7083225"/>
              <a:gd name="connsiteY1" fmla="*/ 6519039 h 6527921"/>
              <a:gd name="connsiteX2" fmla="*/ 146818 w 7083225"/>
              <a:gd name="connsiteY2" fmla="*/ 2416228 h 6527921"/>
              <a:gd name="connsiteX3" fmla="*/ 78234 w 7083225"/>
              <a:gd name="connsiteY3" fmla="*/ 2161160 h 6527921"/>
              <a:gd name="connsiteX4" fmla="*/ 7077534 w 7083225"/>
              <a:gd name="connsiteY4" fmla="*/ 0 h 6527921"/>
              <a:gd name="connsiteX5" fmla="*/ 7083225 w 7083225"/>
              <a:gd name="connsiteY5" fmla="*/ 3393089 h 6527921"/>
              <a:gd name="connsiteX6" fmla="*/ 4951680 w 7083225"/>
              <a:gd name="connsiteY6" fmla="*/ 6527921 h 6527921"/>
              <a:gd name="connsiteX0" fmla="*/ 4996130 w 7083225"/>
              <a:gd name="connsiteY0" fmla="*/ 6521571 h 6521571"/>
              <a:gd name="connsiteX1" fmla="*/ 4178993 w 7083225"/>
              <a:gd name="connsiteY1" fmla="*/ 6519039 h 6521571"/>
              <a:gd name="connsiteX2" fmla="*/ 146818 w 7083225"/>
              <a:gd name="connsiteY2" fmla="*/ 2416228 h 6521571"/>
              <a:gd name="connsiteX3" fmla="*/ 78234 w 7083225"/>
              <a:gd name="connsiteY3" fmla="*/ 2161160 h 6521571"/>
              <a:gd name="connsiteX4" fmla="*/ 7077534 w 7083225"/>
              <a:gd name="connsiteY4" fmla="*/ 0 h 6521571"/>
              <a:gd name="connsiteX5" fmla="*/ 7083225 w 7083225"/>
              <a:gd name="connsiteY5" fmla="*/ 3393089 h 6521571"/>
              <a:gd name="connsiteX6" fmla="*/ 4996130 w 7083225"/>
              <a:gd name="connsiteY6" fmla="*/ 6521571 h 6521571"/>
              <a:gd name="connsiteX0" fmla="*/ 4996130 w 7083225"/>
              <a:gd name="connsiteY0" fmla="*/ 6521571 h 6525389"/>
              <a:gd name="connsiteX1" fmla="*/ 4182168 w 7083225"/>
              <a:gd name="connsiteY1" fmla="*/ 6525389 h 6525389"/>
              <a:gd name="connsiteX2" fmla="*/ 146818 w 7083225"/>
              <a:gd name="connsiteY2" fmla="*/ 2416228 h 6525389"/>
              <a:gd name="connsiteX3" fmla="*/ 78234 w 7083225"/>
              <a:gd name="connsiteY3" fmla="*/ 2161160 h 6525389"/>
              <a:gd name="connsiteX4" fmla="*/ 7077534 w 7083225"/>
              <a:gd name="connsiteY4" fmla="*/ 0 h 6525389"/>
              <a:gd name="connsiteX5" fmla="*/ 7083225 w 7083225"/>
              <a:gd name="connsiteY5" fmla="*/ 3393089 h 6525389"/>
              <a:gd name="connsiteX6" fmla="*/ 4996130 w 7083225"/>
              <a:gd name="connsiteY6" fmla="*/ 6521571 h 6525389"/>
              <a:gd name="connsiteX0" fmla="*/ 4996130 w 7084961"/>
              <a:gd name="connsiteY0" fmla="*/ 6532712 h 6536530"/>
              <a:gd name="connsiteX1" fmla="*/ 4182168 w 7084961"/>
              <a:gd name="connsiteY1" fmla="*/ 6536530 h 6536530"/>
              <a:gd name="connsiteX2" fmla="*/ 146818 w 7084961"/>
              <a:gd name="connsiteY2" fmla="*/ 2427369 h 6536530"/>
              <a:gd name="connsiteX3" fmla="*/ 78234 w 7084961"/>
              <a:gd name="connsiteY3" fmla="*/ 2172301 h 6536530"/>
              <a:gd name="connsiteX4" fmla="*/ 7084961 w 7084961"/>
              <a:gd name="connsiteY4" fmla="*/ 0 h 6536530"/>
              <a:gd name="connsiteX5" fmla="*/ 7083225 w 7084961"/>
              <a:gd name="connsiteY5" fmla="*/ 3404230 h 6536530"/>
              <a:gd name="connsiteX6" fmla="*/ 4996130 w 7084961"/>
              <a:gd name="connsiteY6" fmla="*/ 6532712 h 6536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84961" h="6536530">
                <a:moveTo>
                  <a:pt x="4996130" y="6532712"/>
                </a:moveTo>
                <a:lnTo>
                  <a:pt x="4182168" y="6536530"/>
                </a:lnTo>
                <a:lnTo>
                  <a:pt x="146818" y="2427369"/>
                </a:lnTo>
                <a:cubicBezTo>
                  <a:pt x="-69953" y="2216324"/>
                  <a:pt x="-5053" y="2212053"/>
                  <a:pt x="78234" y="2172301"/>
                </a:cubicBezTo>
                <a:lnTo>
                  <a:pt x="7084961" y="0"/>
                </a:lnTo>
                <a:cubicBezTo>
                  <a:pt x="7084382" y="1134743"/>
                  <a:pt x="7083804" y="2269487"/>
                  <a:pt x="7083225" y="3404230"/>
                </a:cubicBezTo>
                <a:lnTo>
                  <a:pt x="4996130" y="6532712"/>
                </a:lnTo>
                <a:close/>
              </a:path>
            </a:pathLst>
          </a:custGeom>
          <a:blipFill rotWithShape="1">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apezoid 5">
            <a:extLst>
              <a:ext uri="{FF2B5EF4-FFF2-40B4-BE49-F238E27FC236}">
                <a16:creationId xmlns:a16="http://schemas.microsoft.com/office/drawing/2014/main" id="{3C55506D-5F13-B14C-A34E-E2604E8043C9}"/>
              </a:ext>
            </a:extLst>
          </p:cNvPr>
          <p:cNvSpPr/>
          <p:nvPr/>
        </p:nvSpPr>
        <p:spPr>
          <a:xfrm>
            <a:off x="5114672" y="315416"/>
            <a:ext cx="7094891" cy="6560112"/>
          </a:xfrm>
          <a:custGeom>
            <a:avLst/>
            <a:gdLst>
              <a:gd name="connsiteX0" fmla="*/ 0 w 3508169"/>
              <a:gd name="connsiteY0" fmla="*/ 3543337 h 3543337"/>
              <a:gd name="connsiteX1" fmla="*/ 877042 w 3508169"/>
              <a:gd name="connsiteY1" fmla="*/ 0 h 3543337"/>
              <a:gd name="connsiteX2" fmla="*/ 2631127 w 3508169"/>
              <a:gd name="connsiteY2" fmla="*/ 0 h 3543337"/>
              <a:gd name="connsiteX3" fmla="*/ 3508169 w 3508169"/>
              <a:gd name="connsiteY3" fmla="*/ 3543337 h 3543337"/>
              <a:gd name="connsiteX4" fmla="*/ 0 w 3508169"/>
              <a:gd name="connsiteY4" fmla="*/ 3543337 h 3543337"/>
              <a:gd name="connsiteX0" fmla="*/ 0 w 6086008"/>
              <a:gd name="connsiteY0" fmla="*/ 5470415 h 5470415"/>
              <a:gd name="connsiteX1" fmla="*/ 877042 w 6086008"/>
              <a:gd name="connsiteY1" fmla="*/ 1927078 h 5470415"/>
              <a:gd name="connsiteX2" fmla="*/ 6086008 w 6086008"/>
              <a:gd name="connsiteY2" fmla="*/ 0 h 5470415"/>
              <a:gd name="connsiteX3" fmla="*/ 3508169 w 6086008"/>
              <a:gd name="connsiteY3" fmla="*/ 5470415 h 5470415"/>
              <a:gd name="connsiteX4" fmla="*/ 0 w 6086008"/>
              <a:gd name="connsiteY4" fmla="*/ 5470415 h 5470415"/>
              <a:gd name="connsiteX0" fmla="*/ 0 w 6086008"/>
              <a:gd name="connsiteY0" fmla="*/ 5470415 h 5470415"/>
              <a:gd name="connsiteX1" fmla="*/ 877042 w 6086008"/>
              <a:gd name="connsiteY1" fmla="*/ 1927078 h 5470415"/>
              <a:gd name="connsiteX2" fmla="*/ 6086008 w 6086008"/>
              <a:gd name="connsiteY2" fmla="*/ 0 h 5470415"/>
              <a:gd name="connsiteX3" fmla="*/ 6057143 w 6086008"/>
              <a:gd name="connsiteY3" fmla="*/ 3419009 h 5470415"/>
              <a:gd name="connsiteX4" fmla="*/ 0 w 6086008"/>
              <a:gd name="connsiteY4" fmla="*/ 5470415 h 5470415"/>
              <a:gd name="connsiteX0" fmla="*/ 3048556 w 5208966"/>
              <a:gd name="connsiteY0" fmla="*/ 6607124 h 6607124"/>
              <a:gd name="connsiteX1" fmla="*/ 0 w 5208966"/>
              <a:gd name="connsiteY1" fmla="*/ 1927078 h 6607124"/>
              <a:gd name="connsiteX2" fmla="*/ 5208966 w 5208966"/>
              <a:gd name="connsiteY2" fmla="*/ 0 h 6607124"/>
              <a:gd name="connsiteX3" fmla="*/ 5180101 w 5208966"/>
              <a:gd name="connsiteY3" fmla="*/ 3419009 h 6607124"/>
              <a:gd name="connsiteX4" fmla="*/ 3048556 w 5208966"/>
              <a:gd name="connsiteY4" fmla="*/ 6607124 h 6607124"/>
              <a:gd name="connsiteX0" fmla="*/ 4833726 w 6994136"/>
              <a:gd name="connsiteY0" fmla="*/ 6607124 h 6607124"/>
              <a:gd name="connsiteX1" fmla="*/ 0 w 6994136"/>
              <a:gd name="connsiteY1" fmla="*/ 2193494 h 6607124"/>
              <a:gd name="connsiteX2" fmla="*/ 6994136 w 6994136"/>
              <a:gd name="connsiteY2" fmla="*/ 0 h 6607124"/>
              <a:gd name="connsiteX3" fmla="*/ 6965271 w 6994136"/>
              <a:gd name="connsiteY3" fmla="*/ 3419009 h 6607124"/>
              <a:gd name="connsiteX4" fmla="*/ 4833726 w 6994136"/>
              <a:gd name="connsiteY4" fmla="*/ 6607124 h 6607124"/>
              <a:gd name="connsiteX0" fmla="*/ 4833726 w 6994136"/>
              <a:gd name="connsiteY0" fmla="*/ 6607124 h 6607124"/>
              <a:gd name="connsiteX1" fmla="*/ 1405487 w 6994136"/>
              <a:gd name="connsiteY1" fmla="*/ 3490053 h 6607124"/>
              <a:gd name="connsiteX2" fmla="*/ 0 w 6994136"/>
              <a:gd name="connsiteY2" fmla="*/ 2193494 h 6607124"/>
              <a:gd name="connsiteX3" fmla="*/ 6994136 w 6994136"/>
              <a:gd name="connsiteY3" fmla="*/ 0 h 6607124"/>
              <a:gd name="connsiteX4" fmla="*/ 6965271 w 6994136"/>
              <a:gd name="connsiteY4" fmla="*/ 3419009 h 6607124"/>
              <a:gd name="connsiteX5" fmla="*/ 4833726 w 6994136"/>
              <a:gd name="connsiteY5" fmla="*/ 6607124 h 6607124"/>
              <a:gd name="connsiteX0" fmla="*/ 4833726 w 6994136"/>
              <a:gd name="connsiteY0" fmla="*/ 6607124 h 6607124"/>
              <a:gd name="connsiteX1" fmla="*/ 4078801 w 6994136"/>
              <a:gd name="connsiteY1" fmla="*/ 6571601 h 6607124"/>
              <a:gd name="connsiteX2" fmla="*/ 0 w 6994136"/>
              <a:gd name="connsiteY2" fmla="*/ 2193494 h 6607124"/>
              <a:gd name="connsiteX3" fmla="*/ 6994136 w 6994136"/>
              <a:gd name="connsiteY3" fmla="*/ 0 h 6607124"/>
              <a:gd name="connsiteX4" fmla="*/ 6965271 w 6994136"/>
              <a:gd name="connsiteY4" fmla="*/ 3419009 h 6607124"/>
              <a:gd name="connsiteX5" fmla="*/ 4833726 w 6994136"/>
              <a:gd name="connsiteY5" fmla="*/ 6607124 h 6607124"/>
              <a:gd name="connsiteX0" fmla="*/ 4833726 w 6994136"/>
              <a:gd name="connsiteY0" fmla="*/ 6553841 h 6571601"/>
              <a:gd name="connsiteX1" fmla="*/ 4078801 w 6994136"/>
              <a:gd name="connsiteY1" fmla="*/ 6571601 h 6571601"/>
              <a:gd name="connsiteX2" fmla="*/ 0 w 6994136"/>
              <a:gd name="connsiteY2" fmla="*/ 2193494 h 6571601"/>
              <a:gd name="connsiteX3" fmla="*/ 6994136 w 6994136"/>
              <a:gd name="connsiteY3" fmla="*/ 0 h 6571601"/>
              <a:gd name="connsiteX4" fmla="*/ 6965271 w 6994136"/>
              <a:gd name="connsiteY4" fmla="*/ 3419009 h 6571601"/>
              <a:gd name="connsiteX5" fmla="*/ 4833726 w 6994136"/>
              <a:gd name="connsiteY5" fmla="*/ 6553841 h 6571601"/>
              <a:gd name="connsiteX0" fmla="*/ 4833726 w 6994136"/>
              <a:gd name="connsiteY0" fmla="*/ 6553841 h 6553841"/>
              <a:gd name="connsiteX1" fmla="*/ 4061039 w 6994136"/>
              <a:gd name="connsiteY1" fmla="*/ 6544959 h 6553841"/>
              <a:gd name="connsiteX2" fmla="*/ 0 w 6994136"/>
              <a:gd name="connsiteY2" fmla="*/ 2193494 h 6553841"/>
              <a:gd name="connsiteX3" fmla="*/ 6994136 w 6994136"/>
              <a:gd name="connsiteY3" fmla="*/ 0 h 6553841"/>
              <a:gd name="connsiteX4" fmla="*/ 6965271 w 6994136"/>
              <a:gd name="connsiteY4" fmla="*/ 3419009 h 6553841"/>
              <a:gd name="connsiteX5" fmla="*/ 4833726 w 6994136"/>
              <a:gd name="connsiteY5" fmla="*/ 6553841 h 6553841"/>
              <a:gd name="connsiteX0" fmla="*/ 4895896 w 7056306"/>
              <a:gd name="connsiteY0" fmla="*/ 6553841 h 6553841"/>
              <a:gd name="connsiteX1" fmla="*/ 4123209 w 7056306"/>
              <a:gd name="connsiteY1" fmla="*/ 6544959 h 6553841"/>
              <a:gd name="connsiteX2" fmla="*/ 0 w 7056306"/>
              <a:gd name="connsiteY2" fmla="*/ 2193494 h 6553841"/>
              <a:gd name="connsiteX3" fmla="*/ 7056306 w 7056306"/>
              <a:gd name="connsiteY3" fmla="*/ 0 h 6553841"/>
              <a:gd name="connsiteX4" fmla="*/ 7027441 w 7056306"/>
              <a:gd name="connsiteY4" fmla="*/ 3419009 h 6553841"/>
              <a:gd name="connsiteX5" fmla="*/ 4895896 w 7056306"/>
              <a:gd name="connsiteY5" fmla="*/ 6553841 h 6553841"/>
              <a:gd name="connsiteX0" fmla="*/ 4895896 w 7056306"/>
              <a:gd name="connsiteY0" fmla="*/ 6553841 h 6553841"/>
              <a:gd name="connsiteX1" fmla="*/ 4123209 w 7056306"/>
              <a:gd name="connsiteY1" fmla="*/ 6544959 h 6553841"/>
              <a:gd name="connsiteX2" fmla="*/ 197612 w 7056306"/>
              <a:gd name="connsiteY2" fmla="*/ 2397746 h 6553841"/>
              <a:gd name="connsiteX3" fmla="*/ 0 w 7056306"/>
              <a:gd name="connsiteY3" fmla="*/ 2193494 h 6553841"/>
              <a:gd name="connsiteX4" fmla="*/ 7056306 w 7056306"/>
              <a:gd name="connsiteY4" fmla="*/ 0 h 6553841"/>
              <a:gd name="connsiteX5" fmla="*/ 7027441 w 7056306"/>
              <a:gd name="connsiteY5" fmla="*/ 3419009 h 6553841"/>
              <a:gd name="connsiteX6" fmla="*/ 4895896 w 7056306"/>
              <a:gd name="connsiteY6" fmla="*/ 6553841 h 6553841"/>
              <a:gd name="connsiteX0" fmla="*/ 4895896 w 7056306"/>
              <a:gd name="connsiteY0" fmla="*/ 6553841 h 6553841"/>
              <a:gd name="connsiteX1" fmla="*/ 4123209 w 7056306"/>
              <a:gd name="connsiteY1" fmla="*/ 6544959 h 6553841"/>
              <a:gd name="connsiteX2" fmla="*/ 91034 w 7056306"/>
              <a:gd name="connsiteY2" fmla="*/ 2442148 h 6553841"/>
              <a:gd name="connsiteX3" fmla="*/ 0 w 7056306"/>
              <a:gd name="connsiteY3" fmla="*/ 2193494 h 6553841"/>
              <a:gd name="connsiteX4" fmla="*/ 7056306 w 7056306"/>
              <a:gd name="connsiteY4" fmla="*/ 0 h 6553841"/>
              <a:gd name="connsiteX5" fmla="*/ 7027441 w 7056306"/>
              <a:gd name="connsiteY5" fmla="*/ 3419009 h 6553841"/>
              <a:gd name="connsiteX6" fmla="*/ 4895896 w 7056306"/>
              <a:gd name="connsiteY6" fmla="*/ 6553841 h 6553841"/>
              <a:gd name="connsiteX0" fmla="*/ 4922142 w 7082552"/>
              <a:gd name="connsiteY0" fmla="*/ 6553841 h 6553841"/>
              <a:gd name="connsiteX1" fmla="*/ 4149455 w 7082552"/>
              <a:gd name="connsiteY1" fmla="*/ 6544959 h 6553841"/>
              <a:gd name="connsiteX2" fmla="*/ 117280 w 7082552"/>
              <a:gd name="connsiteY2" fmla="*/ 2442148 h 6553841"/>
              <a:gd name="connsiteX3" fmla="*/ 26246 w 7082552"/>
              <a:gd name="connsiteY3" fmla="*/ 2193494 h 6553841"/>
              <a:gd name="connsiteX4" fmla="*/ 7082552 w 7082552"/>
              <a:gd name="connsiteY4" fmla="*/ 0 h 6553841"/>
              <a:gd name="connsiteX5" fmla="*/ 7053687 w 7082552"/>
              <a:gd name="connsiteY5" fmla="*/ 3419009 h 6553841"/>
              <a:gd name="connsiteX6" fmla="*/ 4922142 w 7082552"/>
              <a:gd name="connsiteY6" fmla="*/ 6553841 h 6553841"/>
              <a:gd name="connsiteX0" fmla="*/ 4950971 w 7111381"/>
              <a:gd name="connsiteY0" fmla="*/ 6553841 h 6553841"/>
              <a:gd name="connsiteX1" fmla="*/ 4178284 w 7111381"/>
              <a:gd name="connsiteY1" fmla="*/ 6544959 h 6553841"/>
              <a:gd name="connsiteX2" fmla="*/ 146109 w 7111381"/>
              <a:gd name="connsiteY2" fmla="*/ 2442148 h 6553841"/>
              <a:gd name="connsiteX3" fmla="*/ 55075 w 7111381"/>
              <a:gd name="connsiteY3" fmla="*/ 2193494 h 6553841"/>
              <a:gd name="connsiteX4" fmla="*/ 7111381 w 7111381"/>
              <a:gd name="connsiteY4" fmla="*/ 0 h 6553841"/>
              <a:gd name="connsiteX5" fmla="*/ 7082516 w 7111381"/>
              <a:gd name="connsiteY5" fmla="*/ 3419009 h 6553841"/>
              <a:gd name="connsiteX6" fmla="*/ 4950971 w 7111381"/>
              <a:gd name="connsiteY6" fmla="*/ 6553841 h 6553841"/>
              <a:gd name="connsiteX0" fmla="*/ 4963653 w 7124063"/>
              <a:gd name="connsiteY0" fmla="*/ 6553841 h 6553841"/>
              <a:gd name="connsiteX1" fmla="*/ 4190966 w 7124063"/>
              <a:gd name="connsiteY1" fmla="*/ 6544959 h 6553841"/>
              <a:gd name="connsiteX2" fmla="*/ 158791 w 7124063"/>
              <a:gd name="connsiteY2" fmla="*/ 2442148 h 6553841"/>
              <a:gd name="connsiteX3" fmla="*/ 67757 w 7124063"/>
              <a:gd name="connsiteY3" fmla="*/ 2193494 h 6553841"/>
              <a:gd name="connsiteX4" fmla="*/ 7124063 w 7124063"/>
              <a:gd name="connsiteY4" fmla="*/ 0 h 6553841"/>
              <a:gd name="connsiteX5" fmla="*/ 7095198 w 7124063"/>
              <a:gd name="connsiteY5" fmla="*/ 3419009 h 6553841"/>
              <a:gd name="connsiteX6" fmla="*/ 4963653 w 7124063"/>
              <a:gd name="connsiteY6" fmla="*/ 6553841 h 6553841"/>
              <a:gd name="connsiteX0" fmla="*/ 4951680 w 7112090"/>
              <a:gd name="connsiteY0" fmla="*/ 6553841 h 6553841"/>
              <a:gd name="connsiteX1" fmla="*/ 4178993 w 7112090"/>
              <a:gd name="connsiteY1" fmla="*/ 6544959 h 6553841"/>
              <a:gd name="connsiteX2" fmla="*/ 146818 w 7112090"/>
              <a:gd name="connsiteY2" fmla="*/ 2442148 h 6553841"/>
              <a:gd name="connsiteX3" fmla="*/ 78234 w 7112090"/>
              <a:gd name="connsiteY3" fmla="*/ 2187080 h 6553841"/>
              <a:gd name="connsiteX4" fmla="*/ 7112090 w 7112090"/>
              <a:gd name="connsiteY4" fmla="*/ 0 h 6553841"/>
              <a:gd name="connsiteX5" fmla="*/ 7083225 w 7112090"/>
              <a:gd name="connsiteY5" fmla="*/ 3419009 h 6553841"/>
              <a:gd name="connsiteX6" fmla="*/ 4951680 w 7112090"/>
              <a:gd name="connsiteY6" fmla="*/ 6553841 h 6553841"/>
              <a:gd name="connsiteX0" fmla="*/ 4951680 w 7083225"/>
              <a:gd name="connsiteY0" fmla="*/ 6527921 h 6527921"/>
              <a:gd name="connsiteX1" fmla="*/ 4178993 w 7083225"/>
              <a:gd name="connsiteY1" fmla="*/ 6519039 h 6527921"/>
              <a:gd name="connsiteX2" fmla="*/ 146818 w 7083225"/>
              <a:gd name="connsiteY2" fmla="*/ 2416228 h 6527921"/>
              <a:gd name="connsiteX3" fmla="*/ 78234 w 7083225"/>
              <a:gd name="connsiteY3" fmla="*/ 2161160 h 6527921"/>
              <a:gd name="connsiteX4" fmla="*/ 7077534 w 7083225"/>
              <a:gd name="connsiteY4" fmla="*/ 0 h 6527921"/>
              <a:gd name="connsiteX5" fmla="*/ 7083225 w 7083225"/>
              <a:gd name="connsiteY5" fmla="*/ 3393089 h 6527921"/>
              <a:gd name="connsiteX6" fmla="*/ 4951680 w 7083225"/>
              <a:gd name="connsiteY6" fmla="*/ 6527921 h 6527921"/>
              <a:gd name="connsiteX0" fmla="*/ 4996130 w 7083225"/>
              <a:gd name="connsiteY0" fmla="*/ 6521571 h 6521571"/>
              <a:gd name="connsiteX1" fmla="*/ 4178993 w 7083225"/>
              <a:gd name="connsiteY1" fmla="*/ 6519039 h 6521571"/>
              <a:gd name="connsiteX2" fmla="*/ 146818 w 7083225"/>
              <a:gd name="connsiteY2" fmla="*/ 2416228 h 6521571"/>
              <a:gd name="connsiteX3" fmla="*/ 78234 w 7083225"/>
              <a:gd name="connsiteY3" fmla="*/ 2161160 h 6521571"/>
              <a:gd name="connsiteX4" fmla="*/ 7077534 w 7083225"/>
              <a:gd name="connsiteY4" fmla="*/ 0 h 6521571"/>
              <a:gd name="connsiteX5" fmla="*/ 7083225 w 7083225"/>
              <a:gd name="connsiteY5" fmla="*/ 3393089 h 6521571"/>
              <a:gd name="connsiteX6" fmla="*/ 4996130 w 7083225"/>
              <a:gd name="connsiteY6" fmla="*/ 6521571 h 6521571"/>
              <a:gd name="connsiteX0" fmla="*/ 4996130 w 7083225"/>
              <a:gd name="connsiteY0" fmla="*/ 6521571 h 6525389"/>
              <a:gd name="connsiteX1" fmla="*/ 4182168 w 7083225"/>
              <a:gd name="connsiteY1" fmla="*/ 6525389 h 6525389"/>
              <a:gd name="connsiteX2" fmla="*/ 146818 w 7083225"/>
              <a:gd name="connsiteY2" fmla="*/ 2416228 h 6525389"/>
              <a:gd name="connsiteX3" fmla="*/ 78234 w 7083225"/>
              <a:gd name="connsiteY3" fmla="*/ 2161160 h 6525389"/>
              <a:gd name="connsiteX4" fmla="*/ 7077534 w 7083225"/>
              <a:gd name="connsiteY4" fmla="*/ 0 h 6525389"/>
              <a:gd name="connsiteX5" fmla="*/ 7083225 w 7083225"/>
              <a:gd name="connsiteY5" fmla="*/ 3393089 h 6525389"/>
              <a:gd name="connsiteX6" fmla="*/ 4996130 w 7083225"/>
              <a:gd name="connsiteY6" fmla="*/ 6521571 h 6525389"/>
              <a:gd name="connsiteX0" fmla="*/ 4996130 w 7084961"/>
              <a:gd name="connsiteY0" fmla="*/ 6532712 h 6536530"/>
              <a:gd name="connsiteX1" fmla="*/ 4182168 w 7084961"/>
              <a:gd name="connsiteY1" fmla="*/ 6536530 h 6536530"/>
              <a:gd name="connsiteX2" fmla="*/ 146818 w 7084961"/>
              <a:gd name="connsiteY2" fmla="*/ 2427369 h 6536530"/>
              <a:gd name="connsiteX3" fmla="*/ 78234 w 7084961"/>
              <a:gd name="connsiteY3" fmla="*/ 2172301 h 6536530"/>
              <a:gd name="connsiteX4" fmla="*/ 7084961 w 7084961"/>
              <a:gd name="connsiteY4" fmla="*/ 0 h 6536530"/>
              <a:gd name="connsiteX5" fmla="*/ 7083225 w 7084961"/>
              <a:gd name="connsiteY5" fmla="*/ 3404230 h 6536530"/>
              <a:gd name="connsiteX6" fmla="*/ 4996130 w 7084961"/>
              <a:gd name="connsiteY6" fmla="*/ 6532712 h 6536530"/>
              <a:gd name="connsiteX0" fmla="*/ 5013784 w 7084961"/>
              <a:gd name="connsiteY0" fmla="*/ 6536242 h 6536530"/>
              <a:gd name="connsiteX1" fmla="*/ 4182168 w 7084961"/>
              <a:gd name="connsiteY1" fmla="*/ 6536530 h 6536530"/>
              <a:gd name="connsiteX2" fmla="*/ 146818 w 7084961"/>
              <a:gd name="connsiteY2" fmla="*/ 2427369 h 6536530"/>
              <a:gd name="connsiteX3" fmla="*/ 78234 w 7084961"/>
              <a:gd name="connsiteY3" fmla="*/ 2172301 h 6536530"/>
              <a:gd name="connsiteX4" fmla="*/ 7084961 w 7084961"/>
              <a:gd name="connsiteY4" fmla="*/ 0 h 6536530"/>
              <a:gd name="connsiteX5" fmla="*/ 7083225 w 7084961"/>
              <a:gd name="connsiteY5" fmla="*/ 3404230 h 6536530"/>
              <a:gd name="connsiteX6" fmla="*/ 5013784 w 7084961"/>
              <a:gd name="connsiteY6" fmla="*/ 6536242 h 6536530"/>
              <a:gd name="connsiteX0" fmla="*/ 5013784 w 7084961"/>
              <a:gd name="connsiteY0" fmla="*/ 6536242 h 6547121"/>
              <a:gd name="connsiteX1" fmla="*/ 4185699 w 7084961"/>
              <a:gd name="connsiteY1" fmla="*/ 6547121 h 6547121"/>
              <a:gd name="connsiteX2" fmla="*/ 146818 w 7084961"/>
              <a:gd name="connsiteY2" fmla="*/ 2427369 h 6547121"/>
              <a:gd name="connsiteX3" fmla="*/ 78234 w 7084961"/>
              <a:gd name="connsiteY3" fmla="*/ 2172301 h 6547121"/>
              <a:gd name="connsiteX4" fmla="*/ 7084961 w 7084961"/>
              <a:gd name="connsiteY4" fmla="*/ 0 h 6547121"/>
              <a:gd name="connsiteX5" fmla="*/ 7083225 w 7084961"/>
              <a:gd name="connsiteY5" fmla="*/ 3404230 h 6547121"/>
              <a:gd name="connsiteX6" fmla="*/ 5013784 w 7084961"/>
              <a:gd name="connsiteY6" fmla="*/ 6536242 h 6547121"/>
              <a:gd name="connsiteX0" fmla="*/ 5013784 w 7086830"/>
              <a:gd name="connsiteY0" fmla="*/ 6536242 h 6547121"/>
              <a:gd name="connsiteX1" fmla="*/ 4185699 w 7086830"/>
              <a:gd name="connsiteY1" fmla="*/ 6547121 h 6547121"/>
              <a:gd name="connsiteX2" fmla="*/ 146818 w 7086830"/>
              <a:gd name="connsiteY2" fmla="*/ 2427369 h 6547121"/>
              <a:gd name="connsiteX3" fmla="*/ 78234 w 7086830"/>
              <a:gd name="connsiteY3" fmla="*/ 2172301 h 6547121"/>
              <a:gd name="connsiteX4" fmla="*/ 7084961 w 7086830"/>
              <a:gd name="connsiteY4" fmla="*/ 0 h 6547121"/>
              <a:gd name="connsiteX5" fmla="*/ 7086755 w 7086830"/>
              <a:gd name="connsiteY5" fmla="*/ 3425413 h 6547121"/>
              <a:gd name="connsiteX6" fmla="*/ 5013784 w 7086830"/>
              <a:gd name="connsiteY6" fmla="*/ 6536242 h 6547121"/>
              <a:gd name="connsiteX0" fmla="*/ 5013784 w 7099083"/>
              <a:gd name="connsiteY0" fmla="*/ 6543303 h 6554182"/>
              <a:gd name="connsiteX1" fmla="*/ 4185699 w 7099083"/>
              <a:gd name="connsiteY1" fmla="*/ 6554182 h 6554182"/>
              <a:gd name="connsiteX2" fmla="*/ 146818 w 7099083"/>
              <a:gd name="connsiteY2" fmla="*/ 2434430 h 6554182"/>
              <a:gd name="connsiteX3" fmla="*/ 78234 w 7099083"/>
              <a:gd name="connsiteY3" fmla="*/ 2179362 h 6554182"/>
              <a:gd name="connsiteX4" fmla="*/ 7099083 w 7099083"/>
              <a:gd name="connsiteY4" fmla="*/ 0 h 6554182"/>
              <a:gd name="connsiteX5" fmla="*/ 7086755 w 7099083"/>
              <a:gd name="connsiteY5" fmla="*/ 3432474 h 6554182"/>
              <a:gd name="connsiteX6" fmla="*/ 5013784 w 7099083"/>
              <a:gd name="connsiteY6" fmla="*/ 6543303 h 6554182"/>
              <a:gd name="connsiteX0" fmla="*/ 4996305 w 7081604"/>
              <a:gd name="connsiteY0" fmla="*/ 6543303 h 6554182"/>
              <a:gd name="connsiteX1" fmla="*/ 4168220 w 7081604"/>
              <a:gd name="connsiteY1" fmla="*/ 6554182 h 6554182"/>
              <a:gd name="connsiteX2" fmla="*/ 129339 w 7081604"/>
              <a:gd name="connsiteY2" fmla="*/ 2434430 h 6554182"/>
              <a:gd name="connsiteX3" fmla="*/ 98856 w 7081604"/>
              <a:gd name="connsiteY3" fmla="*/ 2169837 h 6554182"/>
              <a:gd name="connsiteX4" fmla="*/ 7081604 w 7081604"/>
              <a:gd name="connsiteY4" fmla="*/ 0 h 6554182"/>
              <a:gd name="connsiteX5" fmla="*/ 7069276 w 7081604"/>
              <a:gd name="connsiteY5" fmla="*/ 3432474 h 6554182"/>
              <a:gd name="connsiteX6" fmla="*/ 4996305 w 7081604"/>
              <a:gd name="connsiteY6" fmla="*/ 6543303 h 6554182"/>
              <a:gd name="connsiteX0" fmla="*/ 4989581 w 7081604"/>
              <a:gd name="connsiteY0" fmla="*/ 6553388 h 6554182"/>
              <a:gd name="connsiteX1" fmla="*/ 4168220 w 7081604"/>
              <a:gd name="connsiteY1" fmla="*/ 6554182 h 6554182"/>
              <a:gd name="connsiteX2" fmla="*/ 129339 w 7081604"/>
              <a:gd name="connsiteY2" fmla="*/ 2434430 h 6554182"/>
              <a:gd name="connsiteX3" fmla="*/ 98856 w 7081604"/>
              <a:gd name="connsiteY3" fmla="*/ 2169837 h 6554182"/>
              <a:gd name="connsiteX4" fmla="*/ 7081604 w 7081604"/>
              <a:gd name="connsiteY4" fmla="*/ 0 h 6554182"/>
              <a:gd name="connsiteX5" fmla="*/ 7069276 w 7081604"/>
              <a:gd name="connsiteY5" fmla="*/ 3432474 h 6554182"/>
              <a:gd name="connsiteX6" fmla="*/ 4989581 w 7081604"/>
              <a:gd name="connsiteY6" fmla="*/ 6553388 h 6554182"/>
              <a:gd name="connsiteX0" fmla="*/ 5006391 w 7081604"/>
              <a:gd name="connsiteY0" fmla="*/ 6556750 h 6556750"/>
              <a:gd name="connsiteX1" fmla="*/ 4168220 w 7081604"/>
              <a:gd name="connsiteY1" fmla="*/ 6554182 h 6556750"/>
              <a:gd name="connsiteX2" fmla="*/ 129339 w 7081604"/>
              <a:gd name="connsiteY2" fmla="*/ 2434430 h 6556750"/>
              <a:gd name="connsiteX3" fmla="*/ 98856 w 7081604"/>
              <a:gd name="connsiteY3" fmla="*/ 2169837 h 6556750"/>
              <a:gd name="connsiteX4" fmla="*/ 7081604 w 7081604"/>
              <a:gd name="connsiteY4" fmla="*/ 0 h 6556750"/>
              <a:gd name="connsiteX5" fmla="*/ 7069276 w 7081604"/>
              <a:gd name="connsiteY5" fmla="*/ 3432474 h 6556750"/>
              <a:gd name="connsiteX6" fmla="*/ 5006391 w 7081604"/>
              <a:gd name="connsiteY6" fmla="*/ 6556750 h 6556750"/>
              <a:gd name="connsiteX0" fmla="*/ 5006391 w 7092829"/>
              <a:gd name="connsiteY0" fmla="*/ 6556750 h 6556750"/>
              <a:gd name="connsiteX1" fmla="*/ 4168220 w 7092829"/>
              <a:gd name="connsiteY1" fmla="*/ 6554182 h 6556750"/>
              <a:gd name="connsiteX2" fmla="*/ 129339 w 7092829"/>
              <a:gd name="connsiteY2" fmla="*/ 2434430 h 6556750"/>
              <a:gd name="connsiteX3" fmla="*/ 98856 w 7092829"/>
              <a:gd name="connsiteY3" fmla="*/ 2169837 h 6556750"/>
              <a:gd name="connsiteX4" fmla="*/ 7081604 w 7092829"/>
              <a:gd name="connsiteY4" fmla="*/ 0 h 6556750"/>
              <a:gd name="connsiteX5" fmla="*/ 7092810 w 7092829"/>
              <a:gd name="connsiteY5" fmla="*/ 3405580 h 6556750"/>
              <a:gd name="connsiteX6" fmla="*/ 5006391 w 7092829"/>
              <a:gd name="connsiteY6" fmla="*/ 6556750 h 6556750"/>
              <a:gd name="connsiteX0" fmla="*/ 5006391 w 7095052"/>
              <a:gd name="connsiteY0" fmla="*/ 6560112 h 6560112"/>
              <a:gd name="connsiteX1" fmla="*/ 4168220 w 7095052"/>
              <a:gd name="connsiteY1" fmla="*/ 6557544 h 6560112"/>
              <a:gd name="connsiteX2" fmla="*/ 129339 w 7095052"/>
              <a:gd name="connsiteY2" fmla="*/ 2437792 h 6560112"/>
              <a:gd name="connsiteX3" fmla="*/ 98856 w 7095052"/>
              <a:gd name="connsiteY3" fmla="*/ 2173199 h 6560112"/>
              <a:gd name="connsiteX4" fmla="*/ 7095052 w 7095052"/>
              <a:gd name="connsiteY4" fmla="*/ 0 h 6560112"/>
              <a:gd name="connsiteX5" fmla="*/ 7092810 w 7095052"/>
              <a:gd name="connsiteY5" fmla="*/ 3408942 h 6560112"/>
              <a:gd name="connsiteX6" fmla="*/ 5006391 w 7095052"/>
              <a:gd name="connsiteY6" fmla="*/ 6560112 h 6560112"/>
              <a:gd name="connsiteX0" fmla="*/ 5006391 w 7095052"/>
              <a:gd name="connsiteY0" fmla="*/ 6560112 h 6560112"/>
              <a:gd name="connsiteX1" fmla="*/ 4168220 w 7095052"/>
              <a:gd name="connsiteY1" fmla="*/ 6557544 h 6560112"/>
              <a:gd name="connsiteX2" fmla="*/ 129339 w 7095052"/>
              <a:gd name="connsiteY2" fmla="*/ 2447555 h 6560112"/>
              <a:gd name="connsiteX3" fmla="*/ 98856 w 7095052"/>
              <a:gd name="connsiteY3" fmla="*/ 2173199 h 6560112"/>
              <a:gd name="connsiteX4" fmla="*/ 7095052 w 7095052"/>
              <a:gd name="connsiteY4" fmla="*/ 0 h 6560112"/>
              <a:gd name="connsiteX5" fmla="*/ 7092810 w 7095052"/>
              <a:gd name="connsiteY5" fmla="*/ 3408942 h 6560112"/>
              <a:gd name="connsiteX6" fmla="*/ 5006391 w 7095052"/>
              <a:gd name="connsiteY6" fmla="*/ 6560112 h 6560112"/>
              <a:gd name="connsiteX0" fmla="*/ 5006391 w 7095052"/>
              <a:gd name="connsiteY0" fmla="*/ 6560112 h 6560112"/>
              <a:gd name="connsiteX1" fmla="*/ 4168220 w 7095052"/>
              <a:gd name="connsiteY1" fmla="*/ 6557544 h 6560112"/>
              <a:gd name="connsiteX2" fmla="*/ 129339 w 7095052"/>
              <a:gd name="connsiteY2" fmla="*/ 2447555 h 6560112"/>
              <a:gd name="connsiteX3" fmla="*/ 98856 w 7095052"/>
              <a:gd name="connsiteY3" fmla="*/ 2166691 h 6560112"/>
              <a:gd name="connsiteX4" fmla="*/ 7095052 w 7095052"/>
              <a:gd name="connsiteY4" fmla="*/ 0 h 6560112"/>
              <a:gd name="connsiteX5" fmla="*/ 7092810 w 7095052"/>
              <a:gd name="connsiteY5" fmla="*/ 3408942 h 6560112"/>
              <a:gd name="connsiteX6" fmla="*/ 5006391 w 7095052"/>
              <a:gd name="connsiteY6" fmla="*/ 6560112 h 6560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5052" h="6560112">
                <a:moveTo>
                  <a:pt x="5006391" y="6560112"/>
                </a:moveTo>
                <a:lnTo>
                  <a:pt x="4168220" y="6557544"/>
                </a:lnTo>
                <a:lnTo>
                  <a:pt x="129339" y="2447555"/>
                </a:lnTo>
                <a:cubicBezTo>
                  <a:pt x="-87432" y="2236510"/>
                  <a:pt x="15569" y="2206443"/>
                  <a:pt x="98856" y="2166691"/>
                </a:cubicBezTo>
                <a:lnTo>
                  <a:pt x="7095052" y="0"/>
                </a:lnTo>
                <a:cubicBezTo>
                  <a:pt x="7094473" y="1134743"/>
                  <a:pt x="7093389" y="2274199"/>
                  <a:pt x="7092810" y="3408942"/>
                </a:cubicBezTo>
                <a:lnTo>
                  <a:pt x="5006391" y="6560112"/>
                </a:lnTo>
                <a:close/>
              </a:path>
            </a:pathLst>
          </a:cu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a:p>
        </p:txBody>
      </p:sp>
      <p:sp>
        <p:nvSpPr>
          <p:cNvPr id="9" name="TextBox 8">
            <a:extLst>
              <a:ext uri="{FF2B5EF4-FFF2-40B4-BE49-F238E27FC236}">
                <a16:creationId xmlns:a16="http://schemas.microsoft.com/office/drawing/2014/main" id="{42C0A711-88E4-2549-859D-F28F9F1672C5}"/>
              </a:ext>
            </a:extLst>
          </p:cNvPr>
          <p:cNvSpPr txBox="1"/>
          <p:nvPr/>
        </p:nvSpPr>
        <p:spPr>
          <a:xfrm>
            <a:off x="-1170000" y="2440557"/>
            <a:ext cx="1052488" cy="1785104"/>
          </a:xfrm>
          <a:prstGeom prst="rect">
            <a:avLst/>
          </a:prstGeom>
          <a:solidFill>
            <a:schemeClr val="bg1"/>
          </a:solidFill>
        </p:spPr>
        <p:txBody>
          <a:bodyPr wrap="square" rtlCol="0">
            <a:spAutoFit/>
          </a:bodyPr>
          <a:lstStyle/>
          <a:p>
            <a:pPr algn="l"/>
            <a:r>
              <a:rPr lang="en-US" sz="1000">
                <a:solidFill>
                  <a:srgbClr val="333D47"/>
                </a:solidFill>
                <a:latin typeface="Arial" panose="020B0604020202020204" pitchFamily="34" charset="0"/>
                <a:cs typeface="Arial" panose="020B0604020202020204" pitchFamily="34" charset="0"/>
              </a:rPr>
              <a:t>The image can be replaced here and master view</a:t>
            </a:r>
          </a:p>
          <a:p>
            <a:pPr algn="l"/>
            <a:endParaRPr lang="en-US" sz="1000">
              <a:solidFill>
                <a:srgbClr val="333D47"/>
              </a:solidFill>
              <a:latin typeface="Arial" panose="020B0604020202020204" pitchFamily="34" charset="0"/>
              <a:cs typeface="Arial" panose="020B0604020202020204" pitchFamily="34" charset="0"/>
            </a:endParaRPr>
          </a:p>
          <a:p>
            <a:pPr algn="l"/>
            <a:r>
              <a:rPr lang="en-GB" sz="1000">
                <a:latin typeface="Helvetica Neue" panose="02000503000000020004" pitchFamily="2" charset="0"/>
              </a:rPr>
              <a:t>Please </a:t>
            </a:r>
            <a:r>
              <a:rPr lang="en-GB" sz="1000" b="1">
                <a:latin typeface="Helvetica Neue" panose="02000503000000020004" pitchFamily="2" charset="0"/>
              </a:rPr>
              <a:t>do not </a:t>
            </a:r>
            <a:r>
              <a:rPr lang="en-GB" sz="1000">
                <a:latin typeface="Helvetica Neue" panose="02000503000000020004" pitchFamily="2" charset="0"/>
              </a:rPr>
              <a:t>use any internal photo competition participants’ images</a:t>
            </a:r>
            <a:endParaRPr lang="en-US" sz="1000">
              <a:solidFill>
                <a:srgbClr val="333D47"/>
              </a:solidFill>
            </a:endParaRPr>
          </a:p>
        </p:txBody>
      </p:sp>
    </p:spTree>
    <p:extLst>
      <p:ext uri="{BB962C8B-B14F-4D97-AF65-F5344CB8AC3E}">
        <p14:creationId xmlns:p14="http://schemas.microsoft.com/office/powerpoint/2010/main" val="773113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AIA_Instruction_EditImage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63307C-C5A4-8242-A54A-D9046BFAB989}"/>
              </a:ext>
            </a:extLst>
          </p:cNvPr>
          <p:cNvSpPr/>
          <p:nvPr/>
        </p:nvSpPr>
        <p:spPr>
          <a:xfrm>
            <a:off x="10280073" y="5347855"/>
            <a:ext cx="1787236" cy="15101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2747152B-A5CB-E342-9EAA-8F58C2EA42FB}"/>
              </a:ext>
            </a:extLst>
          </p:cNvPr>
          <p:cNvSpPr>
            <a:spLocks noGrp="1"/>
          </p:cNvSpPr>
          <p:nvPr>
            <p:ph type="sldNum" sz="quarter" idx="10"/>
          </p:nvPr>
        </p:nvSpPr>
        <p:spPr/>
        <p:txBody>
          <a:bodyPr/>
          <a:lstStyle/>
          <a:p>
            <a:fld id="{52BD4378-72E1-444F-8B73-E4C8D03E6D72}" type="slidenum">
              <a:rPr lang="en-MY" smtClean="0"/>
              <a:t>‹#›</a:t>
            </a:fld>
            <a:endParaRPr lang="en-MY"/>
          </a:p>
        </p:txBody>
      </p:sp>
      <p:sp>
        <p:nvSpPr>
          <p:cNvPr id="4" name="TextBox 3">
            <a:extLst>
              <a:ext uri="{FF2B5EF4-FFF2-40B4-BE49-F238E27FC236}">
                <a16:creationId xmlns:a16="http://schemas.microsoft.com/office/drawing/2014/main" id="{8FBECE48-0E27-9A4B-90D2-57A84139F268}"/>
              </a:ext>
            </a:extLst>
          </p:cNvPr>
          <p:cNvSpPr txBox="1"/>
          <p:nvPr/>
        </p:nvSpPr>
        <p:spPr>
          <a:xfrm>
            <a:off x="552905" y="2522880"/>
            <a:ext cx="3360629" cy="2215992"/>
          </a:xfrm>
          <a:prstGeom prst="rect">
            <a:avLst/>
          </a:prstGeom>
          <a:noFill/>
        </p:spPr>
        <p:txBody>
          <a:bodyPr wrap="square" rtlCol="0">
            <a:spAutoFit/>
          </a:bodyPr>
          <a:lstStyle/>
          <a:p>
            <a:pPr algn="l"/>
            <a:r>
              <a:rPr lang="en-US">
                <a:solidFill>
                  <a:srgbClr val="333D47"/>
                </a:solidFill>
                <a:latin typeface="Arial" panose="020B0604020202020204" pitchFamily="34" charset="0"/>
                <a:cs typeface="Arial" panose="020B0604020202020204" pitchFamily="34" charset="0"/>
              </a:rPr>
              <a:t>This shape </a:t>
            </a:r>
            <a:r>
              <a:rPr lang="en-US" baseline="0">
                <a:solidFill>
                  <a:srgbClr val="333D47"/>
                </a:solidFill>
                <a:latin typeface="Arial" panose="020B0604020202020204" pitchFamily="34" charset="0"/>
                <a:cs typeface="Arial" panose="020B0604020202020204" pitchFamily="34" charset="0"/>
              </a:rPr>
              <a:t>is a photo mask. </a:t>
            </a:r>
          </a:p>
          <a:p>
            <a:pPr algn="l"/>
            <a:endParaRPr lang="en-US" baseline="0">
              <a:solidFill>
                <a:srgbClr val="333D47"/>
              </a:solidFill>
              <a:latin typeface="Arial" panose="020B0604020202020204" pitchFamily="34" charset="0"/>
              <a:cs typeface="Arial" panose="020B0604020202020204" pitchFamily="34" charset="0"/>
            </a:endParaRPr>
          </a:p>
          <a:p>
            <a:pPr algn="l"/>
            <a:endParaRPr lang="en-US" baseline="0">
              <a:solidFill>
                <a:srgbClr val="333D47"/>
              </a:solidFill>
              <a:latin typeface="Arial" panose="020B0604020202020204" pitchFamily="34" charset="0"/>
              <a:cs typeface="Arial" panose="020B0604020202020204" pitchFamily="34" charset="0"/>
            </a:endParaRPr>
          </a:p>
          <a:p>
            <a:pPr algn="l"/>
            <a:r>
              <a:rPr lang="en-US" sz="1400">
                <a:solidFill>
                  <a:srgbClr val="333D47"/>
                </a:solidFill>
              </a:rPr>
              <a:t>On the </a:t>
            </a:r>
            <a:r>
              <a:rPr lang="en-US" sz="1400" b="1">
                <a:solidFill>
                  <a:srgbClr val="333D47"/>
                </a:solidFill>
              </a:rPr>
              <a:t>Format Object</a:t>
            </a:r>
            <a:r>
              <a:rPr lang="en-US" sz="1400">
                <a:solidFill>
                  <a:srgbClr val="333D47"/>
                </a:solidFill>
              </a:rPr>
              <a:t> pane, on the </a:t>
            </a:r>
            <a:r>
              <a:rPr lang="en-US" sz="1400" b="1">
                <a:solidFill>
                  <a:srgbClr val="333D47"/>
                </a:solidFill>
              </a:rPr>
              <a:t>Shape Options</a:t>
            </a:r>
            <a:r>
              <a:rPr lang="en-US" sz="1400">
                <a:solidFill>
                  <a:srgbClr val="333D47"/>
                </a:solidFill>
              </a:rPr>
              <a:t> tab, in the </a:t>
            </a:r>
            <a:r>
              <a:rPr lang="en-US" sz="1400" b="1">
                <a:solidFill>
                  <a:srgbClr val="333D47"/>
                </a:solidFill>
              </a:rPr>
              <a:t>Fill &amp; Line</a:t>
            </a:r>
            <a:r>
              <a:rPr lang="en-US" sz="1400">
                <a:solidFill>
                  <a:srgbClr val="333D47"/>
                </a:solidFill>
              </a:rPr>
              <a:t> group: </a:t>
            </a:r>
          </a:p>
          <a:p>
            <a:pPr algn="l"/>
            <a:r>
              <a:rPr lang="en-US" sz="1400">
                <a:solidFill>
                  <a:srgbClr val="333D47"/>
                </a:solidFill>
              </a:rPr>
              <a:t>In the </a:t>
            </a:r>
            <a:r>
              <a:rPr lang="en-US" sz="1400" b="1">
                <a:solidFill>
                  <a:srgbClr val="333D47"/>
                </a:solidFill>
              </a:rPr>
              <a:t>Fill</a:t>
            </a:r>
            <a:r>
              <a:rPr lang="en-US" sz="1400">
                <a:solidFill>
                  <a:srgbClr val="333D47"/>
                </a:solidFill>
              </a:rPr>
              <a:t> section: </a:t>
            </a:r>
            <a:br>
              <a:rPr lang="en-US" sz="1400">
                <a:solidFill>
                  <a:srgbClr val="333D47"/>
                </a:solidFill>
              </a:rPr>
            </a:br>
            <a:r>
              <a:rPr lang="en-US" sz="1400">
                <a:solidFill>
                  <a:srgbClr val="333D47"/>
                </a:solidFill>
              </a:rPr>
              <a:t>Choose </a:t>
            </a:r>
            <a:r>
              <a:rPr lang="en-US" sz="1400" b="1">
                <a:solidFill>
                  <a:srgbClr val="333D47"/>
                </a:solidFill>
              </a:rPr>
              <a:t>Picture or texture fill</a:t>
            </a:r>
            <a:r>
              <a:rPr lang="en-US" sz="1400">
                <a:solidFill>
                  <a:srgbClr val="333D47"/>
                </a:solidFill>
              </a:rPr>
              <a:t>,</a:t>
            </a:r>
            <a:br>
              <a:rPr lang="en-US" sz="1400">
                <a:solidFill>
                  <a:srgbClr val="333D47"/>
                </a:solidFill>
              </a:rPr>
            </a:br>
            <a:r>
              <a:rPr lang="en-US" sz="1400">
                <a:solidFill>
                  <a:srgbClr val="333D47"/>
                </a:solidFill>
              </a:rPr>
              <a:t>Click on the </a:t>
            </a:r>
            <a:r>
              <a:rPr lang="en-US" sz="1400" b="1">
                <a:solidFill>
                  <a:srgbClr val="333D47"/>
                </a:solidFill>
              </a:rPr>
              <a:t>insert...</a:t>
            </a:r>
            <a:r>
              <a:rPr lang="en-US" sz="1400">
                <a:solidFill>
                  <a:srgbClr val="333D47"/>
                </a:solidFill>
              </a:rPr>
              <a:t> button and then choose the picture you prefer</a:t>
            </a:r>
          </a:p>
        </p:txBody>
      </p:sp>
      <p:sp>
        <p:nvSpPr>
          <p:cNvPr id="9" name="Snip Same-side Corner of Rectangle 4">
            <a:extLst>
              <a:ext uri="{FF2B5EF4-FFF2-40B4-BE49-F238E27FC236}">
                <a16:creationId xmlns:a16="http://schemas.microsoft.com/office/drawing/2014/main" id="{07866AF9-5B0C-AE4A-BFBD-4159379CB1DC}"/>
              </a:ext>
            </a:extLst>
          </p:cNvPr>
          <p:cNvSpPr/>
          <p:nvPr/>
        </p:nvSpPr>
        <p:spPr>
          <a:xfrm>
            <a:off x="4239273" y="1478780"/>
            <a:ext cx="7960770" cy="5400604"/>
          </a:xfrm>
          <a:custGeom>
            <a:avLst/>
            <a:gdLst>
              <a:gd name="connsiteX0" fmla="*/ 576481 w 3458817"/>
              <a:gd name="connsiteY0" fmla="*/ 0 h 3458817"/>
              <a:gd name="connsiteX1" fmla="*/ 2882336 w 3458817"/>
              <a:gd name="connsiteY1" fmla="*/ 0 h 3458817"/>
              <a:gd name="connsiteX2" fmla="*/ 3458817 w 3458817"/>
              <a:gd name="connsiteY2" fmla="*/ 576481 h 3458817"/>
              <a:gd name="connsiteX3" fmla="*/ 3458817 w 3458817"/>
              <a:gd name="connsiteY3" fmla="*/ 3458817 h 3458817"/>
              <a:gd name="connsiteX4" fmla="*/ 3458817 w 3458817"/>
              <a:gd name="connsiteY4" fmla="*/ 3458817 h 3458817"/>
              <a:gd name="connsiteX5" fmla="*/ 0 w 3458817"/>
              <a:gd name="connsiteY5" fmla="*/ 3458817 h 3458817"/>
              <a:gd name="connsiteX6" fmla="*/ 0 w 3458817"/>
              <a:gd name="connsiteY6" fmla="*/ 3458817 h 3458817"/>
              <a:gd name="connsiteX7" fmla="*/ 0 w 3458817"/>
              <a:gd name="connsiteY7" fmla="*/ 576481 h 3458817"/>
              <a:gd name="connsiteX8" fmla="*/ 576481 w 3458817"/>
              <a:gd name="connsiteY8" fmla="*/ 0 h 3458817"/>
              <a:gd name="connsiteX0" fmla="*/ 1182768 w 4065104"/>
              <a:gd name="connsiteY0" fmla="*/ 218650 h 3677467"/>
              <a:gd name="connsiteX1" fmla="*/ 3488623 w 4065104"/>
              <a:gd name="connsiteY1" fmla="*/ 218650 h 3677467"/>
              <a:gd name="connsiteX2" fmla="*/ 4065104 w 4065104"/>
              <a:gd name="connsiteY2" fmla="*/ 795131 h 3677467"/>
              <a:gd name="connsiteX3" fmla="*/ 4065104 w 4065104"/>
              <a:gd name="connsiteY3" fmla="*/ 3677467 h 3677467"/>
              <a:gd name="connsiteX4" fmla="*/ 4065104 w 4065104"/>
              <a:gd name="connsiteY4" fmla="*/ 3677467 h 3677467"/>
              <a:gd name="connsiteX5" fmla="*/ 606287 w 4065104"/>
              <a:gd name="connsiteY5" fmla="*/ 3677467 h 3677467"/>
              <a:gd name="connsiteX6" fmla="*/ 606287 w 4065104"/>
              <a:gd name="connsiteY6" fmla="*/ 3677467 h 3677467"/>
              <a:gd name="connsiteX7" fmla="*/ 0 w 4065104"/>
              <a:gd name="connsiteY7" fmla="*/ 0 h 3677467"/>
              <a:gd name="connsiteX8" fmla="*/ 1182768 w 4065104"/>
              <a:gd name="connsiteY8" fmla="*/ 218650 h 3677467"/>
              <a:gd name="connsiteX0" fmla="*/ 1182768 w 4065104"/>
              <a:gd name="connsiteY0" fmla="*/ 218650 h 3677467"/>
              <a:gd name="connsiteX1" fmla="*/ 3488623 w 4065104"/>
              <a:gd name="connsiteY1" fmla="*/ 218650 h 3677467"/>
              <a:gd name="connsiteX2" fmla="*/ 4065104 w 4065104"/>
              <a:gd name="connsiteY2" fmla="*/ 795131 h 3677467"/>
              <a:gd name="connsiteX3" fmla="*/ 4065104 w 4065104"/>
              <a:gd name="connsiteY3" fmla="*/ 3677467 h 3677467"/>
              <a:gd name="connsiteX4" fmla="*/ 4065104 w 4065104"/>
              <a:gd name="connsiteY4" fmla="*/ 3677467 h 3677467"/>
              <a:gd name="connsiteX5" fmla="*/ 606287 w 4065104"/>
              <a:gd name="connsiteY5" fmla="*/ 3677467 h 3677467"/>
              <a:gd name="connsiteX6" fmla="*/ 0 w 4065104"/>
              <a:gd name="connsiteY6" fmla="*/ 2753128 h 3677467"/>
              <a:gd name="connsiteX7" fmla="*/ 0 w 4065104"/>
              <a:gd name="connsiteY7" fmla="*/ 0 h 3677467"/>
              <a:gd name="connsiteX8" fmla="*/ 1182768 w 4065104"/>
              <a:gd name="connsiteY8" fmla="*/ 218650 h 3677467"/>
              <a:gd name="connsiteX0" fmla="*/ 1182768 w 4065104"/>
              <a:gd name="connsiteY0" fmla="*/ 218650 h 5347241"/>
              <a:gd name="connsiteX1" fmla="*/ 3488623 w 4065104"/>
              <a:gd name="connsiteY1" fmla="*/ 218650 h 5347241"/>
              <a:gd name="connsiteX2" fmla="*/ 4065104 w 4065104"/>
              <a:gd name="connsiteY2" fmla="*/ 795131 h 5347241"/>
              <a:gd name="connsiteX3" fmla="*/ 4065104 w 4065104"/>
              <a:gd name="connsiteY3" fmla="*/ 3677467 h 5347241"/>
              <a:gd name="connsiteX4" fmla="*/ 4065104 w 4065104"/>
              <a:gd name="connsiteY4" fmla="*/ 3677467 h 5347241"/>
              <a:gd name="connsiteX5" fmla="*/ 2077279 w 4065104"/>
              <a:gd name="connsiteY5" fmla="*/ 5347241 h 5347241"/>
              <a:gd name="connsiteX6" fmla="*/ 0 w 4065104"/>
              <a:gd name="connsiteY6" fmla="*/ 2753128 h 5347241"/>
              <a:gd name="connsiteX7" fmla="*/ 0 w 4065104"/>
              <a:gd name="connsiteY7" fmla="*/ 0 h 5347241"/>
              <a:gd name="connsiteX8" fmla="*/ 1182768 w 4065104"/>
              <a:gd name="connsiteY8" fmla="*/ 218650 h 5347241"/>
              <a:gd name="connsiteX0" fmla="*/ 1182768 w 6748669"/>
              <a:gd name="connsiteY0" fmla="*/ 218650 h 5347241"/>
              <a:gd name="connsiteX1" fmla="*/ 3488623 w 6748669"/>
              <a:gd name="connsiteY1" fmla="*/ 218650 h 5347241"/>
              <a:gd name="connsiteX2" fmla="*/ 4065104 w 6748669"/>
              <a:gd name="connsiteY2" fmla="*/ 795131 h 5347241"/>
              <a:gd name="connsiteX3" fmla="*/ 4065104 w 6748669"/>
              <a:gd name="connsiteY3" fmla="*/ 3677467 h 5347241"/>
              <a:gd name="connsiteX4" fmla="*/ 6748669 w 6748669"/>
              <a:gd name="connsiteY4" fmla="*/ 5307484 h 5347241"/>
              <a:gd name="connsiteX5" fmla="*/ 2077279 w 6748669"/>
              <a:gd name="connsiteY5" fmla="*/ 5347241 h 5347241"/>
              <a:gd name="connsiteX6" fmla="*/ 0 w 6748669"/>
              <a:gd name="connsiteY6" fmla="*/ 2753128 h 5347241"/>
              <a:gd name="connsiteX7" fmla="*/ 0 w 6748669"/>
              <a:gd name="connsiteY7" fmla="*/ 0 h 5347241"/>
              <a:gd name="connsiteX8" fmla="*/ 1182768 w 6748669"/>
              <a:gd name="connsiteY8" fmla="*/ 218650 h 5347241"/>
              <a:gd name="connsiteX0" fmla="*/ 1182768 w 8169965"/>
              <a:gd name="connsiteY0" fmla="*/ 218650 h 5347241"/>
              <a:gd name="connsiteX1" fmla="*/ 3488623 w 8169965"/>
              <a:gd name="connsiteY1" fmla="*/ 218650 h 5347241"/>
              <a:gd name="connsiteX2" fmla="*/ 4065104 w 8169965"/>
              <a:gd name="connsiteY2" fmla="*/ 795131 h 5347241"/>
              <a:gd name="connsiteX3" fmla="*/ 8169965 w 8169965"/>
              <a:gd name="connsiteY3" fmla="*/ 3478684 h 5347241"/>
              <a:gd name="connsiteX4" fmla="*/ 6748669 w 8169965"/>
              <a:gd name="connsiteY4" fmla="*/ 5307484 h 5347241"/>
              <a:gd name="connsiteX5" fmla="*/ 2077279 w 8169965"/>
              <a:gd name="connsiteY5" fmla="*/ 5347241 h 5347241"/>
              <a:gd name="connsiteX6" fmla="*/ 0 w 8169965"/>
              <a:gd name="connsiteY6" fmla="*/ 2753128 h 5347241"/>
              <a:gd name="connsiteX7" fmla="*/ 0 w 8169965"/>
              <a:gd name="connsiteY7" fmla="*/ 0 h 5347241"/>
              <a:gd name="connsiteX8" fmla="*/ 1182768 w 8169965"/>
              <a:gd name="connsiteY8" fmla="*/ 218650 h 5347241"/>
              <a:gd name="connsiteX0" fmla="*/ 1182768 w 8169965"/>
              <a:gd name="connsiteY0" fmla="*/ 218650 h 5347241"/>
              <a:gd name="connsiteX1" fmla="*/ 3488623 w 8169965"/>
              <a:gd name="connsiteY1" fmla="*/ 218650 h 5347241"/>
              <a:gd name="connsiteX2" fmla="*/ 8162542 w 8169965"/>
              <a:gd name="connsiteY2" fmla="*/ 1443314 h 5347241"/>
              <a:gd name="connsiteX3" fmla="*/ 8169965 w 8169965"/>
              <a:gd name="connsiteY3" fmla="*/ 3478684 h 5347241"/>
              <a:gd name="connsiteX4" fmla="*/ 6748669 w 8169965"/>
              <a:gd name="connsiteY4" fmla="*/ 5307484 h 5347241"/>
              <a:gd name="connsiteX5" fmla="*/ 2077279 w 8169965"/>
              <a:gd name="connsiteY5" fmla="*/ 5347241 h 5347241"/>
              <a:gd name="connsiteX6" fmla="*/ 0 w 8169965"/>
              <a:gd name="connsiteY6" fmla="*/ 2753128 h 5347241"/>
              <a:gd name="connsiteX7" fmla="*/ 0 w 8169965"/>
              <a:gd name="connsiteY7" fmla="*/ 0 h 5347241"/>
              <a:gd name="connsiteX8" fmla="*/ 1182768 w 8169965"/>
              <a:gd name="connsiteY8" fmla="*/ 218650 h 5347241"/>
              <a:gd name="connsiteX0" fmla="*/ 1182768 w 8169965"/>
              <a:gd name="connsiteY0" fmla="*/ 218650 h 5347241"/>
              <a:gd name="connsiteX1" fmla="*/ 3488623 w 8169965"/>
              <a:gd name="connsiteY1" fmla="*/ 218650 h 5347241"/>
              <a:gd name="connsiteX2" fmla="*/ 8162542 w 8169965"/>
              <a:gd name="connsiteY2" fmla="*/ 1443314 h 5347241"/>
              <a:gd name="connsiteX3" fmla="*/ 8169965 w 8169965"/>
              <a:gd name="connsiteY3" fmla="*/ 3478684 h 5347241"/>
              <a:gd name="connsiteX4" fmla="*/ 6899140 w 8169965"/>
              <a:gd name="connsiteY4" fmla="*/ 5319059 h 5347241"/>
              <a:gd name="connsiteX5" fmla="*/ 2077279 w 8169965"/>
              <a:gd name="connsiteY5" fmla="*/ 5347241 h 5347241"/>
              <a:gd name="connsiteX6" fmla="*/ 0 w 8169965"/>
              <a:gd name="connsiteY6" fmla="*/ 2753128 h 5347241"/>
              <a:gd name="connsiteX7" fmla="*/ 0 w 8169965"/>
              <a:gd name="connsiteY7" fmla="*/ 0 h 5347241"/>
              <a:gd name="connsiteX8" fmla="*/ 1182768 w 8169965"/>
              <a:gd name="connsiteY8" fmla="*/ 218650 h 5347241"/>
              <a:gd name="connsiteX0" fmla="*/ 1182768 w 8169965"/>
              <a:gd name="connsiteY0" fmla="*/ 218650 h 5358816"/>
              <a:gd name="connsiteX1" fmla="*/ 3488623 w 8169965"/>
              <a:gd name="connsiteY1" fmla="*/ 218650 h 5358816"/>
              <a:gd name="connsiteX2" fmla="*/ 8162542 w 8169965"/>
              <a:gd name="connsiteY2" fmla="*/ 1443314 h 5358816"/>
              <a:gd name="connsiteX3" fmla="*/ 8169965 w 8169965"/>
              <a:gd name="connsiteY3" fmla="*/ 3478684 h 5358816"/>
              <a:gd name="connsiteX4" fmla="*/ 6899140 w 8169965"/>
              <a:gd name="connsiteY4" fmla="*/ 5319059 h 5358816"/>
              <a:gd name="connsiteX5" fmla="*/ 2100428 w 8169965"/>
              <a:gd name="connsiteY5" fmla="*/ 5358816 h 5358816"/>
              <a:gd name="connsiteX6" fmla="*/ 0 w 8169965"/>
              <a:gd name="connsiteY6" fmla="*/ 2753128 h 5358816"/>
              <a:gd name="connsiteX7" fmla="*/ 0 w 8169965"/>
              <a:gd name="connsiteY7" fmla="*/ 0 h 5358816"/>
              <a:gd name="connsiteX8" fmla="*/ 1182768 w 8169965"/>
              <a:gd name="connsiteY8" fmla="*/ 218650 h 5358816"/>
              <a:gd name="connsiteX0" fmla="*/ 1182768 w 8169965"/>
              <a:gd name="connsiteY0" fmla="*/ 218650 h 5358816"/>
              <a:gd name="connsiteX1" fmla="*/ 3488623 w 8169965"/>
              <a:gd name="connsiteY1" fmla="*/ 218650 h 5358816"/>
              <a:gd name="connsiteX2" fmla="*/ 8162542 w 8169965"/>
              <a:gd name="connsiteY2" fmla="*/ 1443314 h 5358816"/>
              <a:gd name="connsiteX3" fmla="*/ 8169965 w 8169965"/>
              <a:gd name="connsiteY3" fmla="*/ 3478684 h 5358816"/>
              <a:gd name="connsiteX4" fmla="*/ 6875990 w 8169965"/>
              <a:gd name="connsiteY4" fmla="*/ 5342208 h 5358816"/>
              <a:gd name="connsiteX5" fmla="*/ 2100428 w 8169965"/>
              <a:gd name="connsiteY5" fmla="*/ 5358816 h 5358816"/>
              <a:gd name="connsiteX6" fmla="*/ 0 w 8169965"/>
              <a:gd name="connsiteY6" fmla="*/ 2753128 h 5358816"/>
              <a:gd name="connsiteX7" fmla="*/ 0 w 8169965"/>
              <a:gd name="connsiteY7" fmla="*/ 0 h 5358816"/>
              <a:gd name="connsiteX8" fmla="*/ 1182768 w 8169965"/>
              <a:gd name="connsiteY8" fmla="*/ 218650 h 5358816"/>
              <a:gd name="connsiteX0" fmla="*/ 303092 w 8169965"/>
              <a:gd name="connsiteY0" fmla="*/ 0 h 5869371"/>
              <a:gd name="connsiteX1" fmla="*/ 3488623 w 8169965"/>
              <a:gd name="connsiteY1" fmla="*/ 729205 h 5869371"/>
              <a:gd name="connsiteX2" fmla="*/ 8162542 w 8169965"/>
              <a:gd name="connsiteY2" fmla="*/ 1953869 h 5869371"/>
              <a:gd name="connsiteX3" fmla="*/ 8169965 w 8169965"/>
              <a:gd name="connsiteY3" fmla="*/ 3989239 h 5869371"/>
              <a:gd name="connsiteX4" fmla="*/ 6875990 w 8169965"/>
              <a:gd name="connsiteY4" fmla="*/ 5852763 h 5869371"/>
              <a:gd name="connsiteX5" fmla="*/ 2100428 w 8169965"/>
              <a:gd name="connsiteY5" fmla="*/ 5869371 h 5869371"/>
              <a:gd name="connsiteX6" fmla="*/ 0 w 8169965"/>
              <a:gd name="connsiteY6" fmla="*/ 3263683 h 5869371"/>
              <a:gd name="connsiteX7" fmla="*/ 0 w 8169965"/>
              <a:gd name="connsiteY7" fmla="*/ 510555 h 5869371"/>
              <a:gd name="connsiteX8" fmla="*/ 303092 w 8169965"/>
              <a:gd name="connsiteY8" fmla="*/ 0 h 5869371"/>
              <a:gd name="connsiteX0" fmla="*/ 303092 w 8169965"/>
              <a:gd name="connsiteY0" fmla="*/ 0 h 5869371"/>
              <a:gd name="connsiteX1" fmla="*/ 3731692 w 8169965"/>
              <a:gd name="connsiteY1" fmla="*/ 821802 h 5869371"/>
              <a:gd name="connsiteX2" fmla="*/ 8162542 w 8169965"/>
              <a:gd name="connsiteY2" fmla="*/ 1953869 h 5869371"/>
              <a:gd name="connsiteX3" fmla="*/ 8169965 w 8169965"/>
              <a:gd name="connsiteY3" fmla="*/ 3989239 h 5869371"/>
              <a:gd name="connsiteX4" fmla="*/ 6875990 w 8169965"/>
              <a:gd name="connsiteY4" fmla="*/ 5852763 h 5869371"/>
              <a:gd name="connsiteX5" fmla="*/ 2100428 w 8169965"/>
              <a:gd name="connsiteY5" fmla="*/ 5869371 h 5869371"/>
              <a:gd name="connsiteX6" fmla="*/ 0 w 8169965"/>
              <a:gd name="connsiteY6" fmla="*/ 3263683 h 5869371"/>
              <a:gd name="connsiteX7" fmla="*/ 0 w 8169965"/>
              <a:gd name="connsiteY7" fmla="*/ 510555 h 5869371"/>
              <a:gd name="connsiteX8" fmla="*/ 303092 w 8169965"/>
              <a:gd name="connsiteY8" fmla="*/ 0 h 5869371"/>
              <a:gd name="connsiteX0" fmla="*/ 303092 w 8169965"/>
              <a:gd name="connsiteY0" fmla="*/ 0 h 5869371"/>
              <a:gd name="connsiteX1" fmla="*/ 8162542 w 8169965"/>
              <a:gd name="connsiteY1" fmla="*/ 1953869 h 5869371"/>
              <a:gd name="connsiteX2" fmla="*/ 8169965 w 8169965"/>
              <a:gd name="connsiteY2" fmla="*/ 3989239 h 5869371"/>
              <a:gd name="connsiteX3" fmla="*/ 6875990 w 8169965"/>
              <a:gd name="connsiteY3" fmla="*/ 5852763 h 5869371"/>
              <a:gd name="connsiteX4" fmla="*/ 2100428 w 8169965"/>
              <a:gd name="connsiteY4" fmla="*/ 5869371 h 5869371"/>
              <a:gd name="connsiteX5" fmla="*/ 0 w 8169965"/>
              <a:gd name="connsiteY5" fmla="*/ 3263683 h 5869371"/>
              <a:gd name="connsiteX6" fmla="*/ 0 w 8169965"/>
              <a:gd name="connsiteY6" fmla="*/ 510555 h 5869371"/>
              <a:gd name="connsiteX7" fmla="*/ 303092 w 8169965"/>
              <a:gd name="connsiteY7"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3149 w 8193114"/>
              <a:gd name="connsiteY5" fmla="*/ 3263683 h 5869371"/>
              <a:gd name="connsiteX6" fmla="*/ 0 w 8193114"/>
              <a:gd name="connsiteY6" fmla="*/ 105441 h 5869371"/>
              <a:gd name="connsiteX7" fmla="*/ 326241 w 8193114"/>
              <a:gd name="connsiteY7"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383668 w 8193114"/>
              <a:gd name="connsiteY5" fmla="*/ 3712235 h 5869371"/>
              <a:gd name="connsiteX6" fmla="*/ 23149 w 8193114"/>
              <a:gd name="connsiteY6" fmla="*/ 3263683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58978 w 8193114"/>
              <a:gd name="connsiteY5" fmla="*/ 3706297 h 5869371"/>
              <a:gd name="connsiteX6" fmla="*/ 23149 w 8193114"/>
              <a:gd name="connsiteY6" fmla="*/ 3263683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58978 w 8193114"/>
              <a:gd name="connsiteY5" fmla="*/ 3706297 h 5869371"/>
              <a:gd name="connsiteX6" fmla="*/ 23149 w 8193114"/>
              <a:gd name="connsiteY6" fmla="*/ 3263683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58978 w 8193114"/>
              <a:gd name="connsiteY5" fmla="*/ 3706297 h 5869371"/>
              <a:gd name="connsiteX6" fmla="*/ 23149 w 8193114"/>
              <a:gd name="connsiteY6" fmla="*/ 3263683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58978 w 8193114"/>
              <a:gd name="connsiteY5" fmla="*/ 3706297 h 5869371"/>
              <a:gd name="connsiteX6" fmla="*/ 23149 w 8193114"/>
              <a:gd name="connsiteY6" fmla="*/ 3263683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58978 w 8193114"/>
              <a:gd name="connsiteY5" fmla="*/ 3706297 h 5869371"/>
              <a:gd name="connsiteX6" fmla="*/ 18600 w 8193114"/>
              <a:gd name="connsiteY6" fmla="*/ 3245486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309020 w 8193114"/>
              <a:gd name="connsiteY5" fmla="*/ 3774536 h 5869371"/>
              <a:gd name="connsiteX6" fmla="*/ 18600 w 8193114"/>
              <a:gd name="connsiteY6" fmla="*/ 3245486 h 5869371"/>
              <a:gd name="connsiteX7" fmla="*/ 0 w 8193114"/>
              <a:gd name="connsiteY7" fmla="*/ 105441 h 5869371"/>
              <a:gd name="connsiteX8" fmla="*/ 326241 w 8193114"/>
              <a:gd name="connsiteY8" fmla="*/ 0 h 5869371"/>
              <a:gd name="connsiteX0" fmla="*/ 326241 w 8193114"/>
              <a:gd name="connsiteY0" fmla="*/ 0 h 5852763"/>
              <a:gd name="connsiteX1" fmla="*/ 8185691 w 8193114"/>
              <a:gd name="connsiteY1" fmla="*/ 1953869 h 5852763"/>
              <a:gd name="connsiteX2" fmla="*/ 8193114 w 8193114"/>
              <a:gd name="connsiteY2" fmla="*/ 3989239 h 5852763"/>
              <a:gd name="connsiteX3" fmla="*/ 6899139 w 8193114"/>
              <a:gd name="connsiteY3" fmla="*/ 5852763 h 5852763"/>
              <a:gd name="connsiteX4" fmla="*/ 2123577 w 8193114"/>
              <a:gd name="connsiteY4" fmla="*/ 5839554 h 5852763"/>
              <a:gd name="connsiteX5" fmla="*/ 309020 w 8193114"/>
              <a:gd name="connsiteY5" fmla="*/ 3774536 h 5852763"/>
              <a:gd name="connsiteX6" fmla="*/ 18600 w 8193114"/>
              <a:gd name="connsiteY6" fmla="*/ 3245486 h 5852763"/>
              <a:gd name="connsiteX7" fmla="*/ 0 w 8193114"/>
              <a:gd name="connsiteY7" fmla="*/ 105441 h 5852763"/>
              <a:gd name="connsiteX8" fmla="*/ 326241 w 8193114"/>
              <a:gd name="connsiteY8" fmla="*/ 0 h 5852763"/>
              <a:gd name="connsiteX0" fmla="*/ 286485 w 8193114"/>
              <a:gd name="connsiteY0" fmla="*/ 0 h 5872641"/>
              <a:gd name="connsiteX1" fmla="*/ 8185691 w 8193114"/>
              <a:gd name="connsiteY1" fmla="*/ 1973747 h 5872641"/>
              <a:gd name="connsiteX2" fmla="*/ 8193114 w 8193114"/>
              <a:gd name="connsiteY2" fmla="*/ 4009117 h 5872641"/>
              <a:gd name="connsiteX3" fmla="*/ 6899139 w 8193114"/>
              <a:gd name="connsiteY3" fmla="*/ 5872641 h 5872641"/>
              <a:gd name="connsiteX4" fmla="*/ 2123577 w 8193114"/>
              <a:gd name="connsiteY4" fmla="*/ 5859432 h 5872641"/>
              <a:gd name="connsiteX5" fmla="*/ 309020 w 8193114"/>
              <a:gd name="connsiteY5" fmla="*/ 3794414 h 5872641"/>
              <a:gd name="connsiteX6" fmla="*/ 18600 w 8193114"/>
              <a:gd name="connsiteY6" fmla="*/ 3265364 h 5872641"/>
              <a:gd name="connsiteX7" fmla="*/ 0 w 8193114"/>
              <a:gd name="connsiteY7" fmla="*/ 125319 h 5872641"/>
              <a:gd name="connsiteX8" fmla="*/ 286485 w 8193114"/>
              <a:gd name="connsiteY8" fmla="*/ 0 h 5872641"/>
              <a:gd name="connsiteX0" fmla="*/ 286485 w 8193114"/>
              <a:gd name="connsiteY0" fmla="*/ 0 h 5872641"/>
              <a:gd name="connsiteX1" fmla="*/ 8185691 w 8193114"/>
              <a:gd name="connsiteY1" fmla="*/ 1963808 h 5872641"/>
              <a:gd name="connsiteX2" fmla="*/ 8193114 w 8193114"/>
              <a:gd name="connsiteY2" fmla="*/ 4009117 h 5872641"/>
              <a:gd name="connsiteX3" fmla="*/ 6899139 w 8193114"/>
              <a:gd name="connsiteY3" fmla="*/ 5872641 h 5872641"/>
              <a:gd name="connsiteX4" fmla="*/ 2123577 w 8193114"/>
              <a:gd name="connsiteY4" fmla="*/ 5859432 h 5872641"/>
              <a:gd name="connsiteX5" fmla="*/ 309020 w 8193114"/>
              <a:gd name="connsiteY5" fmla="*/ 3794414 h 5872641"/>
              <a:gd name="connsiteX6" fmla="*/ 18600 w 8193114"/>
              <a:gd name="connsiteY6" fmla="*/ 3265364 h 5872641"/>
              <a:gd name="connsiteX7" fmla="*/ 0 w 8193114"/>
              <a:gd name="connsiteY7" fmla="*/ 125319 h 5872641"/>
              <a:gd name="connsiteX8" fmla="*/ 286485 w 8193114"/>
              <a:gd name="connsiteY8" fmla="*/ 0 h 5872641"/>
              <a:gd name="connsiteX0" fmla="*/ 276546 w 8193114"/>
              <a:gd name="connsiteY0" fmla="*/ 0 h 5882580"/>
              <a:gd name="connsiteX1" fmla="*/ 8185691 w 8193114"/>
              <a:gd name="connsiteY1" fmla="*/ 1973747 h 5882580"/>
              <a:gd name="connsiteX2" fmla="*/ 8193114 w 8193114"/>
              <a:gd name="connsiteY2" fmla="*/ 4019056 h 5882580"/>
              <a:gd name="connsiteX3" fmla="*/ 6899139 w 8193114"/>
              <a:gd name="connsiteY3" fmla="*/ 5882580 h 5882580"/>
              <a:gd name="connsiteX4" fmla="*/ 2123577 w 8193114"/>
              <a:gd name="connsiteY4" fmla="*/ 5869371 h 5882580"/>
              <a:gd name="connsiteX5" fmla="*/ 309020 w 8193114"/>
              <a:gd name="connsiteY5" fmla="*/ 3804353 h 5882580"/>
              <a:gd name="connsiteX6" fmla="*/ 18600 w 8193114"/>
              <a:gd name="connsiteY6" fmla="*/ 3275303 h 5882580"/>
              <a:gd name="connsiteX7" fmla="*/ 0 w 8193114"/>
              <a:gd name="connsiteY7" fmla="*/ 135258 h 5882580"/>
              <a:gd name="connsiteX8" fmla="*/ 276546 w 8193114"/>
              <a:gd name="connsiteY8" fmla="*/ 0 h 5882580"/>
              <a:gd name="connsiteX0" fmla="*/ 276546 w 8193114"/>
              <a:gd name="connsiteY0" fmla="*/ 8851 h 5891431"/>
              <a:gd name="connsiteX1" fmla="*/ 8185691 w 8193114"/>
              <a:gd name="connsiteY1" fmla="*/ 1982598 h 5891431"/>
              <a:gd name="connsiteX2" fmla="*/ 8193114 w 8193114"/>
              <a:gd name="connsiteY2" fmla="*/ 4027907 h 5891431"/>
              <a:gd name="connsiteX3" fmla="*/ 6899139 w 8193114"/>
              <a:gd name="connsiteY3" fmla="*/ 5891431 h 5891431"/>
              <a:gd name="connsiteX4" fmla="*/ 2123577 w 8193114"/>
              <a:gd name="connsiteY4" fmla="*/ 5878222 h 5891431"/>
              <a:gd name="connsiteX5" fmla="*/ 309020 w 8193114"/>
              <a:gd name="connsiteY5" fmla="*/ 3813204 h 5891431"/>
              <a:gd name="connsiteX6" fmla="*/ 18600 w 8193114"/>
              <a:gd name="connsiteY6" fmla="*/ 3284154 h 5891431"/>
              <a:gd name="connsiteX7" fmla="*/ 0 w 8193114"/>
              <a:gd name="connsiteY7" fmla="*/ 144109 h 5891431"/>
              <a:gd name="connsiteX8" fmla="*/ 276546 w 8193114"/>
              <a:gd name="connsiteY8" fmla="*/ 8851 h 5891431"/>
              <a:gd name="connsiteX0" fmla="*/ 276546 w 8193114"/>
              <a:gd name="connsiteY0" fmla="*/ 18576 h 5901156"/>
              <a:gd name="connsiteX1" fmla="*/ 8185691 w 8193114"/>
              <a:gd name="connsiteY1" fmla="*/ 1992323 h 5901156"/>
              <a:gd name="connsiteX2" fmla="*/ 8193114 w 8193114"/>
              <a:gd name="connsiteY2" fmla="*/ 4037632 h 5901156"/>
              <a:gd name="connsiteX3" fmla="*/ 6899139 w 8193114"/>
              <a:gd name="connsiteY3" fmla="*/ 5901156 h 5901156"/>
              <a:gd name="connsiteX4" fmla="*/ 2123577 w 8193114"/>
              <a:gd name="connsiteY4" fmla="*/ 5887947 h 5901156"/>
              <a:gd name="connsiteX5" fmla="*/ 309020 w 8193114"/>
              <a:gd name="connsiteY5" fmla="*/ 3822929 h 5901156"/>
              <a:gd name="connsiteX6" fmla="*/ 18600 w 8193114"/>
              <a:gd name="connsiteY6" fmla="*/ 3293879 h 5901156"/>
              <a:gd name="connsiteX7" fmla="*/ 0 w 8193114"/>
              <a:gd name="connsiteY7" fmla="*/ 153834 h 5901156"/>
              <a:gd name="connsiteX8" fmla="*/ 276546 w 8193114"/>
              <a:gd name="connsiteY8" fmla="*/ 18576 h 5901156"/>
              <a:gd name="connsiteX0" fmla="*/ 276546 w 8193114"/>
              <a:gd name="connsiteY0" fmla="*/ 17428 h 5900008"/>
              <a:gd name="connsiteX1" fmla="*/ 8185691 w 8193114"/>
              <a:gd name="connsiteY1" fmla="*/ 1991175 h 5900008"/>
              <a:gd name="connsiteX2" fmla="*/ 8193114 w 8193114"/>
              <a:gd name="connsiteY2" fmla="*/ 4036484 h 5900008"/>
              <a:gd name="connsiteX3" fmla="*/ 6899139 w 8193114"/>
              <a:gd name="connsiteY3" fmla="*/ 5900008 h 5900008"/>
              <a:gd name="connsiteX4" fmla="*/ 2123577 w 8193114"/>
              <a:gd name="connsiteY4" fmla="*/ 5886799 h 5900008"/>
              <a:gd name="connsiteX5" fmla="*/ 309020 w 8193114"/>
              <a:gd name="connsiteY5" fmla="*/ 3821781 h 5900008"/>
              <a:gd name="connsiteX6" fmla="*/ 18600 w 8193114"/>
              <a:gd name="connsiteY6" fmla="*/ 3292731 h 5900008"/>
              <a:gd name="connsiteX7" fmla="*/ 0 w 8193114"/>
              <a:gd name="connsiteY7" fmla="*/ 152686 h 5900008"/>
              <a:gd name="connsiteX8" fmla="*/ 276546 w 8193114"/>
              <a:gd name="connsiteY8" fmla="*/ 17428 h 5900008"/>
              <a:gd name="connsiteX0" fmla="*/ 276546 w 8193114"/>
              <a:gd name="connsiteY0" fmla="*/ 33372 h 5915952"/>
              <a:gd name="connsiteX1" fmla="*/ 8185691 w 8193114"/>
              <a:gd name="connsiteY1" fmla="*/ 2007119 h 5915952"/>
              <a:gd name="connsiteX2" fmla="*/ 8193114 w 8193114"/>
              <a:gd name="connsiteY2" fmla="*/ 4052428 h 5915952"/>
              <a:gd name="connsiteX3" fmla="*/ 6899139 w 8193114"/>
              <a:gd name="connsiteY3" fmla="*/ 5915952 h 5915952"/>
              <a:gd name="connsiteX4" fmla="*/ 2123577 w 8193114"/>
              <a:gd name="connsiteY4" fmla="*/ 5902743 h 5915952"/>
              <a:gd name="connsiteX5" fmla="*/ 309020 w 8193114"/>
              <a:gd name="connsiteY5" fmla="*/ 3837725 h 5915952"/>
              <a:gd name="connsiteX6" fmla="*/ 18600 w 8193114"/>
              <a:gd name="connsiteY6" fmla="*/ 3308675 h 5915952"/>
              <a:gd name="connsiteX7" fmla="*/ 0 w 8193114"/>
              <a:gd name="connsiteY7" fmla="*/ 168630 h 5915952"/>
              <a:gd name="connsiteX8" fmla="*/ 276546 w 8193114"/>
              <a:gd name="connsiteY8" fmla="*/ 33372 h 5915952"/>
              <a:gd name="connsiteX0" fmla="*/ 276546 w 8193114"/>
              <a:gd name="connsiteY0" fmla="*/ 14294 h 5896874"/>
              <a:gd name="connsiteX1" fmla="*/ 8185691 w 8193114"/>
              <a:gd name="connsiteY1" fmla="*/ 1988041 h 5896874"/>
              <a:gd name="connsiteX2" fmla="*/ 8193114 w 8193114"/>
              <a:gd name="connsiteY2" fmla="*/ 4033350 h 5896874"/>
              <a:gd name="connsiteX3" fmla="*/ 6899139 w 8193114"/>
              <a:gd name="connsiteY3" fmla="*/ 5896874 h 5896874"/>
              <a:gd name="connsiteX4" fmla="*/ 2123577 w 8193114"/>
              <a:gd name="connsiteY4" fmla="*/ 5883665 h 5896874"/>
              <a:gd name="connsiteX5" fmla="*/ 309020 w 8193114"/>
              <a:gd name="connsiteY5" fmla="*/ 3818647 h 5896874"/>
              <a:gd name="connsiteX6" fmla="*/ 18600 w 8193114"/>
              <a:gd name="connsiteY6" fmla="*/ 3289597 h 5896874"/>
              <a:gd name="connsiteX7" fmla="*/ 0 w 8193114"/>
              <a:gd name="connsiteY7" fmla="*/ 149552 h 5896874"/>
              <a:gd name="connsiteX8" fmla="*/ 276546 w 8193114"/>
              <a:gd name="connsiteY8" fmla="*/ 14294 h 5896874"/>
              <a:gd name="connsiteX0" fmla="*/ 276546 w 8193114"/>
              <a:gd name="connsiteY0" fmla="*/ 20586 h 5903166"/>
              <a:gd name="connsiteX1" fmla="*/ 8185691 w 8193114"/>
              <a:gd name="connsiteY1" fmla="*/ 1994333 h 5903166"/>
              <a:gd name="connsiteX2" fmla="*/ 8193114 w 8193114"/>
              <a:gd name="connsiteY2" fmla="*/ 4039642 h 5903166"/>
              <a:gd name="connsiteX3" fmla="*/ 6899139 w 8193114"/>
              <a:gd name="connsiteY3" fmla="*/ 5903166 h 5903166"/>
              <a:gd name="connsiteX4" fmla="*/ 2123577 w 8193114"/>
              <a:gd name="connsiteY4" fmla="*/ 5889957 h 5903166"/>
              <a:gd name="connsiteX5" fmla="*/ 309020 w 8193114"/>
              <a:gd name="connsiteY5" fmla="*/ 3824939 h 5903166"/>
              <a:gd name="connsiteX6" fmla="*/ 18600 w 8193114"/>
              <a:gd name="connsiteY6" fmla="*/ 3295889 h 5903166"/>
              <a:gd name="connsiteX7" fmla="*/ 0 w 8193114"/>
              <a:gd name="connsiteY7" fmla="*/ 155844 h 5903166"/>
              <a:gd name="connsiteX8" fmla="*/ 276546 w 8193114"/>
              <a:gd name="connsiteY8" fmla="*/ 20586 h 5903166"/>
              <a:gd name="connsiteX0" fmla="*/ 276546 w 8193114"/>
              <a:gd name="connsiteY0" fmla="*/ 20586 h 5903166"/>
              <a:gd name="connsiteX1" fmla="*/ 8185691 w 8193114"/>
              <a:gd name="connsiteY1" fmla="*/ 1994333 h 5903166"/>
              <a:gd name="connsiteX2" fmla="*/ 8193114 w 8193114"/>
              <a:gd name="connsiteY2" fmla="*/ 4039642 h 5903166"/>
              <a:gd name="connsiteX3" fmla="*/ 6899139 w 8193114"/>
              <a:gd name="connsiteY3" fmla="*/ 5903166 h 5903166"/>
              <a:gd name="connsiteX4" fmla="*/ 2123577 w 8193114"/>
              <a:gd name="connsiteY4" fmla="*/ 5889957 h 5903166"/>
              <a:gd name="connsiteX5" fmla="*/ 309020 w 8193114"/>
              <a:gd name="connsiteY5" fmla="*/ 3824939 h 5903166"/>
              <a:gd name="connsiteX6" fmla="*/ 18600 w 8193114"/>
              <a:gd name="connsiteY6" fmla="*/ 3295889 h 5903166"/>
              <a:gd name="connsiteX7" fmla="*/ 0 w 8193114"/>
              <a:gd name="connsiteY7" fmla="*/ 155844 h 5903166"/>
              <a:gd name="connsiteX8" fmla="*/ 276546 w 8193114"/>
              <a:gd name="connsiteY8" fmla="*/ 20586 h 5903166"/>
              <a:gd name="connsiteX0" fmla="*/ 276546 w 8193114"/>
              <a:gd name="connsiteY0" fmla="*/ 62247 h 5944827"/>
              <a:gd name="connsiteX1" fmla="*/ 8185691 w 8193114"/>
              <a:gd name="connsiteY1" fmla="*/ 2035994 h 5944827"/>
              <a:gd name="connsiteX2" fmla="*/ 8193114 w 8193114"/>
              <a:gd name="connsiteY2" fmla="*/ 4081303 h 5944827"/>
              <a:gd name="connsiteX3" fmla="*/ 6899139 w 8193114"/>
              <a:gd name="connsiteY3" fmla="*/ 5944827 h 5944827"/>
              <a:gd name="connsiteX4" fmla="*/ 2123577 w 8193114"/>
              <a:gd name="connsiteY4" fmla="*/ 5931618 h 5944827"/>
              <a:gd name="connsiteX5" fmla="*/ 309020 w 8193114"/>
              <a:gd name="connsiteY5" fmla="*/ 3866600 h 5944827"/>
              <a:gd name="connsiteX6" fmla="*/ 18600 w 8193114"/>
              <a:gd name="connsiteY6" fmla="*/ 3337550 h 5944827"/>
              <a:gd name="connsiteX7" fmla="*/ 0 w 8193114"/>
              <a:gd name="connsiteY7" fmla="*/ 197505 h 5944827"/>
              <a:gd name="connsiteX8" fmla="*/ 276546 w 8193114"/>
              <a:gd name="connsiteY8" fmla="*/ 62247 h 5944827"/>
              <a:gd name="connsiteX0" fmla="*/ 276546 w 8193114"/>
              <a:gd name="connsiteY0" fmla="*/ 17865 h 5900445"/>
              <a:gd name="connsiteX1" fmla="*/ 8185691 w 8193114"/>
              <a:gd name="connsiteY1" fmla="*/ 1991612 h 5900445"/>
              <a:gd name="connsiteX2" fmla="*/ 8193114 w 8193114"/>
              <a:gd name="connsiteY2" fmla="*/ 4036921 h 5900445"/>
              <a:gd name="connsiteX3" fmla="*/ 6899139 w 8193114"/>
              <a:gd name="connsiteY3" fmla="*/ 5900445 h 5900445"/>
              <a:gd name="connsiteX4" fmla="*/ 2123577 w 8193114"/>
              <a:gd name="connsiteY4" fmla="*/ 5887236 h 5900445"/>
              <a:gd name="connsiteX5" fmla="*/ 309020 w 8193114"/>
              <a:gd name="connsiteY5" fmla="*/ 3822218 h 5900445"/>
              <a:gd name="connsiteX6" fmla="*/ 18600 w 8193114"/>
              <a:gd name="connsiteY6" fmla="*/ 3293168 h 5900445"/>
              <a:gd name="connsiteX7" fmla="*/ 0 w 8193114"/>
              <a:gd name="connsiteY7" fmla="*/ 153123 h 5900445"/>
              <a:gd name="connsiteX8" fmla="*/ 276546 w 8193114"/>
              <a:gd name="connsiteY8" fmla="*/ 17865 h 5900445"/>
              <a:gd name="connsiteX0" fmla="*/ 276546 w 8193114"/>
              <a:gd name="connsiteY0" fmla="*/ 17865 h 5900445"/>
              <a:gd name="connsiteX1" fmla="*/ 8185691 w 8193114"/>
              <a:gd name="connsiteY1" fmla="*/ 1991612 h 5900445"/>
              <a:gd name="connsiteX2" fmla="*/ 8193114 w 8193114"/>
              <a:gd name="connsiteY2" fmla="*/ 4036921 h 5900445"/>
              <a:gd name="connsiteX3" fmla="*/ 6899139 w 8193114"/>
              <a:gd name="connsiteY3" fmla="*/ 5900445 h 5900445"/>
              <a:gd name="connsiteX4" fmla="*/ 2123577 w 8193114"/>
              <a:gd name="connsiteY4" fmla="*/ 5887236 h 5900445"/>
              <a:gd name="connsiteX5" fmla="*/ 309020 w 8193114"/>
              <a:gd name="connsiteY5" fmla="*/ 3822218 h 5900445"/>
              <a:gd name="connsiteX6" fmla="*/ 18600 w 8193114"/>
              <a:gd name="connsiteY6" fmla="*/ 3293168 h 5900445"/>
              <a:gd name="connsiteX7" fmla="*/ 0 w 8193114"/>
              <a:gd name="connsiteY7" fmla="*/ 153123 h 5900445"/>
              <a:gd name="connsiteX8" fmla="*/ 276546 w 8193114"/>
              <a:gd name="connsiteY8" fmla="*/ 17865 h 5900445"/>
              <a:gd name="connsiteX0" fmla="*/ 276546 w 8193114"/>
              <a:gd name="connsiteY0" fmla="*/ 17865 h 5900445"/>
              <a:gd name="connsiteX1" fmla="*/ 8185691 w 8193114"/>
              <a:gd name="connsiteY1" fmla="*/ 1991612 h 5900445"/>
              <a:gd name="connsiteX2" fmla="*/ 8193114 w 8193114"/>
              <a:gd name="connsiteY2" fmla="*/ 4036921 h 5900445"/>
              <a:gd name="connsiteX3" fmla="*/ 6899139 w 8193114"/>
              <a:gd name="connsiteY3" fmla="*/ 5900445 h 5900445"/>
              <a:gd name="connsiteX4" fmla="*/ 2123577 w 8193114"/>
              <a:gd name="connsiteY4" fmla="*/ 5887236 h 5900445"/>
              <a:gd name="connsiteX5" fmla="*/ 309020 w 8193114"/>
              <a:gd name="connsiteY5" fmla="*/ 3822218 h 5900445"/>
              <a:gd name="connsiteX6" fmla="*/ 18600 w 8193114"/>
              <a:gd name="connsiteY6" fmla="*/ 3293168 h 5900445"/>
              <a:gd name="connsiteX7" fmla="*/ 0 w 8193114"/>
              <a:gd name="connsiteY7" fmla="*/ 153123 h 5900445"/>
              <a:gd name="connsiteX8" fmla="*/ 276546 w 8193114"/>
              <a:gd name="connsiteY8" fmla="*/ 17865 h 5900445"/>
              <a:gd name="connsiteX0" fmla="*/ 276546 w 8193114"/>
              <a:gd name="connsiteY0" fmla="*/ 14556 h 5897136"/>
              <a:gd name="connsiteX1" fmla="*/ 8185691 w 8193114"/>
              <a:gd name="connsiteY1" fmla="*/ 1988303 h 5897136"/>
              <a:gd name="connsiteX2" fmla="*/ 8193114 w 8193114"/>
              <a:gd name="connsiteY2" fmla="*/ 4033612 h 5897136"/>
              <a:gd name="connsiteX3" fmla="*/ 6899139 w 8193114"/>
              <a:gd name="connsiteY3" fmla="*/ 5897136 h 5897136"/>
              <a:gd name="connsiteX4" fmla="*/ 2123577 w 8193114"/>
              <a:gd name="connsiteY4" fmla="*/ 5883927 h 5897136"/>
              <a:gd name="connsiteX5" fmla="*/ 309020 w 8193114"/>
              <a:gd name="connsiteY5" fmla="*/ 3818909 h 5897136"/>
              <a:gd name="connsiteX6" fmla="*/ 18600 w 8193114"/>
              <a:gd name="connsiteY6" fmla="*/ 3289859 h 5897136"/>
              <a:gd name="connsiteX7" fmla="*/ 0 w 8193114"/>
              <a:gd name="connsiteY7" fmla="*/ 149814 h 5897136"/>
              <a:gd name="connsiteX8" fmla="*/ 276546 w 8193114"/>
              <a:gd name="connsiteY8" fmla="*/ 14556 h 5897136"/>
              <a:gd name="connsiteX0" fmla="*/ 276546 w 8193114"/>
              <a:gd name="connsiteY0" fmla="*/ 14556 h 5897136"/>
              <a:gd name="connsiteX1" fmla="*/ 8185691 w 8193114"/>
              <a:gd name="connsiteY1" fmla="*/ 1988303 h 5897136"/>
              <a:gd name="connsiteX2" fmla="*/ 8193114 w 8193114"/>
              <a:gd name="connsiteY2" fmla="*/ 4033612 h 5897136"/>
              <a:gd name="connsiteX3" fmla="*/ 6899139 w 8193114"/>
              <a:gd name="connsiteY3" fmla="*/ 5897136 h 5897136"/>
              <a:gd name="connsiteX4" fmla="*/ 2123577 w 8193114"/>
              <a:gd name="connsiteY4" fmla="*/ 5883927 h 5897136"/>
              <a:gd name="connsiteX5" fmla="*/ 309020 w 8193114"/>
              <a:gd name="connsiteY5" fmla="*/ 3818909 h 5897136"/>
              <a:gd name="connsiteX6" fmla="*/ 18600 w 8193114"/>
              <a:gd name="connsiteY6" fmla="*/ 3289859 h 5897136"/>
              <a:gd name="connsiteX7" fmla="*/ 0 w 8193114"/>
              <a:gd name="connsiteY7" fmla="*/ 149814 h 5897136"/>
              <a:gd name="connsiteX8" fmla="*/ 276546 w 8193114"/>
              <a:gd name="connsiteY8" fmla="*/ 14556 h 5897136"/>
              <a:gd name="connsiteX0" fmla="*/ 270196 w 8193114"/>
              <a:gd name="connsiteY0" fmla="*/ 13136 h 5908416"/>
              <a:gd name="connsiteX1" fmla="*/ 8185691 w 8193114"/>
              <a:gd name="connsiteY1" fmla="*/ 1999583 h 5908416"/>
              <a:gd name="connsiteX2" fmla="*/ 8193114 w 8193114"/>
              <a:gd name="connsiteY2" fmla="*/ 4044892 h 5908416"/>
              <a:gd name="connsiteX3" fmla="*/ 6899139 w 8193114"/>
              <a:gd name="connsiteY3" fmla="*/ 5908416 h 5908416"/>
              <a:gd name="connsiteX4" fmla="*/ 2123577 w 8193114"/>
              <a:gd name="connsiteY4" fmla="*/ 5895207 h 5908416"/>
              <a:gd name="connsiteX5" fmla="*/ 309020 w 8193114"/>
              <a:gd name="connsiteY5" fmla="*/ 3830189 h 5908416"/>
              <a:gd name="connsiteX6" fmla="*/ 18600 w 8193114"/>
              <a:gd name="connsiteY6" fmla="*/ 3301139 h 5908416"/>
              <a:gd name="connsiteX7" fmla="*/ 0 w 8193114"/>
              <a:gd name="connsiteY7" fmla="*/ 161094 h 5908416"/>
              <a:gd name="connsiteX8" fmla="*/ 270196 w 8193114"/>
              <a:gd name="connsiteY8" fmla="*/ 13136 h 5908416"/>
              <a:gd name="connsiteX0" fmla="*/ 270196 w 8193114"/>
              <a:gd name="connsiteY0" fmla="*/ 8433 h 5903713"/>
              <a:gd name="connsiteX1" fmla="*/ 8185691 w 8193114"/>
              <a:gd name="connsiteY1" fmla="*/ 1994880 h 5903713"/>
              <a:gd name="connsiteX2" fmla="*/ 8193114 w 8193114"/>
              <a:gd name="connsiteY2" fmla="*/ 4040189 h 5903713"/>
              <a:gd name="connsiteX3" fmla="*/ 6899139 w 8193114"/>
              <a:gd name="connsiteY3" fmla="*/ 5903713 h 5903713"/>
              <a:gd name="connsiteX4" fmla="*/ 2123577 w 8193114"/>
              <a:gd name="connsiteY4" fmla="*/ 5890504 h 5903713"/>
              <a:gd name="connsiteX5" fmla="*/ 309020 w 8193114"/>
              <a:gd name="connsiteY5" fmla="*/ 3825486 h 5903713"/>
              <a:gd name="connsiteX6" fmla="*/ 18600 w 8193114"/>
              <a:gd name="connsiteY6" fmla="*/ 3296436 h 5903713"/>
              <a:gd name="connsiteX7" fmla="*/ 0 w 8193114"/>
              <a:gd name="connsiteY7" fmla="*/ 156391 h 5903713"/>
              <a:gd name="connsiteX8" fmla="*/ 270196 w 8193114"/>
              <a:gd name="connsiteY8" fmla="*/ 8433 h 5903713"/>
              <a:gd name="connsiteX0" fmla="*/ 270196 w 8186251"/>
              <a:gd name="connsiteY0" fmla="*/ 8433 h 5903713"/>
              <a:gd name="connsiteX1" fmla="*/ 8185691 w 8186251"/>
              <a:gd name="connsiteY1" fmla="*/ 1994880 h 5903713"/>
              <a:gd name="connsiteX2" fmla="*/ 8183970 w 8186251"/>
              <a:gd name="connsiteY2" fmla="*/ 4104197 h 5903713"/>
              <a:gd name="connsiteX3" fmla="*/ 6899139 w 8186251"/>
              <a:gd name="connsiteY3" fmla="*/ 5903713 h 5903713"/>
              <a:gd name="connsiteX4" fmla="*/ 2123577 w 8186251"/>
              <a:gd name="connsiteY4" fmla="*/ 5890504 h 5903713"/>
              <a:gd name="connsiteX5" fmla="*/ 309020 w 8186251"/>
              <a:gd name="connsiteY5" fmla="*/ 3825486 h 5903713"/>
              <a:gd name="connsiteX6" fmla="*/ 18600 w 8186251"/>
              <a:gd name="connsiteY6" fmla="*/ 3296436 h 5903713"/>
              <a:gd name="connsiteX7" fmla="*/ 0 w 8186251"/>
              <a:gd name="connsiteY7" fmla="*/ 156391 h 5903713"/>
              <a:gd name="connsiteX8" fmla="*/ 270196 w 8186251"/>
              <a:gd name="connsiteY8" fmla="*/ 8433 h 5903713"/>
              <a:gd name="connsiteX0" fmla="*/ 270196 w 8186251"/>
              <a:gd name="connsiteY0" fmla="*/ 8433 h 5903713"/>
              <a:gd name="connsiteX1" fmla="*/ 8185691 w 8186251"/>
              <a:gd name="connsiteY1" fmla="*/ 1994880 h 5903713"/>
              <a:gd name="connsiteX2" fmla="*/ 8183970 w 8186251"/>
              <a:gd name="connsiteY2" fmla="*/ 4104197 h 5903713"/>
              <a:gd name="connsiteX3" fmla="*/ 6899139 w 8186251"/>
              <a:gd name="connsiteY3" fmla="*/ 5903713 h 5903713"/>
              <a:gd name="connsiteX4" fmla="*/ 1835577 w 8186251"/>
              <a:gd name="connsiteY4" fmla="*/ 5559304 h 5903713"/>
              <a:gd name="connsiteX5" fmla="*/ 309020 w 8186251"/>
              <a:gd name="connsiteY5" fmla="*/ 3825486 h 5903713"/>
              <a:gd name="connsiteX6" fmla="*/ 18600 w 8186251"/>
              <a:gd name="connsiteY6" fmla="*/ 3296436 h 5903713"/>
              <a:gd name="connsiteX7" fmla="*/ 0 w 8186251"/>
              <a:gd name="connsiteY7" fmla="*/ 156391 h 5903713"/>
              <a:gd name="connsiteX8" fmla="*/ 270196 w 8186251"/>
              <a:gd name="connsiteY8" fmla="*/ 8433 h 5903713"/>
              <a:gd name="connsiteX0" fmla="*/ 270196 w 8186251"/>
              <a:gd name="connsiteY0" fmla="*/ 8433 h 5579713"/>
              <a:gd name="connsiteX1" fmla="*/ 8185691 w 8186251"/>
              <a:gd name="connsiteY1" fmla="*/ 1994880 h 5579713"/>
              <a:gd name="connsiteX2" fmla="*/ 8183970 w 8186251"/>
              <a:gd name="connsiteY2" fmla="*/ 4104197 h 5579713"/>
              <a:gd name="connsiteX3" fmla="*/ 7136739 w 8186251"/>
              <a:gd name="connsiteY3" fmla="*/ 5579713 h 5579713"/>
              <a:gd name="connsiteX4" fmla="*/ 1835577 w 8186251"/>
              <a:gd name="connsiteY4" fmla="*/ 5559304 h 5579713"/>
              <a:gd name="connsiteX5" fmla="*/ 309020 w 8186251"/>
              <a:gd name="connsiteY5" fmla="*/ 3825486 h 5579713"/>
              <a:gd name="connsiteX6" fmla="*/ 18600 w 8186251"/>
              <a:gd name="connsiteY6" fmla="*/ 3296436 h 5579713"/>
              <a:gd name="connsiteX7" fmla="*/ 0 w 8186251"/>
              <a:gd name="connsiteY7" fmla="*/ 156391 h 5579713"/>
              <a:gd name="connsiteX8" fmla="*/ 270196 w 8186251"/>
              <a:gd name="connsiteY8" fmla="*/ 8433 h 5579713"/>
              <a:gd name="connsiteX0" fmla="*/ 270196 w 8183970"/>
              <a:gd name="connsiteY0" fmla="*/ 8433 h 5579713"/>
              <a:gd name="connsiteX1" fmla="*/ 7948091 w 8183970"/>
              <a:gd name="connsiteY1" fmla="*/ 1937280 h 5579713"/>
              <a:gd name="connsiteX2" fmla="*/ 8183970 w 8183970"/>
              <a:gd name="connsiteY2" fmla="*/ 4104197 h 5579713"/>
              <a:gd name="connsiteX3" fmla="*/ 7136739 w 8183970"/>
              <a:gd name="connsiteY3" fmla="*/ 5579713 h 5579713"/>
              <a:gd name="connsiteX4" fmla="*/ 1835577 w 8183970"/>
              <a:gd name="connsiteY4" fmla="*/ 5559304 h 5579713"/>
              <a:gd name="connsiteX5" fmla="*/ 309020 w 8183970"/>
              <a:gd name="connsiteY5" fmla="*/ 3825486 h 5579713"/>
              <a:gd name="connsiteX6" fmla="*/ 18600 w 8183970"/>
              <a:gd name="connsiteY6" fmla="*/ 3296436 h 5579713"/>
              <a:gd name="connsiteX7" fmla="*/ 0 w 8183970"/>
              <a:gd name="connsiteY7" fmla="*/ 156391 h 5579713"/>
              <a:gd name="connsiteX8" fmla="*/ 270196 w 8183970"/>
              <a:gd name="connsiteY8" fmla="*/ 8433 h 5579713"/>
              <a:gd name="connsiteX0" fmla="*/ 270196 w 7960770"/>
              <a:gd name="connsiteY0" fmla="*/ 8433 h 5579713"/>
              <a:gd name="connsiteX1" fmla="*/ 7948091 w 7960770"/>
              <a:gd name="connsiteY1" fmla="*/ 1937280 h 5579713"/>
              <a:gd name="connsiteX2" fmla="*/ 7960770 w 7960770"/>
              <a:gd name="connsiteY2" fmla="*/ 4428197 h 5579713"/>
              <a:gd name="connsiteX3" fmla="*/ 7136739 w 7960770"/>
              <a:gd name="connsiteY3" fmla="*/ 5579713 h 5579713"/>
              <a:gd name="connsiteX4" fmla="*/ 1835577 w 7960770"/>
              <a:gd name="connsiteY4" fmla="*/ 5559304 h 5579713"/>
              <a:gd name="connsiteX5" fmla="*/ 309020 w 7960770"/>
              <a:gd name="connsiteY5" fmla="*/ 3825486 h 5579713"/>
              <a:gd name="connsiteX6" fmla="*/ 18600 w 7960770"/>
              <a:gd name="connsiteY6" fmla="*/ 3296436 h 5579713"/>
              <a:gd name="connsiteX7" fmla="*/ 0 w 7960770"/>
              <a:gd name="connsiteY7" fmla="*/ 156391 h 5579713"/>
              <a:gd name="connsiteX8" fmla="*/ 270196 w 7960770"/>
              <a:gd name="connsiteY8" fmla="*/ 8433 h 5579713"/>
              <a:gd name="connsiteX0" fmla="*/ 270196 w 7960770"/>
              <a:gd name="connsiteY0" fmla="*/ 8433 h 5579713"/>
              <a:gd name="connsiteX1" fmla="*/ 7948091 w 7960770"/>
              <a:gd name="connsiteY1" fmla="*/ 1937280 h 5579713"/>
              <a:gd name="connsiteX2" fmla="*/ 7960770 w 7960770"/>
              <a:gd name="connsiteY2" fmla="*/ 4428197 h 5579713"/>
              <a:gd name="connsiteX3" fmla="*/ 7136739 w 7960770"/>
              <a:gd name="connsiteY3" fmla="*/ 5579713 h 5579713"/>
              <a:gd name="connsiteX4" fmla="*/ 1694175 w 7960770"/>
              <a:gd name="connsiteY4" fmla="*/ 5380195 h 5579713"/>
              <a:gd name="connsiteX5" fmla="*/ 309020 w 7960770"/>
              <a:gd name="connsiteY5" fmla="*/ 3825486 h 5579713"/>
              <a:gd name="connsiteX6" fmla="*/ 18600 w 7960770"/>
              <a:gd name="connsiteY6" fmla="*/ 3296436 h 5579713"/>
              <a:gd name="connsiteX7" fmla="*/ 0 w 7960770"/>
              <a:gd name="connsiteY7" fmla="*/ 156391 h 5579713"/>
              <a:gd name="connsiteX8" fmla="*/ 270196 w 7960770"/>
              <a:gd name="connsiteY8" fmla="*/ 8433 h 5579713"/>
              <a:gd name="connsiteX0" fmla="*/ 270196 w 7960770"/>
              <a:gd name="connsiteY0" fmla="*/ 8433 h 5400604"/>
              <a:gd name="connsiteX1" fmla="*/ 7948091 w 7960770"/>
              <a:gd name="connsiteY1" fmla="*/ 1937280 h 5400604"/>
              <a:gd name="connsiteX2" fmla="*/ 7960770 w 7960770"/>
              <a:gd name="connsiteY2" fmla="*/ 4428197 h 5400604"/>
              <a:gd name="connsiteX3" fmla="*/ 7268714 w 7960770"/>
              <a:gd name="connsiteY3" fmla="*/ 5400604 h 5400604"/>
              <a:gd name="connsiteX4" fmla="*/ 1694175 w 7960770"/>
              <a:gd name="connsiteY4" fmla="*/ 5380195 h 5400604"/>
              <a:gd name="connsiteX5" fmla="*/ 309020 w 7960770"/>
              <a:gd name="connsiteY5" fmla="*/ 3825486 h 5400604"/>
              <a:gd name="connsiteX6" fmla="*/ 18600 w 7960770"/>
              <a:gd name="connsiteY6" fmla="*/ 3296436 h 5400604"/>
              <a:gd name="connsiteX7" fmla="*/ 0 w 7960770"/>
              <a:gd name="connsiteY7" fmla="*/ 156391 h 5400604"/>
              <a:gd name="connsiteX8" fmla="*/ 270196 w 7960770"/>
              <a:gd name="connsiteY8" fmla="*/ 8433 h 540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60770" h="5400604">
                <a:moveTo>
                  <a:pt x="270196" y="8433"/>
                </a:moveTo>
                <a:lnTo>
                  <a:pt x="7948091" y="1937280"/>
                </a:lnTo>
                <a:cubicBezTo>
                  <a:pt x="7950565" y="2615737"/>
                  <a:pt x="7958296" y="3749740"/>
                  <a:pt x="7960770" y="4428197"/>
                </a:cubicBezTo>
                <a:lnTo>
                  <a:pt x="7268714" y="5400604"/>
                </a:lnTo>
                <a:lnTo>
                  <a:pt x="1694175" y="5380195"/>
                </a:lnTo>
                <a:lnTo>
                  <a:pt x="309020" y="3825486"/>
                </a:lnTo>
                <a:cubicBezTo>
                  <a:pt x="58218" y="3553257"/>
                  <a:pt x="36245" y="3529933"/>
                  <a:pt x="18600" y="3296436"/>
                </a:cubicBezTo>
                <a:cubicBezTo>
                  <a:pt x="12400" y="2249754"/>
                  <a:pt x="6200" y="917323"/>
                  <a:pt x="0" y="156391"/>
                </a:cubicBezTo>
                <a:cubicBezTo>
                  <a:pt x="22536" y="40840"/>
                  <a:pt x="70892" y="-24258"/>
                  <a:pt x="270196" y="8433"/>
                </a:cubicBezTo>
                <a:close/>
              </a:path>
            </a:pathLst>
          </a:cu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7" name="TextBox 6">
            <a:extLst>
              <a:ext uri="{FF2B5EF4-FFF2-40B4-BE49-F238E27FC236}">
                <a16:creationId xmlns:a16="http://schemas.microsoft.com/office/drawing/2014/main" id="{E5F808EF-C334-EB4E-97E8-161D41D52758}"/>
              </a:ext>
            </a:extLst>
          </p:cNvPr>
          <p:cNvSpPr txBox="1"/>
          <p:nvPr/>
        </p:nvSpPr>
        <p:spPr>
          <a:xfrm>
            <a:off x="-1170000" y="2440557"/>
            <a:ext cx="1052488" cy="1785104"/>
          </a:xfrm>
          <a:prstGeom prst="rect">
            <a:avLst/>
          </a:prstGeom>
          <a:solidFill>
            <a:schemeClr val="bg1"/>
          </a:solidFill>
        </p:spPr>
        <p:txBody>
          <a:bodyPr wrap="square" rtlCol="0">
            <a:spAutoFit/>
          </a:bodyPr>
          <a:lstStyle/>
          <a:p>
            <a:pPr algn="l"/>
            <a:r>
              <a:rPr lang="en-US" sz="1000">
                <a:solidFill>
                  <a:srgbClr val="333D47"/>
                </a:solidFill>
                <a:latin typeface="Arial" panose="020B0604020202020204" pitchFamily="34" charset="0"/>
                <a:cs typeface="Arial" panose="020B0604020202020204" pitchFamily="34" charset="0"/>
              </a:rPr>
              <a:t>The image can be replaced here and master view</a:t>
            </a:r>
          </a:p>
          <a:p>
            <a:pPr algn="l"/>
            <a:endParaRPr lang="en-US" sz="1000">
              <a:solidFill>
                <a:srgbClr val="333D47"/>
              </a:solidFill>
              <a:latin typeface="Arial" panose="020B0604020202020204" pitchFamily="34" charset="0"/>
              <a:cs typeface="Arial" panose="020B0604020202020204" pitchFamily="34" charset="0"/>
            </a:endParaRPr>
          </a:p>
          <a:p>
            <a:pPr algn="l"/>
            <a:r>
              <a:rPr lang="en-GB" sz="1000">
                <a:latin typeface="Helvetica Neue" panose="02000503000000020004" pitchFamily="2" charset="0"/>
              </a:rPr>
              <a:t>Please </a:t>
            </a:r>
            <a:r>
              <a:rPr lang="en-GB" sz="1000" b="1">
                <a:latin typeface="Helvetica Neue" panose="02000503000000020004" pitchFamily="2" charset="0"/>
              </a:rPr>
              <a:t>do not </a:t>
            </a:r>
            <a:r>
              <a:rPr lang="en-GB" sz="1000">
                <a:latin typeface="Helvetica Neue" panose="02000503000000020004" pitchFamily="2" charset="0"/>
              </a:rPr>
              <a:t>use any internal photo competition participants’ images</a:t>
            </a:r>
            <a:endParaRPr lang="en-US" sz="1000">
              <a:solidFill>
                <a:srgbClr val="333D47"/>
              </a:solidFill>
            </a:endParaRPr>
          </a:p>
        </p:txBody>
      </p:sp>
    </p:spTree>
    <p:extLst>
      <p:ext uri="{BB962C8B-B14F-4D97-AF65-F5344CB8AC3E}">
        <p14:creationId xmlns:p14="http://schemas.microsoft.com/office/powerpoint/2010/main" val="6862149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IA_ShapeAs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5AABEC3-559C-4A41-9DF6-940C5F1D1F8D}"/>
              </a:ext>
            </a:extLst>
          </p:cNvPr>
          <p:cNvSpPr>
            <a:spLocks noGrp="1"/>
          </p:cNvSpPr>
          <p:nvPr>
            <p:ph type="sldNum" sz="quarter" idx="10"/>
          </p:nvPr>
        </p:nvSpPr>
        <p:spPr/>
        <p:txBody>
          <a:bodyPr/>
          <a:lstStyle/>
          <a:p>
            <a:fld id="{52BD4378-72E1-444F-8B73-E4C8D03E6D72}" type="slidenum">
              <a:rPr lang="en-MY" smtClean="0"/>
              <a:t>‹#›</a:t>
            </a:fld>
            <a:endParaRPr lang="en-MY"/>
          </a:p>
        </p:txBody>
      </p:sp>
      <p:sp>
        <p:nvSpPr>
          <p:cNvPr id="4" name="TextBox 3">
            <a:extLst>
              <a:ext uri="{FF2B5EF4-FFF2-40B4-BE49-F238E27FC236}">
                <a16:creationId xmlns:a16="http://schemas.microsoft.com/office/drawing/2014/main" id="{122BCF65-787D-8644-8CC7-70E444D84792}"/>
              </a:ext>
            </a:extLst>
          </p:cNvPr>
          <p:cNvSpPr txBox="1"/>
          <p:nvPr/>
        </p:nvSpPr>
        <p:spPr>
          <a:xfrm>
            <a:off x="552905" y="2534507"/>
            <a:ext cx="3360629" cy="1569661"/>
          </a:xfrm>
          <a:prstGeom prst="rect">
            <a:avLst/>
          </a:prstGeom>
          <a:noFill/>
        </p:spPr>
        <p:txBody>
          <a:bodyPr wrap="square" rtlCol="0">
            <a:spAutoFit/>
          </a:bodyPr>
          <a:lstStyle/>
          <a:p>
            <a:pPr algn="l"/>
            <a:r>
              <a:rPr lang="en-US">
                <a:solidFill>
                  <a:srgbClr val="333D47"/>
                </a:solidFill>
                <a:latin typeface="Arial" panose="020B0604020202020204" pitchFamily="34" charset="0"/>
                <a:cs typeface="Arial" panose="020B0604020202020204" pitchFamily="34" charset="0"/>
              </a:rPr>
              <a:t>This shape </a:t>
            </a:r>
            <a:r>
              <a:rPr lang="en-US" baseline="0">
                <a:solidFill>
                  <a:srgbClr val="333D47"/>
                </a:solidFill>
                <a:latin typeface="Arial" panose="020B0604020202020204" pitchFamily="34" charset="0"/>
                <a:cs typeface="Arial" panose="020B0604020202020204" pitchFamily="34" charset="0"/>
              </a:rPr>
              <a:t>is a photo mask. </a:t>
            </a:r>
          </a:p>
          <a:p>
            <a:pPr algn="l"/>
            <a:endParaRPr lang="en-US" baseline="0">
              <a:solidFill>
                <a:srgbClr val="333D47"/>
              </a:solidFill>
              <a:latin typeface="Arial" panose="020B0604020202020204" pitchFamily="34" charset="0"/>
              <a:cs typeface="Arial" panose="020B0604020202020204" pitchFamily="34" charset="0"/>
            </a:endParaRPr>
          </a:p>
          <a:p>
            <a:pPr algn="l"/>
            <a:endParaRPr lang="en-US" baseline="0">
              <a:solidFill>
                <a:srgbClr val="333D47"/>
              </a:solidFill>
              <a:latin typeface="Arial" panose="020B0604020202020204" pitchFamily="34" charset="0"/>
              <a:cs typeface="Arial" panose="020B0604020202020204" pitchFamily="34" charset="0"/>
            </a:endParaRPr>
          </a:p>
          <a:p>
            <a:pPr algn="l"/>
            <a:r>
              <a:rPr lang="en-US" sz="1400">
                <a:solidFill>
                  <a:srgbClr val="333D47"/>
                </a:solidFill>
              </a:rPr>
              <a:t>The ‘moving mountain’ shapes are editable on this page </a:t>
            </a:r>
            <a:r>
              <a:rPr lang="en-US" sz="1400" baseline="0">
                <a:solidFill>
                  <a:srgbClr val="333D47"/>
                </a:solidFill>
              </a:rPr>
              <a:t> if needed for increased flexibility.</a:t>
            </a:r>
            <a:endParaRPr lang="en-US" sz="1400">
              <a:solidFill>
                <a:srgbClr val="333D47"/>
              </a:solidFill>
            </a:endParaRPr>
          </a:p>
        </p:txBody>
      </p:sp>
      <p:sp>
        <p:nvSpPr>
          <p:cNvPr id="5" name="Manual Input 7">
            <a:extLst>
              <a:ext uri="{FF2B5EF4-FFF2-40B4-BE49-F238E27FC236}">
                <a16:creationId xmlns:a16="http://schemas.microsoft.com/office/drawing/2014/main" id="{E44B81EF-B789-AD4F-B233-9010B9526BA6}"/>
              </a:ext>
            </a:extLst>
          </p:cNvPr>
          <p:cNvSpPr/>
          <p:nvPr/>
        </p:nvSpPr>
        <p:spPr>
          <a:xfrm>
            <a:off x="5129811" y="-1"/>
            <a:ext cx="7065797" cy="685801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4419 h 12419"/>
              <a:gd name="connsiteX1" fmla="*/ 4692 w 10000"/>
              <a:gd name="connsiteY1" fmla="*/ 0 h 12419"/>
              <a:gd name="connsiteX2" fmla="*/ 10000 w 10000"/>
              <a:gd name="connsiteY2" fmla="*/ 12419 h 12419"/>
              <a:gd name="connsiteX3" fmla="*/ 0 w 10000"/>
              <a:gd name="connsiteY3" fmla="*/ 12419 h 12419"/>
              <a:gd name="connsiteX4" fmla="*/ 0 w 10000"/>
              <a:gd name="connsiteY4" fmla="*/ 4419 h 12419"/>
              <a:gd name="connsiteX0" fmla="*/ 0 w 12463"/>
              <a:gd name="connsiteY0" fmla="*/ 4419 h 12419"/>
              <a:gd name="connsiteX1" fmla="*/ 4692 w 12463"/>
              <a:gd name="connsiteY1" fmla="*/ 0 h 12419"/>
              <a:gd name="connsiteX2" fmla="*/ 12463 w 12463"/>
              <a:gd name="connsiteY2" fmla="*/ 109 h 12419"/>
              <a:gd name="connsiteX3" fmla="*/ 0 w 12463"/>
              <a:gd name="connsiteY3" fmla="*/ 12419 h 12419"/>
              <a:gd name="connsiteX4" fmla="*/ 0 w 12463"/>
              <a:gd name="connsiteY4" fmla="*/ 4419 h 12419"/>
              <a:gd name="connsiteX0" fmla="*/ 0 w 12463"/>
              <a:gd name="connsiteY0" fmla="*/ 4419 h 12419"/>
              <a:gd name="connsiteX1" fmla="*/ 4692 w 12463"/>
              <a:gd name="connsiteY1" fmla="*/ 0 h 12419"/>
              <a:gd name="connsiteX2" fmla="*/ 12463 w 12463"/>
              <a:gd name="connsiteY2" fmla="*/ 109 h 12419"/>
              <a:gd name="connsiteX3" fmla="*/ 11261 w 12463"/>
              <a:gd name="connsiteY3" fmla="*/ 1300 h 12419"/>
              <a:gd name="connsiteX4" fmla="*/ 0 w 12463"/>
              <a:gd name="connsiteY4" fmla="*/ 12419 h 12419"/>
              <a:gd name="connsiteX5" fmla="*/ 0 w 12463"/>
              <a:gd name="connsiteY5" fmla="*/ 4419 h 12419"/>
              <a:gd name="connsiteX0" fmla="*/ 0 w 12463"/>
              <a:gd name="connsiteY0" fmla="*/ 4419 h 12419"/>
              <a:gd name="connsiteX1" fmla="*/ 4692 w 12463"/>
              <a:gd name="connsiteY1" fmla="*/ 0 h 12419"/>
              <a:gd name="connsiteX2" fmla="*/ 12463 w 12463"/>
              <a:gd name="connsiteY2" fmla="*/ 109 h 12419"/>
              <a:gd name="connsiteX3" fmla="*/ 12405 w 12463"/>
              <a:gd name="connsiteY3" fmla="*/ 1083 h 12419"/>
              <a:gd name="connsiteX4" fmla="*/ 0 w 12463"/>
              <a:gd name="connsiteY4" fmla="*/ 12419 h 12419"/>
              <a:gd name="connsiteX5" fmla="*/ 0 w 12463"/>
              <a:gd name="connsiteY5" fmla="*/ 4419 h 12419"/>
              <a:gd name="connsiteX0" fmla="*/ 0 w 17771"/>
              <a:gd name="connsiteY0" fmla="*/ 7849 h 12419"/>
              <a:gd name="connsiteX1" fmla="*/ 10000 w 17771"/>
              <a:gd name="connsiteY1" fmla="*/ 0 h 12419"/>
              <a:gd name="connsiteX2" fmla="*/ 17771 w 17771"/>
              <a:gd name="connsiteY2" fmla="*/ 109 h 12419"/>
              <a:gd name="connsiteX3" fmla="*/ 17713 w 17771"/>
              <a:gd name="connsiteY3" fmla="*/ 1083 h 12419"/>
              <a:gd name="connsiteX4" fmla="*/ 5308 w 17771"/>
              <a:gd name="connsiteY4" fmla="*/ 12419 h 12419"/>
              <a:gd name="connsiteX5" fmla="*/ 0 w 17771"/>
              <a:gd name="connsiteY5" fmla="*/ 7849 h 12419"/>
              <a:gd name="connsiteX0" fmla="*/ 0 w 17771"/>
              <a:gd name="connsiteY0" fmla="*/ 7849 h 21444"/>
              <a:gd name="connsiteX1" fmla="*/ 10000 w 17771"/>
              <a:gd name="connsiteY1" fmla="*/ 0 h 21444"/>
              <a:gd name="connsiteX2" fmla="*/ 17771 w 17771"/>
              <a:gd name="connsiteY2" fmla="*/ 109 h 21444"/>
              <a:gd name="connsiteX3" fmla="*/ 17713 w 17771"/>
              <a:gd name="connsiteY3" fmla="*/ 1083 h 21444"/>
              <a:gd name="connsiteX4" fmla="*/ 10645 w 17771"/>
              <a:gd name="connsiteY4" fmla="*/ 21444 h 21444"/>
              <a:gd name="connsiteX5" fmla="*/ 0 w 17771"/>
              <a:gd name="connsiteY5" fmla="*/ 7849 h 21444"/>
              <a:gd name="connsiteX0" fmla="*/ 0 w 17771"/>
              <a:gd name="connsiteY0" fmla="*/ 7849 h 21444"/>
              <a:gd name="connsiteX1" fmla="*/ 10000 w 17771"/>
              <a:gd name="connsiteY1" fmla="*/ 0 h 21444"/>
              <a:gd name="connsiteX2" fmla="*/ 17771 w 17771"/>
              <a:gd name="connsiteY2" fmla="*/ 109 h 21444"/>
              <a:gd name="connsiteX3" fmla="*/ 17713 w 17771"/>
              <a:gd name="connsiteY3" fmla="*/ 1083 h 21444"/>
              <a:gd name="connsiteX4" fmla="*/ 11906 w 17771"/>
              <a:gd name="connsiteY4" fmla="*/ 17726 h 21444"/>
              <a:gd name="connsiteX5" fmla="*/ 10645 w 17771"/>
              <a:gd name="connsiteY5" fmla="*/ 21444 h 21444"/>
              <a:gd name="connsiteX6" fmla="*/ 0 w 17771"/>
              <a:gd name="connsiteY6" fmla="*/ 7849 h 21444"/>
              <a:gd name="connsiteX0" fmla="*/ 0 w 17771"/>
              <a:gd name="connsiteY0" fmla="*/ 7849 h 21444"/>
              <a:gd name="connsiteX1" fmla="*/ 10000 w 17771"/>
              <a:gd name="connsiteY1" fmla="*/ 0 h 21444"/>
              <a:gd name="connsiteX2" fmla="*/ 17771 w 17771"/>
              <a:gd name="connsiteY2" fmla="*/ 109 h 21444"/>
              <a:gd name="connsiteX3" fmla="*/ 17713 w 17771"/>
              <a:gd name="connsiteY3" fmla="*/ 1083 h 21444"/>
              <a:gd name="connsiteX4" fmla="*/ 12463 w 17771"/>
              <a:gd name="connsiteY4" fmla="*/ 21192 h 21444"/>
              <a:gd name="connsiteX5" fmla="*/ 10645 w 17771"/>
              <a:gd name="connsiteY5" fmla="*/ 21444 h 21444"/>
              <a:gd name="connsiteX6" fmla="*/ 0 w 17771"/>
              <a:gd name="connsiteY6" fmla="*/ 7849 h 21444"/>
              <a:gd name="connsiteX0" fmla="*/ 0 w 17771"/>
              <a:gd name="connsiteY0" fmla="*/ 7849 h 21192"/>
              <a:gd name="connsiteX1" fmla="*/ 10000 w 17771"/>
              <a:gd name="connsiteY1" fmla="*/ 0 h 21192"/>
              <a:gd name="connsiteX2" fmla="*/ 17771 w 17771"/>
              <a:gd name="connsiteY2" fmla="*/ 109 h 21192"/>
              <a:gd name="connsiteX3" fmla="*/ 17713 w 17771"/>
              <a:gd name="connsiteY3" fmla="*/ 1083 h 21192"/>
              <a:gd name="connsiteX4" fmla="*/ 12463 w 17771"/>
              <a:gd name="connsiteY4" fmla="*/ 21192 h 21192"/>
              <a:gd name="connsiteX5" fmla="*/ 10469 w 17771"/>
              <a:gd name="connsiteY5" fmla="*/ 21191 h 21192"/>
              <a:gd name="connsiteX6" fmla="*/ 0 w 17771"/>
              <a:gd name="connsiteY6" fmla="*/ 7849 h 21192"/>
              <a:gd name="connsiteX0" fmla="*/ 0 w 17771"/>
              <a:gd name="connsiteY0" fmla="*/ 7849 h 21192"/>
              <a:gd name="connsiteX1" fmla="*/ 10000 w 17771"/>
              <a:gd name="connsiteY1" fmla="*/ 0 h 21192"/>
              <a:gd name="connsiteX2" fmla="*/ 17771 w 17771"/>
              <a:gd name="connsiteY2" fmla="*/ 109 h 21192"/>
              <a:gd name="connsiteX3" fmla="*/ 17684 w 17771"/>
              <a:gd name="connsiteY3" fmla="*/ 11227 h 21192"/>
              <a:gd name="connsiteX4" fmla="*/ 12463 w 17771"/>
              <a:gd name="connsiteY4" fmla="*/ 21192 h 21192"/>
              <a:gd name="connsiteX5" fmla="*/ 10469 w 17771"/>
              <a:gd name="connsiteY5" fmla="*/ 21191 h 21192"/>
              <a:gd name="connsiteX6" fmla="*/ 0 w 17771"/>
              <a:gd name="connsiteY6" fmla="*/ 7849 h 21192"/>
              <a:gd name="connsiteX0" fmla="*/ 0 w 17712"/>
              <a:gd name="connsiteY0" fmla="*/ 8174 h 21192"/>
              <a:gd name="connsiteX1" fmla="*/ 9941 w 17712"/>
              <a:gd name="connsiteY1" fmla="*/ 0 h 21192"/>
              <a:gd name="connsiteX2" fmla="*/ 17712 w 17712"/>
              <a:gd name="connsiteY2" fmla="*/ 109 h 21192"/>
              <a:gd name="connsiteX3" fmla="*/ 17625 w 17712"/>
              <a:gd name="connsiteY3" fmla="*/ 11227 h 21192"/>
              <a:gd name="connsiteX4" fmla="*/ 12404 w 17712"/>
              <a:gd name="connsiteY4" fmla="*/ 21192 h 21192"/>
              <a:gd name="connsiteX5" fmla="*/ 10410 w 17712"/>
              <a:gd name="connsiteY5" fmla="*/ 21191 h 21192"/>
              <a:gd name="connsiteX6" fmla="*/ 0 w 17712"/>
              <a:gd name="connsiteY6" fmla="*/ 8174 h 21192"/>
              <a:gd name="connsiteX0" fmla="*/ 0 w 17712"/>
              <a:gd name="connsiteY0" fmla="*/ 8174 h 21192"/>
              <a:gd name="connsiteX1" fmla="*/ 394 w 17712"/>
              <a:gd name="connsiteY1" fmla="*/ 7814 h 21192"/>
              <a:gd name="connsiteX2" fmla="*/ 9941 w 17712"/>
              <a:gd name="connsiteY2" fmla="*/ 0 h 21192"/>
              <a:gd name="connsiteX3" fmla="*/ 17712 w 17712"/>
              <a:gd name="connsiteY3" fmla="*/ 109 h 21192"/>
              <a:gd name="connsiteX4" fmla="*/ 17625 w 17712"/>
              <a:gd name="connsiteY4" fmla="*/ 11227 h 21192"/>
              <a:gd name="connsiteX5" fmla="*/ 12404 w 17712"/>
              <a:gd name="connsiteY5" fmla="*/ 21192 h 21192"/>
              <a:gd name="connsiteX6" fmla="*/ 10410 w 17712"/>
              <a:gd name="connsiteY6" fmla="*/ 21191 h 21192"/>
              <a:gd name="connsiteX7" fmla="*/ 0 w 17712"/>
              <a:gd name="connsiteY7" fmla="*/ 8174 h 21192"/>
              <a:gd name="connsiteX0" fmla="*/ 0 w 17712"/>
              <a:gd name="connsiteY0" fmla="*/ 8174 h 21192"/>
              <a:gd name="connsiteX1" fmla="*/ 211 w 17712"/>
              <a:gd name="connsiteY1" fmla="*/ 7708 h 21192"/>
              <a:gd name="connsiteX2" fmla="*/ 9941 w 17712"/>
              <a:gd name="connsiteY2" fmla="*/ 0 h 21192"/>
              <a:gd name="connsiteX3" fmla="*/ 17712 w 17712"/>
              <a:gd name="connsiteY3" fmla="*/ 109 h 21192"/>
              <a:gd name="connsiteX4" fmla="*/ 17625 w 17712"/>
              <a:gd name="connsiteY4" fmla="*/ 11227 h 21192"/>
              <a:gd name="connsiteX5" fmla="*/ 12404 w 17712"/>
              <a:gd name="connsiteY5" fmla="*/ 21192 h 21192"/>
              <a:gd name="connsiteX6" fmla="*/ 10410 w 17712"/>
              <a:gd name="connsiteY6" fmla="*/ 21191 h 21192"/>
              <a:gd name="connsiteX7" fmla="*/ 0 w 17712"/>
              <a:gd name="connsiteY7" fmla="*/ 8174 h 21192"/>
              <a:gd name="connsiteX0" fmla="*/ 7 w 17719"/>
              <a:gd name="connsiteY0" fmla="*/ 8174 h 21192"/>
              <a:gd name="connsiteX1" fmla="*/ 218 w 17719"/>
              <a:gd name="connsiteY1" fmla="*/ 7708 h 21192"/>
              <a:gd name="connsiteX2" fmla="*/ 9948 w 17719"/>
              <a:gd name="connsiteY2" fmla="*/ 0 h 21192"/>
              <a:gd name="connsiteX3" fmla="*/ 17719 w 17719"/>
              <a:gd name="connsiteY3" fmla="*/ 109 h 21192"/>
              <a:gd name="connsiteX4" fmla="*/ 17632 w 17719"/>
              <a:gd name="connsiteY4" fmla="*/ 11227 h 21192"/>
              <a:gd name="connsiteX5" fmla="*/ 12411 w 17719"/>
              <a:gd name="connsiteY5" fmla="*/ 21192 h 21192"/>
              <a:gd name="connsiteX6" fmla="*/ 10417 w 17719"/>
              <a:gd name="connsiteY6" fmla="*/ 21191 h 21192"/>
              <a:gd name="connsiteX7" fmla="*/ 7 w 17719"/>
              <a:gd name="connsiteY7" fmla="*/ 8174 h 21192"/>
              <a:gd name="connsiteX0" fmla="*/ 51 w 17763"/>
              <a:gd name="connsiteY0" fmla="*/ 8174 h 21192"/>
              <a:gd name="connsiteX1" fmla="*/ 262 w 17763"/>
              <a:gd name="connsiteY1" fmla="*/ 7708 h 21192"/>
              <a:gd name="connsiteX2" fmla="*/ 9992 w 17763"/>
              <a:gd name="connsiteY2" fmla="*/ 0 h 21192"/>
              <a:gd name="connsiteX3" fmla="*/ 17763 w 17763"/>
              <a:gd name="connsiteY3" fmla="*/ 109 h 21192"/>
              <a:gd name="connsiteX4" fmla="*/ 17676 w 17763"/>
              <a:gd name="connsiteY4" fmla="*/ 11227 h 21192"/>
              <a:gd name="connsiteX5" fmla="*/ 12455 w 17763"/>
              <a:gd name="connsiteY5" fmla="*/ 21192 h 21192"/>
              <a:gd name="connsiteX6" fmla="*/ 10461 w 17763"/>
              <a:gd name="connsiteY6" fmla="*/ 21191 h 21192"/>
              <a:gd name="connsiteX7" fmla="*/ 51 w 17763"/>
              <a:gd name="connsiteY7" fmla="*/ 8174 h 21192"/>
              <a:gd name="connsiteX0" fmla="*/ 104 w 17713"/>
              <a:gd name="connsiteY0" fmla="*/ 8301 h 21192"/>
              <a:gd name="connsiteX1" fmla="*/ 212 w 17713"/>
              <a:gd name="connsiteY1" fmla="*/ 7708 h 21192"/>
              <a:gd name="connsiteX2" fmla="*/ 9942 w 17713"/>
              <a:gd name="connsiteY2" fmla="*/ 0 h 21192"/>
              <a:gd name="connsiteX3" fmla="*/ 17713 w 17713"/>
              <a:gd name="connsiteY3" fmla="*/ 109 h 21192"/>
              <a:gd name="connsiteX4" fmla="*/ 17626 w 17713"/>
              <a:gd name="connsiteY4" fmla="*/ 11227 h 21192"/>
              <a:gd name="connsiteX5" fmla="*/ 12405 w 17713"/>
              <a:gd name="connsiteY5" fmla="*/ 21192 h 21192"/>
              <a:gd name="connsiteX6" fmla="*/ 10411 w 17713"/>
              <a:gd name="connsiteY6" fmla="*/ 21191 h 21192"/>
              <a:gd name="connsiteX7" fmla="*/ 104 w 17713"/>
              <a:gd name="connsiteY7" fmla="*/ 8301 h 21192"/>
              <a:gd name="connsiteX0" fmla="*/ 136 w 17745"/>
              <a:gd name="connsiteY0" fmla="*/ 8301 h 21192"/>
              <a:gd name="connsiteX1" fmla="*/ 244 w 17745"/>
              <a:gd name="connsiteY1" fmla="*/ 7708 h 21192"/>
              <a:gd name="connsiteX2" fmla="*/ 9974 w 17745"/>
              <a:gd name="connsiteY2" fmla="*/ 0 h 21192"/>
              <a:gd name="connsiteX3" fmla="*/ 17745 w 17745"/>
              <a:gd name="connsiteY3" fmla="*/ 109 h 21192"/>
              <a:gd name="connsiteX4" fmla="*/ 17658 w 17745"/>
              <a:gd name="connsiteY4" fmla="*/ 11227 h 21192"/>
              <a:gd name="connsiteX5" fmla="*/ 12437 w 17745"/>
              <a:gd name="connsiteY5" fmla="*/ 21192 h 21192"/>
              <a:gd name="connsiteX6" fmla="*/ 10443 w 17745"/>
              <a:gd name="connsiteY6" fmla="*/ 21191 h 21192"/>
              <a:gd name="connsiteX7" fmla="*/ 136 w 17745"/>
              <a:gd name="connsiteY7" fmla="*/ 8301 h 21192"/>
              <a:gd name="connsiteX0" fmla="*/ 136 w 17745"/>
              <a:gd name="connsiteY0" fmla="*/ 8301 h 21192"/>
              <a:gd name="connsiteX1" fmla="*/ 244 w 17745"/>
              <a:gd name="connsiteY1" fmla="*/ 7708 h 21192"/>
              <a:gd name="connsiteX2" fmla="*/ 9974 w 17745"/>
              <a:gd name="connsiteY2" fmla="*/ 0 h 21192"/>
              <a:gd name="connsiteX3" fmla="*/ 17745 w 17745"/>
              <a:gd name="connsiteY3" fmla="*/ 109 h 21192"/>
              <a:gd name="connsiteX4" fmla="*/ 17658 w 17745"/>
              <a:gd name="connsiteY4" fmla="*/ 11227 h 21192"/>
              <a:gd name="connsiteX5" fmla="*/ 12437 w 17745"/>
              <a:gd name="connsiteY5" fmla="*/ 21192 h 21192"/>
              <a:gd name="connsiteX6" fmla="*/ 10372 w 17745"/>
              <a:gd name="connsiteY6" fmla="*/ 21191 h 21192"/>
              <a:gd name="connsiteX7" fmla="*/ 136 w 17745"/>
              <a:gd name="connsiteY7" fmla="*/ 8301 h 21192"/>
              <a:gd name="connsiteX0" fmla="*/ 136 w 17745"/>
              <a:gd name="connsiteY0" fmla="*/ 8301 h 21192"/>
              <a:gd name="connsiteX1" fmla="*/ 244 w 17745"/>
              <a:gd name="connsiteY1" fmla="*/ 7708 h 21192"/>
              <a:gd name="connsiteX2" fmla="*/ 9974 w 17745"/>
              <a:gd name="connsiteY2" fmla="*/ 0 h 21192"/>
              <a:gd name="connsiteX3" fmla="*/ 17745 w 17745"/>
              <a:gd name="connsiteY3" fmla="*/ 109 h 21192"/>
              <a:gd name="connsiteX4" fmla="*/ 17595 w 17745"/>
              <a:gd name="connsiteY4" fmla="*/ 11549 h 21192"/>
              <a:gd name="connsiteX5" fmla="*/ 12437 w 17745"/>
              <a:gd name="connsiteY5" fmla="*/ 21192 h 21192"/>
              <a:gd name="connsiteX6" fmla="*/ 10372 w 17745"/>
              <a:gd name="connsiteY6" fmla="*/ 21191 h 21192"/>
              <a:gd name="connsiteX7" fmla="*/ 136 w 17745"/>
              <a:gd name="connsiteY7" fmla="*/ 8301 h 21192"/>
              <a:gd name="connsiteX0" fmla="*/ 136 w 17600"/>
              <a:gd name="connsiteY0" fmla="*/ 8301 h 21192"/>
              <a:gd name="connsiteX1" fmla="*/ 244 w 17600"/>
              <a:gd name="connsiteY1" fmla="*/ 7708 h 21192"/>
              <a:gd name="connsiteX2" fmla="*/ 9974 w 17600"/>
              <a:gd name="connsiteY2" fmla="*/ 0 h 21192"/>
              <a:gd name="connsiteX3" fmla="*/ 17595 w 17600"/>
              <a:gd name="connsiteY3" fmla="*/ 128 h 21192"/>
              <a:gd name="connsiteX4" fmla="*/ 17595 w 17600"/>
              <a:gd name="connsiteY4" fmla="*/ 11549 h 21192"/>
              <a:gd name="connsiteX5" fmla="*/ 12437 w 17600"/>
              <a:gd name="connsiteY5" fmla="*/ 21192 h 21192"/>
              <a:gd name="connsiteX6" fmla="*/ 10372 w 17600"/>
              <a:gd name="connsiteY6" fmla="*/ 21191 h 21192"/>
              <a:gd name="connsiteX7" fmla="*/ 136 w 17600"/>
              <a:gd name="connsiteY7" fmla="*/ 8301 h 21192"/>
              <a:gd name="connsiteX0" fmla="*/ 136 w 17596"/>
              <a:gd name="connsiteY0" fmla="*/ 8301 h 21192"/>
              <a:gd name="connsiteX1" fmla="*/ 244 w 17596"/>
              <a:gd name="connsiteY1" fmla="*/ 7708 h 21192"/>
              <a:gd name="connsiteX2" fmla="*/ 9974 w 17596"/>
              <a:gd name="connsiteY2" fmla="*/ 0 h 21192"/>
              <a:gd name="connsiteX3" fmla="*/ 17445 w 17596"/>
              <a:gd name="connsiteY3" fmla="*/ 206 h 21192"/>
              <a:gd name="connsiteX4" fmla="*/ 17595 w 17596"/>
              <a:gd name="connsiteY4" fmla="*/ 11549 h 21192"/>
              <a:gd name="connsiteX5" fmla="*/ 12437 w 17596"/>
              <a:gd name="connsiteY5" fmla="*/ 21192 h 21192"/>
              <a:gd name="connsiteX6" fmla="*/ 10372 w 17596"/>
              <a:gd name="connsiteY6" fmla="*/ 21191 h 21192"/>
              <a:gd name="connsiteX7" fmla="*/ 136 w 17596"/>
              <a:gd name="connsiteY7" fmla="*/ 8301 h 21192"/>
              <a:gd name="connsiteX0" fmla="*/ 136 w 17611"/>
              <a:gd name="connsiteY0" fmla="*/ 8301 h 21192"/>
              <a:gd name="connsiteX1" fmla="*/ 244 w 17611"/>
              <a:gd name="connsiteY1" fmla="*/ 7708 h 21192"/>
              <a:gd name="connsiteX2" fmla="*/ 9974 w 17611"/>
              <a:gd name="connsiteY2" fmla="*/ 0 h 21192"/>
              <a:gd name="connsiteX3" fmla="*/ 17611 w 17611"/>
              <a:gd name="connsiteY3" fmla="*/ 128 h 21192"/>
              <a:gd name="connsiteX4" fmla="*/ 17595 w 17611"/>
              <a:gd name="connsiteY4" fmla="*/ 11549 h 21192"/>
              <a:gd name="connsiteX5" fmla="*/ 12437 w 17611"/>
              <a:gd name="connsiteY5" fmla="*/ 21192 h 21192"/>
              <a:gd name="connsiteX6" fmla="*/ 10372 w 17611"/>
              <a:gd name="connsiteY6" fmla="*/ 21191 h 21192"/>
              <a:gd name="connsiteX7" fmla="*/ 136 w 17611"/>
              <a:gd name="connsiteY7" fmla="*/ 8301 h 21192"/>
              <a:gd name="connsiteX0" fmla="*/ 136 w 17611"/>
              <a:gd name="connsiteY0" fmla="*/ 8204 h 21095"/>
              <a:gd name="connsiteX1" fmla="*/ 244 w 17611"/>
              <a:gd name="connsiteY1" fmla="*/ 7611 h 21095"/>
              <a:gd name="connsiteX2" fmla="*/ 9855 w 17611"/>
              <a:gd name="connsiteY2" fmla="*/ 0 h 21095"/>
              <a:gd name="connsiteX3" fmla="*/ 17611 w 17611"/>
              <a:gd name="connsiteY3" fmla="*/ 31 h 21095"/>
              <a:gd name="connsiteX4" fmla="*/ 17595 w 17611"/>
              <a:gd name="connsiteY4" fmla="*/ 11452 h 21095"/>
              <a:gd name="connsiteX5" fmla="*/ 12437 w 17611"/>
              <a:gd name="connsiteY5" fmla="*/ 21095 h 21095"/>
              <a:gd name="connsiteX6" fmla="*/ 10372 w 17611"/>
              <a:gd name="connsiteY6" fmla="*/ 21094 h 21095"/>
              <a:gd name="connsiteX7" fmla="*/ 136 w 17611"/>
              <a:gd name="connsiteY7" fmla="*/ 8204 h 21095"/>
              <a:gd name="connsiteX0" fmla="*/ 136 w 17600"/>
              <a:gd name="connsiteY0" fmla="*/ 8204 h 21095"/>
              <a:gd name="connsiteX1" fmla="*/ 244 w 17600"/>
              <a:gd name="connsiteY1" fmla="*/ 7611 h 21095"/>
              <a:gd name="connsiteX2" fmla="*/ 9855 w 17600"/>
              <a:gd name="connsiteY2" fmla="*/ 0 h 21095"/>
              <a:gd name="connsiteX3" fmla="*/ 17595 w 17600"/>
              <a:gd name="connsiteY3" fmla="*/ 21 h 21095"/>
              <a:gd name="connsiteX4" fmla="*/ 17595 w 17600"/>
              <a:gd name="connsiteY4" fmla="*/ 11452 h 21095"/>
              <a:gd name="connsiteX5" fmla="*/ 12437 w 17600"/>
              <a:gd name="connsiteY5" fmla="*/ 21095 h 21095"/>
              <a:gd name="connsiteX6" fmla="*/ 10372 w 17600"/>
              <a:gd name="connsiteY6" fmla="*/ 21094 h 21095"/>
              <a:gd name="connsiteX7" fmla="*/ 136 w 17600"/>
              <a:gd name="connsiteY7" fmla="*/ 8204 h 21095"/>
              <a:gd name="connsiteX0" fmla="*/ 136 w 17610"/>
              <a:gd name="connsiteY0" fmla="*/ 8204 h 21095"/>
              <a:gd name="connsiteX1" fmla="*/ 244 w 17610"/>
              <a:gd name="connsiteY1" fmla="*/ 7611 h 21095"/>
              <a:gd name="connsiteX2" fmla="*/ 9855 w 17610"/>
              <a:gd name="connsiteY2" fmla="*/ 0 h 21095"/>
              <a:gd name="connsiteX3" fmla="*/ 17595 w 17610"/>
              <a:gd name="connsiteY3" fmla="*/ 21 h 21095"/>
              <a:gd name="connsiteX4" fmla="*/ 17595 w 17610"/>
              <a:gd name="connsiteY4" fmla="*/ 11452 h 21095"/>
              <a:gd name="connsiteX5" fmla="*/ 12437 w 17610"/>
              <a:gd name="connsiteY5" fmla="*/ 21095 h 21095"/>
              <a:gd name="connsiteX6" fmla="*/ 10372 w 17610"/>
              <a:gd name="connsiteY6" fmla="*/ 21094 h 21095"/>
              <a:gd name="connsiteX7" fmla="*/ 136 w 17610"/>
              <a:gd name="connsiteY7" fmla="*/ 8204 h 21095"/>
              <a:gd name="connsiteX0" fmla="*/ 136 w 17601"/>
              <a:gd name="connsiteY0" fmla="*/ 8204 h 21095"/>
              <a:gd name="connsiteX1" fmla="*/ 244 w 17601"/>
              <a:gd name="connsiteY1" fmla="*/ 7611 h 21095"/>
              <a:gd name="connsiteX2" fmla="*/ 9855 w 17601"/>
              <a:gd name="connsiteY2" fmla="*/ 0 h 21095"/>
              <a:gd name="connsiteX3" fmla="*/ 17595 w 17601"/>
              <a:gd name="connsiteY3" fmla="*/ 21 h 21095"/>
              <a:gd name="connsiteX4" fmla="*/ 17595 w 17601"/>
              <a:gd name="connsiteY4" fmla="*/ 11452 h 21095"/>
              <a:gd name="connsiteX5" fmla="*/ 12437 w 17601"/>
              <a:gd name="connsiteY5" fmla="*/ 21095 h 21095"/>
              <a:gd name="connsiteX6" fmla="*/ 10372 w 17601"/>
              <a:gd name="connsiteY6" fmla="*/ 21094 h 21095"/>
              <a:gd name="connsiteX7" fmla="*/ 136 w 17601"/>
              <a:gd name="connsiteY7" fmla="*/ 8204 h 21095"/>
              <a:gd name="connsiteX0" fmla="*/ 136 w 17610"/>
              <a:gd name="connsiteY0" fmla="*/ 8204 h 21095"/>
              <a:gd name="connsiteX1" fmla="*/ 244 w 17610"/>
              <a:gd name="connsiteY1" fmla="*/ 7611 h 21095"/>
              <a:gd name="connsiteX2" fmla="*/ 9855 w 17610"/>
              <a:gd name="connsiteY2" fmla="*/ 0 h 21095"/>
              <a:gd name="connsiteX3" fmla="*/ 17595 w 17610"/>
              <a:gd name="connsiteY3" fmla="*/ 21 h 21095"/>
              <a:gd name="connsiteX4" fmla="*/ 17595 w 17610"/>
              <a:gd name="connsiteY4" fmla="*/ 11452 h 21095"/>
              <a:gd name="connsiteX5" fmla="*/ 12437 w 17610"/>
              <a:gd name="connsiteY5" fmla="*/ 21095 h 21095"/>
              <a:gd name="connsiteX6" fmla="*/ 10372 w 17610"/>
              <a:gd name="connsiteY6" fmla="*/ 21094 h 21095"/>
              <a:gd name="connsiteX7" fmla="*/ 136 w 17610"/>
              <a:gd name="connsiteY7" fmla="*/ 8204 h 21095"/>
              <a:gd name="connsiteX0" fmla="*/ 136 w 17620"/>
              <a:gd name="connsiteY0" fmla="*/ 8204 h 21095"/>
              <a:gd name="connsiteX1" fmla="*/ 244 w 17620"/>
              <a:gd name="connsiteY1" fmla="*/ 7611 h 21095"/>
              <a:gd name="connsiteX2" fmla="*/ 9855 w 17620"/>
              <a:gd name="connsiteY2" fmla="*/ 0 h 21095"/>
              <a:gd name="connsiteX3" fmla="*/ 17611 w 17620"/>
              <a:gd name="connsiteY3" fmla="*/ 11 h 21095"/>
              <a:gd name="connsiteX4" fmla="*/ 17595 w 17620"/>
              <a:gd name="connsiteY4" fmla="*/ 11452 h 21095"/>
              <a:gd name="connsiteX5" fmla="*/ 12437 w 17620"/>
              <a:gd name="connsiteY5" fmla="*/ 21095 h 21095"/>
              <a:gd name="connsiteX6" fmla="*/ 10372 w 17620"/>
              <a:gd name="connsiteY6" fmla="*/ 21094 h 21095"/>
              <a:gd name="connsiteX7" fmla="*/ 136 w 17620"/>
              <a:gd name="connsiteY7" fmla="*/ 8204 h 21095"/>
              <a:gd name="connsiteX0" fmla="*/ 136 w 17620"/>
              <a:gd name="connsiteY0" fmla="*/ 8204 h 21094"/>
              <a:gd name="connsiteX1" fmla="*/ 244 w 17620"/>
              <a:gd name="connsiteY1" fmla="*/ 7611 h 21094"/>
              <a:gd name="connsiteX2" fmla="*/ 9855 w 17620"/>
              <a:gd name="connsiteY2" fmla="*/ 0 h 21094"/>
              <a:gd name="connsiteX3" fmla="*/ 17611 w 17620"/>
              <a:gd name="connsiteY3" fmla="*/ 11 h 21094"/>
              <a:gd name="connsiteX4" fmla="*/ 17595 w 17620"/>
              <a:gd name="connsiteY4" fmla="*/ 11452 h 21094"/>
              <a:gd name="connsiteX5" fmla="*/ 12413 w 17620"/>
              <a:gd name="connsiteY5" fmla="*/ 21056 h 21094"/>
              <a:gd name="connsiteX6" fmla="*/ 10372 w 17620"/>
              <a:gd name="connsiteY6" fmla="*/ 21094 h 21094"/>
              <a:gd name="connsiteX7" fmla="*/ 136 w 17620"/>
              <a:gd name="connsiteY7" fmla="*/ 8204 h 21094"/>
              <a:gd name="connsiteX0" fmla="*/ 136 w 17620"/>
              <a:gd name="connsiteY0" fmla="*/ 8204 h 21056"/>
              <a:gd name="connsiteX1" fmla="*/ 244 w 17620"/>
              <a:gd name="connsiteY1" fmla="*/ 7611 h 21056"/>
              <a:gd name="connsiteX2" fmla="*/ 9855 w 17620"/>
              <a:gd name="connsiteY2" fmla="*/ 0 h 21056"/>
              <a:gd name="connsiteX3" fmla="*/ 17611 w 17620"/>
              <a:gd name="connsiteY3" fmla="*/ 11 h 21056"/>
              <a:gd name="connsiteX4" fmla="*/ 17595 w 17620"/>
              <a:gd name="connsiteY4" fmla="*/ 11452 h 21056"/>
              <a:gd name="connsiteX5" fmla="*/ 12413 w 17620"/>
              <a:gd name="connsiteY5" fmla="*/ 21056 h 21056"/>
              <a:gd name="connsiteX6" fmla="*/ 10388 w 17620"/>
              <a:gd name="connsiteY6" fmla="*/ 21055 h 21056"/>
              <a:gd name="connsiteX7" fmla="*/ 136 w 17620"/>
              <a:gd name="connsiteY7" fmla="*/ 8204 h 21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20" h="21056">
                <a:moveTo>
                  <a:pt x="136" y="8204"/>
                </a:moveTo>
                <a:cubicBezTo>
                  <a:pt x="0" y="7971"/>
                  <a:pt x="-128" y="7925"/>
                  <a:pt x="244" y="7611"/>
                </a:cubicBezTo>
                <a:lnTo>
                  <a:pt x="9855" y="0"/>
                </a:lnTo>
                <a:lnTo>
                  <a:pt x="17611" y="11"/>
                </a:lnTo>
                <a:cubicBezTo>
                  <a:pt x="17632" y="355"/>
                  <a:pt x="17614" y="11127"/>
                  <a:pt x="17595" y="11452"/>
                </a:cubicBezTo>
                <a:lnTo>
                  <a:pt x="12413" y="21056"/>
                </a:lnTo>
                <a:lnTo>
                  <a:pt x="10388" y="21055"/>
                </a:lnTo>
                <a:lnTo>
                  <a:pt x="136" y="8204"/>
                </a:lnTo>
                <a:close/>
              </a:path>
            </a:pathLst>
          </a:cu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Manual Input 6">
            <a:extLst>
              <a:ext uri="{FF2B5EF4-FFF2-40B4-BE49-F238E27FC236}">
                <a16:creationId xmlns:a16="http://schemas.microsoft.com/office/drawing/2014/main" id="{BE91B04B-DAC7-AB4B-BA92-2D095A844CBF}"/>
              </a:ext>
            </a:extLst>
          </p:cNvPr>
          <p:cNvSpPr/>
          <p:nvPr/>
        </p:nvSpPr>
        <p:spPr>
          <a:xfrm>
            <a:off x="5106468" y="0"/>
            <a:ext cx="7085532" cy="6870279"/>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600 w 10000"/>
              <a:gd name="connsiteY0" fmla="*/ 0 h 10951"/>
              <a:gd name="connsiteX1" fmla="*/ 10000 w 10000"/>
              <a:gd name="connsiteY1" fmla="*/ 951 h 10951"/>
              <a:gd name="connsiteX2" fmla="*/ 10000 w 10000"/>
              <a:gd name="connsiteY2" fmla="*/ 10951 h 10951"/>
              <a:gd name="connsiteX3" fmla="*/ 0 w 10000"/>
              <a:gd name="connsiteY3" fmla="*/ 10951 h 10951"/>
              <a:gd name="connsiteX4" fmla="*/ 600 w 10000"/>
              <a:gd name="connsiteY4" fmla="*/ 0 h 10951"/>
              <a:gd name="connsiteX0" fmla="*/ 600 w 10933"/>
              <a:gd name="connsiteY0" fmla="*/ 0 h 10951"/>
              <a:gd name="connsiteX1" fmla="*/ 10933 w 10933"/>
              <a:gd name="connsiteY1" fmla="*/ 3694 h 10951"/>
              <a:gd name="connsiteX2" fmla="*/ 10000 w 10933"/>
              <a:gd name="connsiteY2" fmla="*/ 10951 h 10951"/>
              <a:gd name="connsiteX3" fmla="*/ 0 w 10933"/>
              <a:gd name="connsiteY3" fmla="*/ 10951 h 10951"/>
              <a:gd name="connsiteX4" fmla="*/ 600 w 10933"/>
              <a:gd name="connsiteY4" fmla="*/ 0 h 10951"/>
              <a:gd name="connsiteX0" fmla="*/ 600 w 20533"/>
              <a:gd name="connsiteY0" fmla="*/ 0 h 10951"/>
              <a:gd name="connsiteX1" fmla="*/ 20533 w 20533"/>
              <a:gd name="connsiteY1" fmla="*/ 7132 h 10951"/>
              <a:gd name="connsiteX2" fmla="*/ 10000 w 20533"/>
              <a:gd name="connsiteY2" fmla="*/ 10951 h 10951"/>
              <a:gd name="connsiteX3" fmla="*/ 0 w 20533"/>
              <a:gd name="connsiteY3" fmla="*/ 10951 h 10951"/>
              <a:gd name="connsiteX4" fmla="*/ 600 w 20533"/>
              <a:gd name="connsiteY4" fmla="*/ 0 h 10951"/>
              <a:gd name="connsiteX0" fmla="*/ 600 w 20533"/>
              <a:gd name="connsiteY0" fmla="*/ 0 h 20569"/>
              <a:gd name="connsiteX1" fmla="*/ 20533 w 20533"/>
              <a:gd name="connsiteY1" fmla="*/ 7132 h 20569"/>
              <a:gd name="connsiteX2" fmla="*/ 13100 w 20533"/>
              <a:gd name="connsiteY2" fmla="*/ 20569 h 20569"/>
              <a:gd name="connsiteX3" fmla="*/ 0 w 20533"/>
              <a:gd name="connsiteY3" fmla="*/ 10951 h 20569"/>
              <a:gd name="connsiteX4" fmla="*/ 600 w 20533"/>
              <a:gd name="connsiteY4" fmla="*/ 0 h 20569"/>
              <a:gd name="connsiteX0" fmla="*/ 600 w 20533"/>
              <a:gd name="connsiteY0" fmla="*/ 0 h 20569"/>
              <a:gd name="connsiteX1" fmla="*/ 20533 w 20533"/>
              <a:gd name="connsiteY1" fmla="*/ 7132 h 20569"/>
              <a:gd name="connsiteX2" fmla="*/ 19400 w 20533"/>
              <a:gd name="connsiteY2" fmla="*/ 9076 h 20569"/>
              <a:gd name="connsiteX3" fmla="*/ 13100 w 20533"/>
              <a:gd name="connsiteY3" fmla="*/ 20569 h 20569"/>
              <a:gd name="connsiteX4" fmla="*/ 0 w 20533"/>
              <a:gd name="connsiteY4" fmla="*/ 10951 h 20569"/>
              <a:gd name="connsiteX5" fmla="*/ 600 w 20533"/>
              <a:gd name="connsiteY5" fmla="*/ 0 h 20569"/>
              <a:gd name="connsiteX0" fmla="*/ 600 w 20533"/>
              <a:gd name="connsiteY0" fmla="*/ 0 h 20569"/>
              <a:gd name="connsiteX1" fmla="*/ 20533 w 20533"/>
              <a:gd name="connsiteY1" fmla="*/ 7132 h 20569"/>
              <a:gd name="connsiteX2" fmla="*/ 19233 w 20533"/>
              <a:gd name="connsiteY2" fmla="*/ 10847 h 20569"/>
              <a:gd name="connsiteX3" fmla="*/ 13100 w 20533"/>
              <a:gd name="connsiteY3" fmla="*/ 20569 h 20569"/>
              <a:gd name="connsiteX4" fmla="*/ 0 w 20533"/>
              <a:gd name="connsiteY4" fmla="*/ 10951 h 20569"/>
              <a:gd name="connsiteX5" fmla="*/ 600 w 20533"/>
              <a:gd name="connsiteY5" fmla="*/ 0 h 20569"/>
              <a:gd name="connsiteX0" fmla="*/ 600 w 19266"/>
              <a:gd name="connsiteY0" fmla="*/ 0 h 20569"/>
              <a:gd name="connsiteX1" fmla="*/ 19266 w 19266"/>
              <a:gd name="connsiteY1" fmla="*/ 6750 h 20569"/>
              <a:gd name="connsiteX2" fmla="*/ 19233 w 19266"/>
              <a:gd name="connsiteY2" fmla="*/ 10847 h 20569"/>
              <a:gd name="connsiteX3" fmla="*/ 13100 w 19266"/>
              <a:gd name="connsiteY3" fmla="*/ 20569 h 20569"/>
              <a:gd name="connsiteX4" fmla="*/ 0 w 19266"/>
              <a:gd name="connsiteY4" fmla="*/ 10951 h 20569"/>
              <a:gd name="connsiteX5" fmla="*/ 600 w 19266"/>
              <a:gd name="connsiteY5" fmla="*/ 0 h 20569"/>
              <a:gd name="connsiteX0" fmla="*/ 600 w 19234"/>
              <a:gd name="connsiteY0" fmla="*/ 0 h 20569"/>
              <a:gd name="connsiteX1" fmla="*/ 19199 w 19234"/>
              <a:gd name="connsiteY1" fmla="*/ 6646 h 20569"/>
              <a:gd name="connsiteX2" fmla="*/ 19233 w 19234"/>
              <a:gd name="connsiteY2" fmla="*/ 10847 h 20569"/>
              <a:gd name="connsiteX3" fmla="*/ 13100 w 19234"/>
              <a:gd name="connsiteY3" fmla="*/ 20569 h 20569"/>
              <a:gd name="connsiteX4" fmla="*/ 0 w 19234"/>
              <a:gd name="connsiteY4" fmla="*/ 10951 h 20569"/>
              <a:gd name="connsiteX5" fmla="*/ 600 w 19234"/>
              <a:gd name="connsiteY5" fmla="*/ 0 h 20569"/>
              <a:gd name="connsiteX0" fmla="*/ 600 w 19236"/>
              <a:gd name="connsiteY0" fmla="*/ 0 h 20569"/>
              <a:gd name="connsiteX1" fmla="*/ 19232 w 19236"/>
              <a:gd name="connsiteY1" fmla="*/ 6681 h 20569"/>
              <a:gd name="connsiteX2" fmla="*/ 19233 w 19236"/>
              <a:gd name="connsiteY2" fmla="*/ 10847 h 20569"/>
              <a:gd name="connsiteX3" fmla="*/ 13100 w 19236"/>
              <a:gd name="connsiteY3" fmla="*/ 20569 h 20569"/>
              <a:gd name="connsiteX4" fmla="*/ 0 w 19236"/>
              <a:gd name="connsiteY4" fmla="*/ 10951 h 20569"/>
              <a:gd name="connsiteX5" fmla="*/ 600 w 19236"/>
              <a:gd name="connsiteY5" fmla="*/ 0 h 20569"/>
              <a:gd name="connsiteX0" fmla="*/ 600 w 19236"/>
              <a:gd name="connsiteY0" fmla="*/ 0 h 20569"/>
              <a:gd name="connsiteX1" fmla="*/ 19232 w 19236"/>
              <a:gd name="connsiteY1" fmla="*/ 6681 h 20569"/>
              <a:gd name="connsiteX2" fmla="*/ 19233 w 19236"/>
              <a:gd name="connsiteY2" fmla="*/ 10847 h 20569"/>
              <a:gd name="connsiteX3" fmla="*/ 13100 w 19236"/>
              <a:gd name="connsiteY3" fmla="*/ 20569 h 20569"/>
              <a:gd name="connsiteX4" fmla="*/ 9800 w 19236"/>
              <a:gd name="connsiteY4" fmla="*/ 18104 h 20569"/>
              <a:gd name="connsiteX5" fmla="*/ 0 w 19236"/>
              <a:gd name="connsiteY5" fmla="*/ 10951 h 20569"/>
              <a:gd name="connsiteX6" fmla="*/ 600 w 19236"/>
              <a:gd name="connsiteY6" fmla="*/ 0 h 20569"/>
              <a:gd name="connsiteX0" fmla="*/ 600 w 19236"/>
              <a:gd name="connsiteY0" fmla="*/ 0 h 20569"/>
              <a:gd name="connsiteX1" fmla="*/ 19232 w 19236"/>
              <a:gd name="connsiteY1" fmla="*/ 6681 h 20569"/>
              <a:gd name="connsiteX2" fmla="*/ 19233 w 19236"/>
              <a:gd name="connsiteY2" fmla="*/ 10847 h 20569"/>
              <a:gd name="connsiteX3" fmla="*/ 13100 w 19236"/>
              <a:gd name="connsiteY3" fmla="*/ 20569 h 20569"/>
              <a:gd name="connsiteX4" fmla="*/ 11033 w 19236"/>
              <a:gd name="connsiteY4" fmla="*/ 20153 h 20569"/>
              <a:gd name="connsiteX5" fmla="*/ 0 w 19236"/>
              <a:gd name="connsiteY5" fmla="*/ 10951 h 20569"/>
              <a:gd name="connsiteX6" fmla="*/ 600 w 19236"/>
              <a:gd name="connsiteY6" fmla="*/ 0 h 20569"/>
              <a:gd name="connsiteX0" fmla="*/ 600 w 19236"/>
              <a:gd name="connsiteY0" fmla="*/ 0 h 20222"/>
              <a:gd name="connsiteX1" fmla="*/ 19232 w 19236"/>
              <a:gd name="connsiteY1" fmla="*/ 6681 h 20222"/>
              <a:gd name="connsiteX2" fmla="*/ 19233 w 19236"/>
              <a:gd name="connsiteY2" fmla="*/ 10847 h 20222"/>
              <a:gd name="connsiteX3" fmla="*/ 13267 w 19236"/>
              <a:gd name="connsiteY3" fmla="*/ 20222 h 20222"/>
              <a:gd name="connsiteX4" fmla="*/ 11033 w 19236"/>
              <a:gd name="connsiteY4" fmla="*/ 20153 h 20222"/>
              <a:gd name="connsiteX5" fmla="*/ 0 w 19236"/>
              <a:gd name="connsiteY5" fmla="*/ 10951 h 20222"/>
              <a:gd name="connsiteX6" fmla="*/ 600 w 19236"/>
              <a:gd name="connsiteY6" fmla="*/ 0 h 20222"/>
              <a:gd name="connsiteX0" fmla="*/ 600 w 19236"/>
              <a:gd name="connsiteY0" fmla="*/ 0 h 20222"/>
              <a:gd name="connsiteX1" fmla="*/ 19232 w 19236"/>
              <a:gd name="connsiteY1" fmla="*/ 6681 h 20222"/>
              <a:gd name="connsiteX2" fmla="*/ 19233 w 19236"/>
              <a:gd name="connsiteY2" fmla="*/ 10847 h 20222"/>
              <a:gd name="connsiteX3" fmla="*/ 13267 w 19236"/>
              <a:gd name="connsiteY3" fmla="*/ 20222 h 20222"/>
              <a:gd name="connsiteX4" fmla="*/ 11433 w 19236"/>
              <a:gd name="connsiteY4" fmla="*/ 20153 h 20222"/>
              <a:gd name="connsiteX5" fmla="*/ 0 w 19236"/>
              <a:gd name="connsiteY5" fmla="*/ 10951 h 20222"/>
              <a:gd name="connsiteX6" fmla="*/ 600 w 19236"/>
              <a:gd name="connsiteY6" fmla="*/ 0 h 20222"/>
              <a:gd name="connsiteX0" fmla="*/ 600 w 19236"/>
              <a:gd name="connsiteY0" fmla="*/ 0 h 20222"/>
              <a:gd name="connsiteX1" fmla="*/ 19232 w 19236"/>
              <a:gd name="connsiteY1" fmla="*/ 6681 h 20222"/>
              <a:gd name="connsiteX2" fmla="*/ 19233 w 19236"/>
              <a:gd name="connsiteY2" fmla="*/ 10847 h 20222"/>
              <a:gd name="connsiteX3" fmla="*/ 13267 w 19236"/>
              <a:gd name="connsiteY3" fmla="*/ 20222 h 20222"/>
              <a:gd name="connsiteX4" fmla="*/ 11133 w 19236"/>
              <a:gd name="connsiteY4" fmla="*/ 20222 h 20222"/>
              <a:gd name="connsiteX5" fmla="*/ 0 w 19236"/>
              <a:gd name="connsiteY5" fmla="*/ 10951 h 20222"/>
              <a:gd name="connsiteX6" fmla="*/ 600 w 19236"/>
              <a:gd name="connsiteY6" fmla="*/ 0 h 20222"/>
              <a:gd name="connsiteX0" fmla="*/ 733 w 19369"/>
              <a:gd name="connsiteY0" fmla="*/ 0 h 20222"/>
              <a:gd name="connsiteX1" fmla="*/ 19365 w 19369"/>
              <a:gd name="connsiteY1" fmla="*/ 6681 h 20222"/>
              <a:gd name="connsiteX2" fmla="*/ 19366 w 19369"/>
              <a:gd name="connsiteY2" fmla="*/ 10847 h 20222"/>
              <a:gd name="connsiteX3" fmla="*/ 13400 w 19369"/>
              <a:gd name="connsiteY3" fmla="*/ 20222 h 20222"/>
              <a:gd name="connsiteX4" fmla="*/ 11266 w 19369"/>
              <a:gd name="connsiteY4" fmla="*/ 20222 h 20222"/>
              <a:gd name="connsiteX5" fmla="*/ 0 w 19369"/>
              <a:gd name="connsiteY5" fmla="*/ 8312 h 20222"/>
              <a:gd name="connsiteX6" fmla="*/ 733 w 19369"/>
              <a:gd name="connsiteY6" fmla="*/ 0 h 20222"/>
              <a:gd name="connsiteX0" fmla="*/ 733 w 19369"/>
              <a:gd name="connsiteY0" fmla="*/ 0 h 20222"/>
              <a:gd name="connsiteX1" fmla="*/ 1966 w 19369"/>
              <a:gd name="connsiteY1" fmla="*/ 465 h 20222"/>
              <a:gd name="connsiteX2" fmla="*/ 19365 w 19369"/>
              <a:gd name="connsiteY2" fmla="*/ 6681 h 20222"/>
              <a:gd name="connsiteX3" fmla="*/ 19366 w 19369"/>
              <a:gd name="connsiteY3" fmla="*/ 10847 h 20222"/>
              <a:gd name="connsiteX4" fmla="*/ 13400 w 19369"/>
              <a:gd name="connsiteY4" fmla="*/ 20222 h 20222"/>
              <a:gd name="connsiteX5" fmla="*/ 11266 w 19369"/>
              <a:gd name="connsiteY5" fmla="*/ 20222 h 20222"/>
              <a:gd name="connsiteX6" fmla="*/ 0 w 19369"/>
              <a:gd name="connsiteY6" fmla="*/ 8312 h 20222"/>
              <a:gd name="connsiteX7" fmla="*/ 733 w 19369"/>
              <a:gd name="connsiteY7" fmla="*/ 0 h 20222"/>
              <a:gd name="connsiteX0" fmla="*/ 733 w 19369"/>
              <a:gd name="connsiteY0" fmla="*/ 125 h 20347"/>
              <a:gd name="connsiteX1" fmla="*/ 1966 w 19369"/>
              <a:gd name="connsiteY1" fmla="*/ 590 h 20347"/>
              <a:gd name="connsiteX2" fmla="*/ 1466 w 19369"/>
              <a:gd name="connsiteY2" fmla="*/ 0 h 20347"/>
              <a:gd name="connsiteX3" fmla="*/ 19365 w 19369"/>
              <a:gd name="connsiteY3" fmla="*/ 6806 h 20347"/>
              <a:gd name="connsiteX4" fmla="*/ 19366 w 19369"/>
              <a:gd name="connsiteY4" fmla="*/ 10972 h 20347"/>
              <a:gd name="connsiteX5" fmla="*/ 13400 w 19369"/>
              <a:gd name="connsiteY5" fmla="*/ 20347 h 20347"/>
              <a:gd name="connsiteX6" fmla="*/ 11266 w 19369"/>
              <a:gd name="connsiteY6" fmla="*/ 20347 h 20347"/>
              <a:gd name="connsiteX7" fmla="*/ 0 w 19369"/>
              <a:gd name="connsiteY7" fmla="*/ 8437 h 20347"/>
              <a:gd name="connsiteX8" fmla="*/ 733 w 19369"/>
              <a:gd name="connsiteY8" fmla="*/ 125 h 20347"/>
              <a:gd name="connsiteX0" fmla="*/ 733 w 19369"/>
              <a:gd name="connsiteY0" fmla="*/ 125 h 20347"/>
              <a:gd name="connsiteX1" fmla="*/ 1466 w 19369"/>
              <a:gd name="connsiteY1" fmla="*/ 0 h 20347"/>
              <a:gd name="connsiteX2" fmla="*/ 19365 w 19369"/>
              <a:gd name="connsiteY2" fmla="*/ 6806 h 20347"/>
              <a:gd name="connsiteX3" fmla="*/ 19366 w 19369"/>
              <a:gd name="connsiteY3" fmla="*/ 10972 h 20347"/>
              <a:gd name="connsiteX4" fmla="*/ 13400 w 19369"/>
              <a:gd name="connsiteY4" fmla="*/ 20347 h 20347"/>
              <a:gd name="connsiteX5" fmla="*/ 11266 w 19369"/>
              <a:gd name="connsiteY5" fmla="*/ 20347 h 20347"/>
              <a:gd name="connsiteX6" fmla="*/ 0 w 19369"/>
              <a:gd name="connsiteY6" fmla="*/ 8437 h 20347"/>
              <a:gd name="connsiteX7" fmla="*/ 733 w 19369"/>
              <a:gd name="connsiteY7" fmla="*/ 125 h 20347"/>
              <a:gd name="connsiteX0" fmla="*/ 666 w 19369"/>
              <a:gd name="connsiteY0" fmla="*/ 0 h 20361"/>
              <a:gd name="connsiteX1" fmla="*/ 1466 w 19369"/>
              <a:gd name="connsiteY1" fmla="*/ 14 h 20361"/>
              <a:gd name="connsiteX2" fmla="*/ 19365 w 19369"/>
              <a:gd name="connsiteY2" fmla="*/ 6820 h 20361"/>
              <a:gd name="connsiteX3" fmla="*/ 19366 w 19369"/>
              <a:gd name="connsiteY3" fmla="*/ 10986 h 20361"/>
              <a:gd name="connsiteX4" fmla="*/ 13400 w 19369"/>
              <a:gd name="connsiteY4" fmla="*/ 20361 h 20361"/>
              <a:gd name="connsiteX5" fmla="*/ 11266 w 19369"/>
              <a:gd name="connsiteY5" fmla="*/ 20361 h 20361"/>
              <a:gd name="connsiteX6" fmla="*/ 0 w 19369"/>
              <a:gd name="connsiteY6" fmla="*/ 8451 h 20361"/>
              <a:gd name="connsiteX7" fmla="*/ 666 w 19369"/>
              <a:gd name="connsiteY7" fmla="*/ 0 h 20361"/>
              <a:gd name="connsiteX0" fmla="*/ 1466 w 20169"/>
              <a:gd name="connsiteY0" fmla="*/ 0 h 20361"/>
              <a:gd name="connsiteX1" fmla="*/ 2266 w 20169"/>
              <a:gd name="connsiteY1" fmla="*/ 14 h 20361"/>
              <a:gd name="connsiteX2" fmla="*/ 20165 w 20169"/>
              <a:gd name="connsiteY2" fmla="*/ 6820 h 20361"/>
              <a:gd name="connsiteX3" fmla="*/ 20166 w 20169"/>
              <a:gd name="connsiteY3" fmla="*/ 10986 h 20361"/>
              <a:gd name="connsiteX4" fmla="*/ 14200 w 20169"/>
              <a:gd name="connsiteY4" fmla="*/ 20361 h 20361"/>
              <a:gd name="connsiteX5" fmla="*/ 12066 w 20169"/>
              <a:gd name="connsiteY5" fmla="*/ 20361 h 20361"/>
              <a:gd name="connsiteX6" fmla="*/ 0 w 20169"/>
              <a:gd name="connsiteY6" fmla="*/ 7652 h 20361"/>
              <a:gd name="connsiteX7" fmla="*/ 1466 w 20169"/>
              <a:gd name="connsiteY7" fmla="*/ 0 h 20361"/>
              <a:gd name="connsiteX0" fmla="*/ 1166 w 19869"/>
              <a:gd name="connsiteY0" fmla="*/ 0 h 20361"/>
              <a:gd name="connsiteX1" fmla="*/ 1966 w 19869"/>
              <a:gd name="connsiteY1" fmla="*/ 14 h 20361"/>
              <a:gd name="connsiteX2" fmla="*/ 19865 w 19869"/>
              <a:gd name="connsiteY2" fmla="*/ 6820 h 20361"/>
              <a:gd name="connsiteX3" fmla="*/ 19866 w 19869"/>
              <a:gd name="connsiteY3" fmla="*/ 10986 h 20361"/>
              <a:gd name="connsiteX4" fmla="*/ 13900 w 19869"/>
              <a:gd name="connsiteY4" fmla="*/ 20361 h 20361"/>
              <a:gd name="connsiteX5" fmla="*/ 11766 w 19869"/>
              <a:gd name="connsiteY5" fmla="*/ 20361 h 20361"/>
              <a:gd name="connsiteX6" fmla="*/ 0 w 19869"/>
              <a:gd name="connsiteY6" fmla="*/ 7860 h 20361"/>
              <a:gd name="connsiteX7" fmla="*/ 1166 w 19869"/>
              <a:gd name="connsiteY7" fmla="*/ 0 h 20361"/>
              <a:gd name="connsiteX0" fmla="*/ 1196 w 19899"/>
              <a:gd name="connsiteY0" fmla="*/ 0 h 20361"/>
              <a:gd name="connsiteX1" fmla="*/ 1996 w 19899"/>
              <a:gd name="connsiteY1" fmla="*/ 14 h 20361"/>
              <a:gd name="connsiteX2" fmla="*/ 19895 w 19899"/>
              <a:gd name="connsiteY2" fmla="*/ 6820 h 20361"/>
              <a:gd name="connsiteX3" fmla="*/ 19896 w 19899"/>
              <a:gd name="connsiteY3" fmla="*/ 10986 h 20361"/>
              <a:gd name="connsiteX4" fmla="*/ 13930 w 19899"/>
              <a:gd name="connsiteY4" fmla="*/ 20361 h 20361"/>
              <a:gd name="connsiteX5" fmla="*/ 11796 w 19899"/>
              <a:gd name="connsiteY5" fmla="*/ 20361 h 20361"/>
              <a:gd name="connsiteX6" fmla="*/ 0 w 19899"/>
              <a:gd name="connsiteY6" fmla="*/ 7954 h 20361"/>
              <a:gd name="connsiteX7" fmla="*/ 1196 w 19899"/>
              <a:gd name="connsiteY7" fmla="*/ 0 h 20361"/>
              <a:gd name="connsiteX0" fmla="*/ 1196 w 19899"/>
              <a:gd name="connsiteY0" fmla="*/ 0 h 20377"/>
              <a:gd name="connsiteX1" fmla="*/ 1996 w 19899"/>
              <a:gd name="connsiteY1" fmla="*/ 14 h 20377"/>
              <a:gd name="connsiteX2" fmla="*/ 19895 w 19899"/>
              <a:gd name="connsiteY2" fmla="*/ 6820 h 20377"/>
              <a:gd name="connsiteX3" fmla="*/ 19896 w 19899"/>
              <a:gd name="connsiteY3" fmla="*/ 10986 h 20377"/>
              <a:gd name="connsiteX4" fmla="*/ 13930 w 19899"/>
              <a:gd name="connsiteY4" fmla="*/ 20361 h 20377"/>
              <a:gd name="connsiteX5" fmla="*/ 11721 w 19899"/>
              <a:gd name="connsiteY5" fmla="*/ 20377 h 20377"/>
              <a:gd name="connsiteX6" fmla="*/ 0 w 19899"/>
              <a:gd name="connsiteY6" fmla="*/ 7954 h 20377"/>
              <a:gd name="connsiteX7" fmla="*/ 1196 w 19899"/>
              <a:gd name="connsiteY7" fmla="*/ 0 h 20377"/>
              <a:gd name="connsiteX0" fmla="*/ 1181 w 19899"/>
              <a:gd name="connsiteY0" fmla="*/ 17 h 20363"/>
              <a:gd name="connsiteX1" fmla="*/ 1996 w 19899"/>
              <a:gd name="connsiteY1" fmla="*/ 0 h 20363"/>
              <a:gd name="connsiteX2" fmla="*/ 19895 w 19899"/>
              <a:gd name="connsiteY2" fmla="*/ 6806 h 20363"/>
              <a:gd name="connsiteX3" fmla="*/ 19896 w 19899"/>
              <a:gd name="connsiteY3" fmla="*/ 10972 h 20363"/>
              <a:gd name="connsiteX4" fmla="*/ 13930 w 19899"/>
              <a:gd name="connsiteY4" fmla="*/ 20347 h 20363"/>
              <a:gd name="connsiteX5" fmla="*/ 11721 w 19899"/>
              <a:gd name="connsiteY5" fmla="*/ 20363 h 20363"/>
              <a:gd name="connsiteX6" fmla="*/ 0 w 19899"/>
              <a:gd name="connsiteY6" fmla="*/ 7940 h 20363"/>
              <a:gd name="connsiteX7" fmla="*/ 1181 w 19899"/>
              <a:gd name="connsiteY7" fmla="*/ 17 h 20363"/>
              <a:gd name="connsiteX0" fmla="*/ 1271 w 19899"/>
              <a:gd name="connsiteY0" fmla="*/ 17 h 20363"/>
              <a:gd name="connsiteX1" fmla="*/ 1996 w 19899"/>
              <a:gd name="connsiteY1" fmla="*/ 0 h 20363"/>
              <a:gd name="connsiteX2" fmla="*/ 19895 w 19899"/>
              <a:gd name="connsiteY2" fmla="*/ 6806 h 20363"/>
              <a:gd name="connsiteX3" fmla="*/ 19896 w 19899"/>
              <a:gd name="connsiteY3" fmla="*/ 10972 h 20363"/>
              <a:gd name="connsiteX4" fmla="*/ 13930 w 19899"/>
              <a:gd name="connsiteY4" fmla="*/ 20347 h 20363"/>
              <a:gd name="connsiteX5" fmla="*/ 11721 w 19899"/>
              <a:gd name="connsiteY5" fmla="*/ 20363 h 20363"/>
              <a:gd name="connsiteX6" fmla="*/ 0 w 19899"/>
              <a:gd name="connsiteY6" fmla="*/ 7940 h 20363"/>
              <a:gd name="connsiteX7" fmla="*/ 1271 w 19899"/>
              <a:gd name="connsiteY7" fmla="*/ 17 h 20363"/>
              <a:gd name="connsiteX0" fmla="*/ 1271 w 19899"/>
              <a:gd name="connsiteY0" fmla="*/ 17 h 20363"/>
              <a:gd name="connsiteX1" fmla="*/ 1996 w 19899"/>
              <a:gd name="connsiteY1" fmla="*/ 0 h 20363"/>
              <a:gd name="connsiteX2" fmla="*/ 19895 w 19899"/>
              <a:gd name="connsiteY2" fmla="*/ 6806 h 20363"/>
              <a:gd name="connsiteX3" fmla="*/ 19896 w 19899"/>
              <a:gd name="connsiteY3" fmla="*/ 10972 h 20363"/>
              <a:gd name="connsiteX4" fmla="*/ 13930 w 19899"/>
              <a:gd name="connsiteY4" fmla="*/ 20347 h 20363"/>
              <a:gd name="connsiteX5" fmla="*/ 11721 w 19899"/>
              <a:gd name="connsiteY5" fmla="*/ 20363 h 20363"/>
              <a:gd name="connsiteX6" fmla="*/ 0 w 19899"/>
              <a:gd name="connsiteY6" fmla="*/ 7940 h 20363"/>
              <a:gd name="connsiteX7" fmla="*/ 1271 w 19899"/>
              <a:gd name="connsiteY7" fmla="*/ 17 h 20363"/>
              <a:gd name="connsiteX0" fmla="*/ 2132 w 20760"/>
              <a:gd name="connsiteY0" fmla="*/ 17 h 20363"/>
              <a:gd name="connsiteX1" fmla="*/ 2857 w 20760"/>
              <a:gd name="connsiteY1" fmla="*/ 0 h 20363"/>
              <a:gd name="connsiteX2" fmla="*/ 20756 w 20760"/>
              <a:gd name="connsiteY2" fmla="*/ 6806 h 20363"/>
              <a:gd name="connsiteX3" fmla="*/ 20757 w 20760"/>
              <a:gd name="connsiteY3" fmla="*/ 10972 h 20363"/>
              <a:gd name="connsiteX4" fmla="*/ 14791 w 20760"/>
              <a:gd name="connsiteY4" fmla="*/ 20347 h 20363"/>
              <a:gd name="connsiteX5" fmla="*/ 12582 w 20760"/>
              <a:gd name="connsiteY5" fmla="*/ 20363 h 20363"/>
              <a:gd name="connsiteX6" fmla="*/ 861 w 20760"/>
              <a:gd name="connsiteY6" fmla="*/ 7940 h 20363"/>
              <a:gd name="connsiteX7" fmla="*/ 1022 w 20760"/>
              <a:gd name="connsiteY7" fmla="*/ 6379 h 20363"/>
              <a:gd name="connsiteX8" fmla="*/ 2132 w 20760"/>
              <a:gd name="connsiteY8" fmla="*/ 17 h 20363"/>
              <a:gd name="connsiteX0" fmla="*/ 2132 w 20760"/>
              <a:gd name="connsiteY0" fmla="*/ 17 h 20363"/>
              <a:gd name="connsiteX1" fmla="*/ 2857 w 20760"/>
              <a:gd name="connsiteY1" fmla="*/ 0 h 20363"/>
              <a:gd name="connsiteX2" fmla="*/ 20756 w 20760"/>
              <a:gd name="connsiteY2" fmla="*/ 6806 h 20363"/>
              <a:gd name="connsiteX3" fmla="*/ 20757 w 20760"/>
              <a:gd name="connsiteY3" fmla="*/ 10972 h 20363"/>
              <a:gd name="connsiteX4" fmla="*/ 14791 w 20760"/>
              <a:gd name="connsiteY4" fmla="*/ 20347 h 20363"/>
              <a:gd name="connsiteX5" fmla="*/ 12582 w 20760"/>
              <a:gd name="connsiteY5" fmla="*/ 20363 h 20363"/>
              <a:gd name="connsiteX6" fmla="*/ 861 w 20760"/>
              <a:gd name="connsiteY6" fmla="*/ 7940 h 20363"/>
              <a:gd name="connsiteX7" fmla="*/ 1022 w 20760"/>
              <a:gd name="connsiteY7" fmla="*/ 6379 h 20363"/>
              <a:gd name="connsiteX8" fmla="*/ 2132 w 20760"/>
              <a:gd name="connsiteY8" fmla="*/ 17 h 20363"/>
              <a:gd name="connsiteX0" fmla="*/ 2186 w 20814"/>
              <a:gd name="connsiteY0" fmla="*/ 17 h 20363"/>
              <a:gd name="connsiteX1" fmla="*/ 2911 w 20814"/>
              <a:gd name="connsiteY1" fmla="*/ 0 h 20363"/>
              <a:gd name="connsiteX2" fmla="*/ 20810 w 20814"/>
              <a:gd name="connsiteY2" fmla="*/ 6806 h 20363"/>
              <a:gd name="connsiteX3" fmla="*/ 20811 w 20814"/>
              <a:gd name="connsiteY3" fmla="*/ 10972 h 20363"/>
              <a:gd name="connsiteX4" fmla="*/ 14845 w 20814"/>
              <a:gd name="connsiteY4" fmla="*/ 20347 h 20363"/>
              <a:gd name="connsiteX5" fmla="*/ 12636 w 20814"/>
              <a:gd name="connsiteY5" fmla="*/ 20363 h 20363"/>
              <a:gd name="connsiteX6" fmla="*/ 915 w 20814"/>
              <a:gd name="connsiteY6" fmla="*/ 7940 h 20363"/>
              <a:gd name="connsiteX7" fmla="*/ 881 w 20814"/>
              <a:gd name="connsiteY7" fmla="*/ 6191 h 20363"/>
              <a:gd name="connsiteX8" fmla="*/ 2186 w 20814"/>
              <a:gd name="connsiteY8" fmla="*/ 17 h 20363"/>
              <a:gd name="connsiteX0" fmla="*/ 2228 w 20856"/>
              <a:gd name="connsiteY0" fmla="*/ 17 h 20363"/>
              <a:gd name="connsiteX1" fmla="*/ 2953 w 20856"/>
              <a:gd name="connsiteY1" fmla="*/ 0 h 20363"/>
              <a:gd name="connsiteX2" fmla="*/ 20852 w 20856"/>
              <a:gd name="connsiteY2" fmla="*/ 6806 h 20363"/>
              <a:gd name="connsiteX3" fmla="*/ 20853 w 20856"/>
              <a:gd name="connsiteY3" fmla="*/ 10972 h 20363"/>
              <a:gd name="connsiteX4" fmla="*/ 14887 w 20856"/>
              <a:gd name="connsiteY4" fmla="*/ 20347 h 20363"/>
              <a:gd name="connsiteX5" fmla="*/ 12678 w 20856"/>
              <a:gd name="connsiteY5" fmla="*/ 20363 h 20363"/>
              <a:gd name="connsiteX6" fmla="*/ 957 w 20856"/>
              <a:gd name="connsiteY6" fmla="*/ 7940 h 20363"/>
              <a:gd name="connsiteX7" fmla="*/ 923 w 20856"/>
              <a:gd name="connsiteY7" fmla="*/ 6191 h 20363"/>
              <a:gd name="connsiteX8" fmla="*/ 2228 w 20856"/>
              <a:gd name="connsiteY8" fmla="*/ 17 h 20363"/>
              <a:gd name="connsiteX0" fmla="*/ 2179 w 20807"/>
              <a:gd name="connsiteY0" fmla="*/ 17 h 20363"/>
              <a:gd name="connsiteX1" fmla="*/ 2904 w 20807"/>
              <a:gd name="connsiteY1" fmla="*/ 0 h 20363"/>
              <a:gd name="connsiteX2" fmla="*/ 20803 w 20807"/>
              <a:gd name="connsiteY2" fmla="*/ 6806 h 20363"/>
              <a:gd name="connsiteX3" fmla="*/ 20804 w 20807"/>
              <a:gd name="connsiteY3" fmla="*/ 10972 h 20363"/>
              <a:gd name="connsiteX4" fmla="*/ 14838 w 20807"/>
              <a:gd name="connsiteY4" fmla="*/ 20347 h 20363"/>
              <a:gd name="connsiteX5" fmla="*/ 12629 w 20807"/>
              <a:gd name="connsiteY5" fmla="*/ 20363 h 20363"/>
              <a:gd name="connsiteX6" fmla="*/ 908 w 20807"/>
              <a:gd name="connsiteY6" fmla="*/ 7940 h 20363"/>
              <a:gd name="connsiteX7" fmla="*/ 874 w 20807"/>
              <a:gd name="connsiteY7" fmla="*/ 6191 h 20363"/>
              <a:gd name="connsiteX8" fmla="*/ 2179 w 20807"/>
              <a:gd name="connsiteY8" fmla="*/ 17 h 20363"/>
              <a:gd name="connsiteX0" fmla="*/ 1540 w 20168"/>
              <a:gd name="connsiteY0" fmla="*/ 17 h 20363"/>
              <a:gd name="connsiteX1" fmla="*/ 2265 w 20168"/>
              <a:gd name="connsiteY1" fmla="*/ 0 h 20363"/>
              <a:gd name="connsiteX2" fmla="*/ 20164 w 20168"/>
              <a:gd name="connsiteY2" fmla="*/ 6806 h 20363"/>
              <a:gd name="connsiteX3" fmla="*/ 20165 w 20168"/>
              <a:gd name="connsiteY3" fmla="*/ 10972 h 20363"/>
              <a:gd name="connsiteX4" fmla="*/ 14199 w 20168"/>
              <a:gd name="connsiteY4" fmla="*/ 20347 h 20363"/>
              <a:gd name="connsiteX5" fmla="*/ 11990 w 20168"/>
              <a:gd name="connsiteY5" fmla="*/ 20363 h 20363"/>
              <a:gd name="connsiteX6" fmla="*/ 269 w 20168"/>
              <a:gd name="connsiteY6" fmla="*/ 7940 h 20363"/>
              <a:gd name="connsiteX7" fmla="*/ 235 w 20168"/>
              <a:gd name="connsiteY7" fmla="*/ 6191 h 20363"/>
              <a:gd name="connsiteX8" fmla="*/ 1540 w 20168"/>
              <a:gd name="connsiteY8" fmla="*/ 17 h 20363"/>
              <a:gd name="connsiteX0" fmla="*/ 1418 w 20046"/>
              <a:gd name="connsiteY0" fmla="*/ 17 h 20363"/>
              <a:gd name="connsiteX1" fmla="*/ 2143 w 20046"/>
              <a:gd name="connsiteY1" fmla="*/ 0 h 20363"/>
              <a:gd name="connsiteX2" fmla="*/ 20042 w 20046"/>
              <a:gd name="connsiteY2" fmla="*/ 6806 h 20363"/>
              <a:gd name="connsiteX3" fmla="*/ 20043 w 20046"/>
              <a:gd name="connsiteY3" fmla="*/ 10972 h 20363"/>
              <a:gd name="connsiteX4" fmla="*/ 14077 w 20046"/>
              <a:gd name="connsiteY4" fmla="*/ 20347 h 20363"/>
              <a:gd name="connsiteX5" fmla="*/ 11868 w 20046"/>
              <a:gd name="connsiteY5" fmla="*/ 20363 h 20363"/>
              <a:gd name="connsiteX6" fmla="*/ 147 w 20046"/>
              <a:gd name="connsiteY6" fmla="*/ 7940 h 20363"/>
              <a:gd name="connsiteX7" fmla="*/ 113 w 20046"/>
              <a:gd name="connsiteY7" fmla="*/ 6191 h 20363"/>
              <a:gd name="connsiteX8" fmla="*/ 1418 w 20046"/>
              <a:gd name="connsiteY8" fmla="*/ 17 h 20363"/>
              <a:gd name="connsiteX0" fmla="*/ 1471 w 20099"/>
              <a:gd name="connsiteY0" fmla="*/ 17 h 20363"/>
              <a:gd name="connsiteX1" fmla="*/ 2196 w 20099"/>
              <a:gd name="connsiteY1" fmla="*/ 0 h 20363"/>
              <a:gd name="connsiteX2" fmla="*/ 20095 w 20099"/>
              <a:gd name="connsiteY2" fmla="*/ 6806 h 20363"/>
              <a:gd name="connsiteX3" fmla="*/ 20096 w 20099"/>
              <a:gd name="connsiteY3" fmla="*/ 10972 h 20363"/>
              <a:gd name="connsiteX4" fmla="*/ 14130 w 20099"/>
              <a:gd name="connsiteY4" fmla="*/ 20347 h 20363"/>
              <a:gd name="connsiteX5" fmla="*/ 11921 w 20099"/>
              <a:gd name="connsiteY5" fmla="*/ 20363 h 20363"/>
              <a:gd name="connsiteX6" fmla="*/ 200 w 20099"/>
              <a:gd name="connsiteY6" fmla="*/ 7940 h 20363"/>
              <a:gd name="connsiteX7" fmla="*/ 166 w 20099"/>
              <a:gd name="connsiteY7" fmla="*/ 6191 h 20363"/>
              <a:gd name="connsiteX8" fmla="*/ 1471 w 20099"/>
              <a:gd name="connsiteY8" fmla="*/ 17 h 20363"/>
              <a:gd name="connsiteX0" fmla="*/ 1486 w 20114"/>
              <a:gd name="connsiteY0" fmla="*/ 17 h 20363"/>
              <a:gd name="connsiteX1" fmla="*/ 2211 w 20114"/>
              <a:gd name="connsiteY1" fmla="*/ 0 h 20363"/>
              <a:gd name="connsiteX2" fmla="*/ 20110 w 20114"/>
              <a:gd name="connsiteY2" fmla="*/ 6806 h 20363"/>
              <a:gd name="connsiteX3" fmla="*/ 20111 w 20114"/>
              <a:gd name="connsiteY3" fmla="*/ 10972 h 20363"/>
              <a:gd name="connsiteX4" fmla="*/ 14145 w 20114"/>
              <a:gd name="connsiteY4" fmla="*/ 20347 h 20363"/>
              <a:gd name="connsiteX5" fmla="*/ 11936 w 20114"/>
              <a:gd name="connsiteY5" fmla="*/ 20363 h 20363"/>
              <a:gd name="connsiteX6" fmla="*/ 215 w 20114"/>
              <a:gd name="connsiteY6" fmla="*/ 7940 h 20363"/>
              <a:gd name="connsiteX7" fmla="*/ 151 w 20114"/>
              <a:gd name="connsiteY7" fmla="*/ 6363 h 20363"/>
              <a:gd name="connsiteX8" fmla="*/ 1486 w 20114"/>
              <a:gd name="connsiteY8" fmla="*/ 17 h 20363"/>
              <a:gd name="connsiteX0" fmla="*/ 1476 w 20104"/>
              <a:gd name="connsiteY0" fmla="*/ 17 h 20363"/>
              <a:gd name="connsiteX1" fmla="*/ 2201 w 20104"/>
              <a:gd name="connsiteY1" fmla="*/ 0 h 20363"/>
              <a:gd name="connsiteX2" fmla="*/ 20100 w 20104"/>
              <a:gd name="connsiteY2" fmla="*/ 6806 h 20363"/>
              <a:gd name="connsiteX3" fmla="*/ 20101 w 20104"/>
              <a:gd name="connsiteY3" fmla="*/ 10972 h 20363"/>
              <a:gd name="connsiteX4" fmla="*/ 14135 w 20104"/>
              <a:gd name="connsiteY4" fmla="*/ 20347 h 20363"/>
              <a:gd name="connsiteX5" fmla="*/ 11926 w 20104"/>
              <a:gd name="connsiteY5" fmla="*/ 20363 h 20363"/>
              <a:gd name="connsiteX6" fmla="*/ 205 w 20104"/>
              <a:gd name="connsiteY6" fmla="*/ 7940 h 20363"/>
              <a:gd name="connsiteX7" fmla="*/ 141 w 20104"/>
              <a:gd name="connsiteY7" fmla="*/ 6363 h 20363"/>
              <a:gd name="connsiteX8" fmla="*/ 1476 w 20104"/>
              <a:gd name="connsiteY8" fmla="*/ 17 h 20363"/>
              <a:gd name="connsiteX0" fmla="*/ 1470 w 20098"/>
              <a:gd name="connsiteY0" fmla="*/ 17 h 20363"/>
              <a:gd name="connsiteX1" fmla="*/ 2195 w 20098"/>
              <a:gd name="connsiteY1" fmla="*/ 0 h 20363"/>
              <a:gd name="connsiteX2" fmla="*/ 20094 w 20098"/>
              <a:gd name="connsiteY2" fmla="*/ 6806 h 20363"/>
              <a:gd name="connsiteX3" fmla="*/ 20095 w 20098"/>
              <a:gd name="connsiteY3" fmla="*/ 10972 h 20363"/>
              <a:gd name="connsiteX4" fmla="*/ 14129 w 20098"/>
              <a:gd name="connsiteY4" fmla="*/ 20347 h 20363"/>
              <a:gd name="connsiteX5" fmla="*/ 11920 w 20098"/>
              <a:gd name="connsiteY5" fmla="*/ 20363 h 20363"/>
              <a:gd name="connsiteX6" fmla="*/ 199 w 20098"/>
              <a:gd name="connsiteY6" fmla="*/ 7940 h 20363"/>
              <a:gd name="connsiteX7" fmla="*/ 135 w 20098"/>
              <a:gd name="connsiteY7" fmla="*/ 6363 h 20363"/>
              <a:gd name="connsiteX8" fmla="*/ 1470 w 20098"/>
              <a:gd name="connsiteY8" fmla="*/ 17 h 20363"/>
              <a:gd name="connsiteX0" fmla="*/ 1499 w 20127"/>
              <a:gd name="connsiteY0" fmla="*/ 17 h 20363"/>
              <a:gd name="connsiteX1" fmla="*/ 2224 w 20127"/>
              <a:gd name="connsiteY1" fmla="*/ 0 h 20363"/>
              <a:gd name="connsiteX2" fmla="*/ 20123 w 20127"/>
              <a:gd name="connsiteY2" fmla="*/ 6806 h 20363"/>
              <a:gd name="connsiteX3" fmla="*/ 20124 w 20127"/>
              <a:gd name="connsiteY3" fmla="*/ 10972 h 20363"/>
              <a:gd name="connsiteX4" fmla="*/ 14158 w 20127"/>
              <a:gd name="connsiteY4" fmla="*/ 20347 h 20363"/>
              <a:gd name="connsiteX5" fmla="*/ 11949 w 20127"/>
              <a:gd name="connsiteY5" fmla="*/ 20363 h 20363"/>
              <a:gd name="connsiteX6" fmla="*/ 228 w 20127"/>
              <a:gd name="connsiteY6" fmla="*/ 7940 h 20363"/>
              <a:gd name="connsiteX7" fmla="*/ 164 w 20127"/>
              <a:gd name="connsiteY7" fmla="*/ 6363 h 20363"/>
              <a:gd name="connsiteX8" fmla="*/ 1499 w 20127"/>
              <a:gd name="connsiteY8" fmla="*/ 17 h 20363"/>
              <a:gd name="connsiteX0" fmla="*/ 1499 w 20127"/>
              <a:gd name="connsiteY0" fmla="*/ 17 h 20347"/>
              <a:gd name="connsiteX1" fmla="*/ 2224 w 20127"/>
              <a:gd name="connsiteY1" fmla="*/ 0 h 20347"/>
              <a:gd name="connsiteX2" fmla="*/ 20123 w 20127"/>
              <a:gd name="connsiteY2" fmla="*/ 6806 h 20347"/>
              <a:gd name="connsiteX3" fmla="*/ 20124 w 20127"/>
              <a:gd name="connsiteY3" fmla="*/ 10972 h 20347"/>
              <a:gd name="connsiteX4" fmla="*/ 14158 w 20127"/>
              <a:gd name="connsiteY4" fmla="*/ 20347 h 20347"/>
              <a:gd name="connsiteX5" fmla="*/ 11886 w 20127"/>
              <a:gd name="connsiteY5" fmla="*/ 20288 h 20347"/>
              <a:gd name="connsiteX6" fmla="*/ 228 w 20127"/>
              <a:gd name="connsiteY6" fmla="*/ 7940 h 20347"/>
              <a:gd name="connsiteX7" fmla="*/ 164 w 20127"/>
              <a:gd name="connsiteY7" fmla="*/ 6363 h 20347"/>
              <a:gd name="connsiteX8" fmla="*/ 1499 w 20127"/>
              <a:gd name="connsiteY8" fmla="*/ 17 h 20347"/>
              <a:gd name="connsiteX0" fmla="*/ 1499 w 20127"/>
              <a:gd name="connsiteY0" fmla="*/ 17 h 20288"/>
              <a:gd name="connsiteX1" fmla="*/ 2224 w 20127"/>
              <a:gd name="connsiteY1" fmla="*/ 0 h 20288"/>
              <a:gd name="connsiteX2" fmla="*/ 20123 w 20127"/>
              <a:gd name="connsiteY2" fmla="*/ 6806 h 20288"/>
              <a:gd name="connsiteX3" fmla="*/ 20124 w 20127"/>
              <a:gd name="connsiteY3" fmla="*/ 10972 h 20288"/>
              <a:gd name="connsiteX4" fmla="*/ 14185 w 20127"/>
              <a:gd name="connsiteY4" fmla="*/ 20272 h 20288"/>
              <a:gd name="connsiteX5" fmla="*/ 11886 w 20127"/>
              <a:gd name="connsiteY5" fmla="*/ 20288 h 20288"/>
              <a:gd name="connsiteX6" fmla="*/ 228 w 20127"/>
              <a:gd name="connsiteY6" fmla="*/ 7940 h 20288"/>
              <a:gd name="connsiteX7" fmla="*/ 164 w 20127"/>
              <a:gd name="connsiteY7" fmla="*/ 6363 h 20288"/>
              <a:gd name="connsiteX8" fmla="*/ 1499 w 20127"/>
              <a:gd name="connsiteY8" fmla="*/ 17 h 20288"/>
              <a:gd name="connsiteX0" fmla="*/ 1499 w 20123"/>
              <a:gd name="connsiteY0" fmla="*/ 17 h 20288"/>
              <a:gd name="connsiteX1" fmla="*/ 2224 w 20123"/>
              <a:gd name="connsiteY1" fmla="*/ 0 h 20288"/>
              <a:gd name="connsiteX2" fmla="*/ 20123 w 20123"/>
              <a:gd name="connsiteY2" fmla="*/ 6806 h 20288"/>
              <a:gd name="connsiteX3" fmla="*/ 20066 w 20123"/>
              <a:gd name="connsiteY3" fmla="*/ 11052 h 20288"/>
              <a:gd name="connsiteX4" fmla="*/ 14185 w 20123"/>
              <a:gd name="connsiteY4" fmla="*/ 20272 h 20288"/>
              <a:gd name="connsiteX5" fmla="*/ 11886 w 20123"/>
              <a:gd name="connsiteY5" fmla="*/ 20288 h 20288"/>
              <a:gd name="connsiteX6" fmla="*/ 228 w 20123"/>
              <a:gd name="connsiteY6" fmla="*/ 7940 h 20288"/>
              <a:gd name="connsiteX7" fmla="*/ 164 w 20123"/>
              <a:gd name="connsiteY7" fmla="*/ 6363 h 20288"/>
              <a:gd name="connsiteX8" fmla="*/ 1499 w 20123"/>
              <a:gd name="connsiteY8" fmla="*/ 17 h 20288"/>
              <a:gd name="connsiteX0" fmla="*/ 1499 w 20084"/>
              <a:gd name="connsiteY0" fmla="*/ 17 h 20288"/>
              <a:gd name="connsiteX1" fmla="*/ 2224 w 20084"/>
              <a:gd name="connsiteY1" fmla="*/ 0 h 20288"/>
              <a:gd name="connsiteX2" fmla="*/ 20084 w 20084"/>
              <a:gd name="connsiteY2" fmla="*/ 6796 h 20288"/>
              <a:gd name="connsiteX3" fmla="*/ 20066 w 20084"/>
              <a:gd name="connsiteY3" fmla="*/ 11052 h 20288"/>
              <a:gd name="connsiteX4" fmla="*/ 14185 w 20084"/>
              <a:gd name="connsiteY4" fmla="*/ 20272 h 20288"/>
              <a:gd name="connsiteX5" fmla="*/ 11886 w 20084"/>
              <a:gd name="connsiteY5" fmla="*/ 20288 h 20288"/>
              <a:gd name="connsiteX6" fmla="*/ 228 w 20084"/>
              <a:gd name="connsiteY6" fmla="*/ 7940 h 20288"/>
              <a:gd name="connsiteX7" fmla="*/ 164 w 20084"/>
              <a:gd name="connsiteY7" fmla="*/ 6363 h 20288"/>
              <a:gd name="connsiteX8" fmla="*/ 1499 w 20084"/>
              <a:gd name="connsiteY8" fmla="*/ 17 h 2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84" h="20288">
                <a:moveTo>
                  <a:pt x="1499" y="17"/>
                </a:moveTo>
                <a:lnTo>
                  <a:pt x="2224" y="0"/>
                </a:lnTo>
                <a:lnTo>
                  <a:pt x="20084" y="6796"/>
                </a:lnTo>
                <a:cubicBezTo>
                  <a:pt x="20073" y="8162"/>
                  <a:pt x="20077" y="9686"/>
                  <a:pt x="20066" y="11052"/>
                </a:cubicBezTo>
                <a:lnTo>
                  <a:pt x="14185" y="20272"/>
                </a:lnTo>
                <a:lnTo>
                  <a:pt x="11886" y="20288"/>
                </a:lnTo>
                <a:lnTo>
                  <a:pt x="228" y="7940"/>
                </a:lnTo>
                <a:cubicBezTo>
                  <a:pt x="-154" y="7593"/>
                  <a:pt x="27" y="7059"/>
                  <a:pt x="164" y="6363"/>
                </a:cubicBezTo>
                <a:cubicBezTo>
                  <a:pt x="301" y="5667"/>
                  <a:pt x="1193" y="1080"/>
                  <a:pt x="1499" y="1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apezoid 5">
            <a:extLst>
              <a:ext uri="{FF2B5EF4-FFF2-40B4-BE49-F238E27FC236}">
                <a16:creationId xmlns:a16="http://schemas.microsoft.com/office/drawing/2014/main" id="{AABDC5E1-9587-F743-BA4E-58E6F65A619F}"/>
              </a:ext>
            </a:extLst>
          </p:cNvPr>
          <p:cNvSpPr/>
          <p:nvPr/>
        </p:nvSpPr>
        <p:spPr>
          <a:xfrm>
            <a:off x="5115600" y="315416"/>
            <a:ext cx="7095600" cy="6560112"/>
          </a:xfrm>
          <a:custGeom>
            <a:avLst/>
            <a:gdLst>
              <a:gd name="connsiteX0" fmla="*/ 0 w 3508169"/>
              <a:gd name="connsiteY0" fmla="*/ 3543337 h 3543337"/>
              <a:gd name="connsiteX1" fmla="*/ 877042 w 3508169"/>
              <a:gd name="connsiteY1" fmla="*/ 0 h 3543337"/>
              <a:gd name="connsiteX2" fmla="*/ 2631127 w 3508169"/>
              <a:gd name="connsiteY2" fmla="*/ 0 h 3543337"/>
              <a:gd name="connsiteX3" fmla="*/ 3508169 w 3508169"/>
              <a:gd name="connsiteY3" fmla="*/ 3543337 h 3543337"/>
              <a:gd name="connsiteX4" fmla="*/ 0 w 3508169"/>
              <a:gd name="connsiteY4" fmla="*/ 3543337 h 3543337"/>
              <a:gd name="connsiteX0" fmla="*/ 0 w 6086008"/>
              <a:gd name="connsiteY0" fmla="*/ 5470415 h 5470415"/>
              <a:gd name="connsiteX1" fmla="*/ 877042 w 6086008"/>
              <a:gd name="connsiteY1" fmla="*/ 1927078 h 5470415"/>
              <a:gd name="connsiteX2" fmla="*/ 6086008 w 6086008"/>
              <a:gd name="connsiteY2" fmla="*/ 0 h 5470415"/>
              <a:gd name="connsiteX3" fmla="*/ 3508169 w 6086008"/>
              <a:gd name="connsiteY3" fmla="*/ 5470415 h 5470415"/>
              <a:gd name="connsiteX4" fmla="*/ 0 w 6086008"/>
              <a:gd name="connsiteY4" fmla="*/ 5470415 h 5470415"/>
              <a:gd name="connsiteX0" fmla="*/ 0 w 6086008"/>
              <a:gd name="connsiteY0" fmla="*/ 5470415 h 5470415"/>
              <a:gd name="connsiteX1" fmla="*/ 877042 w 6086008"/>
              <a:gd name="connsiteY1" fmla="*/ 1927078 h 5470415"/>
              <a:gd name="connsiteX2" fmla="*/ 6086008 w 6086008"/>
              <a:gd name="connsiteY2" fmla="*/ 0 h 5470415"/>
              <a:gd name="connsiteX3" fmla="*/ 6057143 w 6086008"/>
              <a:gd name="connsiteY3" fmla="*/ 3419009 h 5470415"/>
              <a:gd name="connsiteX4" fmla="*/ 0 w 6086008"/>
              <a:gd name="connsiteY4" fmla="*/ 5470415 h 5470415"/>
              <a:gd name="connsiteX0" fmla="*/ 3048556 w 5208966"/>
              <a:gd name="connsiteY0" fmla="*/ 6607124 h 6607124"/>
              <a:gd name="connsiteX1" fmla="*/ 0 w 5208966"/>
              <a:gd name="connsiteY1" fmla="*/ 1927078 h 6607124"/>
              <a:gd name="connsiteX2" fmla="*/ 5208966 w 5208966"/>
              <a:gd name="connsiteY2" fmla="*/ 0 h 6607124"/>
              <a:gd name="connsiteX3" fmla="*/ 5180101 w 5208966"/>
              <a:gd name="connsiteY3" fmla="*/ 3419009 h 6607124"/>
              <a:gd name="connsiteX4" fmla="*/ 3048556 w 5208966"/>
              <a:gd name="connsiteY4" fmla="*/ 6607124 h 6607124"/>
              <a:gd name="connsiteX0" fmla="*/ 4833726 w 6994136"/>
              <a:gd name="connsiteY0" fmla="*/ 6607124 h 6607124"/>
              <a:gd name="connsiteX1" fmla="*/ 0 w 6994136"/>
              <a:gd name="connsiteY1" fmla="*/ 2193494 h 6607124"/>
              <a:gd name="connsiteX2" fmla="*/ 6994136 w 6994136"/>
              <a:gd name="connsiteY2" fmla="*/ 0 h 6607124"/>
              <a:gd name="connsiteX3" fmla="*/ 6965271 w 6994136"/>
              <a:gd name="connsiteY3" fmla="*/ 3419009 h 6607124"/>
              <a:gd name="connsiteX4" fmla="*/ 4833726 w 6994136"/>
              <a:gd name="connsiteY4" fmla="*/ 6607124 h 6607124"/>
              <a:gd name="connsiteX0" fmla="*/ 4833726 w 6994136"/>
              <a:gd name="connsiteY0" fmla="*/ 6607124 h 6607124"/>
              <a:gd name="connsiteX1" fmla="*/ 1405487 w 6994136"/>
              <a:gd name="connsiteY1" fmla="*/ 3490053 h 6607124"/>
              <a:gd name="connsiteX2" fmla="*/ 0 w 6994136"/>
              <a:gd name="connsiteY2" fmla="*/ 2193494 h 6607124"/>
              <a:gd name="connsiteX3" fmla="*/ 6994136 w 6994136"/>
              <a:gd name="connsiteY3" fmla="*/ 0 h 6607124"/>
              <a:gd name="connsiteX4" fmla="*/ 6965271 w 6994136"/>
              <a:gd name="connsiteY4" fmla="*/ 3419009 h 6607124"/>
              <a:gd name="connsiteX5" fmla="*/ 4833726 w 6994136"/>
              <a:gd name="connsiteY5" fmla="*/ 6607124 h 6607124"/>
              <a:gd name="connsiteX0" fmla="*/ 4833726 w 6994136"/>
              <a:gd name="connsiteY0" fmla="*/ 6607124 h 6607124"/>
              <a:gd name="connsiteX1" fmla="*/ 4078801 w 6994136"/>
              <a:gd name="connsiteY1" fmla="*/ 6571601 h 6607124"/>
              <a:gd name="connsiteX2" fmla="*/ 0 w 6994136"/>
              <a:gd name="connsiteY2" fmla="*/ 2193494 h 6607124"/>
              <a:gd name="connsiteX3" fmla="*/ 6994136 w 6994136"/>
              <a:gd name="connsiteY3" fmla="*/ 0 h 6607124"/>
              <a:gd name="connsiteX4" fmla="*/ 6965271 w 6994136"/>
              <a:gd name="connsiteY4" fmla="*/ 3419009 h 6607124"/>
              <a:gd name="connsiteX5" fmla="*/ 4833726 w 6994136"/>
              <a:gd name="connsiteY5" fmla="*/ 6607124 h 6607124"/>
              <a:gd name="connsiteX0" fmla="*/ 4833726 w 6994136"/>
              <a:gd name="connsiteY0" fmla="*/ 6553841 h 6571601"/>
              <a:gd name="connsiteX1" fmla="*/ 4078801 w 6994136"/>
              <a:gd name="connsiteY1" fmla="*/ 6571601 h 6571601"/>
              <a:gd name="connsiteX2" fmla="*/ 0 w 6994136"/>
              <a:gd name="connsiteY2" fmla="*/ 2193494 h 6571601"/>
              <a:gd name="connsiteX3" fmla="*/ 6994136 w 6994136"/>
              <a:gd name="connsiteY3" fmla="*/ 0 h 6571601"/>
              <a:gd name="connsiteX4" fmla="*/ 6965271 w 6994136"/>
              <a:gd name="connsiteY4" fmla="*/ 3419009 h 6571601"/>
              <a:gd name="connsiteX5" fmla="*/ 4833726 w 6994136"/>
              <a:gd name="connsiteY5" fmla="*/ 6553841 h 6571601"/>
              <a:gd name="connsiteX0" fmla="*/ 4833726 w 6994136"/>
              <a:gd name="connsiteY0" fmla="*/ 6553841 h 6553841"/>
              <a:gd name="connsiteX1" fmla="*/ 4061039 w 6994136"/>
              <a:gd name="connsiteY1" fmla="*/ 6544959 h 6553841"/>
              <a:gd name="connsiteX2" fmla="*/ 0 w 6994136"/>
              <a:gd name="connsiteY2" fmla="*/ 2193494 h 6553841"/>
              <a:gd name="connsiteX3" fmla="*/ 6994136 w 6994136"/>
              <a:gd name="connsiteY3" fmla="*/ 0 h 6553841"/>
              <a:gd name="connsiteX4" fmla="*/ 6965271 w 6994136"/>
              <a:gd name="connsiteY4" fmla="*/ 3419009 h 6553841"/>
              <a:gd name="connsiteX5" fmla="*/ 4833726 w 6994136"/>
              <a:gd name="connsiteY5" fmla="*/ 6553841 h 6553841"/>
              <a:gd name="connsiteX0" fmla="*/ 4895896 w 7056306"/>
              <a:gd name="connsiteY0" fmla="*/ 6553841 h 6553841"/>
              <a:gd name="connsiteX1" fmla="*/ 4123209 w 7056306"/>
              <a:gd name="connsiteY1" fmla="*/ 6544959 h 6553841"/>
              <a:gd name="connsiteX2" fmla="*/ 0 w 7056306"/>
              <a:gd name="connsiteY2" fmla="*/ 2193494 h 6553841"/>
              <a:gd name="connsiteX3" fmla="*/ 7056306 w 7056306"/>
              <a:gd name="connsiteY3" fmla="*/ 0 h 6553841"/>
              <a:gd name="connsiteX4" fmla="*/ 7027441 w 7056306"/>
              <a:gd name="connsiteY4" fmla="*/ 3419009 h 6553841"/>
              <a:gd name="connsiteX5" fmla="*/ 4895896 w 7056306"/>
              <a:gd name="connsiteY5" fmla="*/ 6553841 h 6553841"/>
              <a:gd name="connsiteX0" fmla="*/ 4895896 w 7056306"/>
              <a:gd name="connsiteY0" fmla="*/ 6553841 h 6553841"/>
              <a:gd name="connsiteX1" fmla="*/ 4123209 w 7056306"/>
              <a:gd name="connsiteY1" fmla="*/ 6544959 h 6553841"/>
              <a:gd name="connsiteX2" fmla="*/ 197612 w 7056306"/>
              <a:gd name="connsiteY2" fmla="*/ 2397746 h 6553841"/>
              <a:gd name="connsiteX3" fmla="*/ 0 w 7056306"/>
              <a:gd name="connsiteY3" fmla="*/ 2193494 h 6553841"/>
              <a:gd name="connsiteX4" fmla="*/ 7056306 w 7056306"/>
              <a:gd name="connsiteY4" fmla="*/ 0 h 6553841"/>
              <a:gd name="connsiteX5" fmla="*/ 7027441 w 7056306"/>
              <a:gd name="connsiteY5" fmla="*/ 3419009 h 6553841"/>
              <a:gd name="connsiteX6" fmla="*/ 4895896 w 7056306"/>
              <a:gd name="connsiteY6" fmla="*/ 6553841 h 6553841"/>
              <a:gd name="connsiteX0" fmla="*/ 4895896 w 7056306"/>
              <a:gd name="connsiteY0" fmla="*/ 6553841 h 6553841"/>
              <a:gd name="connsiteX1" fmla="*/ 4123209 w 7056306"/>
              <a:gd name="connsiteY1" fmla="*/ 6544959 h 6553841"/>
              <a:gd name="connsiteX2" fmla="*/ 91034 w 7056306"/>
              <a:gd name="connsiteY2" fmla="*/ 2442148 h 6553841"/>
              <a:gd name="connsiteX3" fmla="*/ 0 w 7056306"/>
              <a:gd name="connsiteY3" fmla="*/ 2193494 h 6553841"/>
              <a:gd name="connsiteX4" fmla="*/ 7056306 w 7056306"/>
              <a:gd name="connsiteY4" fmla="*/ 0 h 6553841"/>
              <a:gd name="connsiteX5" fmla="*/ 7027441 w 7056306"/>
              <a:gd name="connsiteY5" fmla="*/ 3419009 h 6553841"/>
              <a:gd name="connsiteX6" fmla="*/ 4895896 w 7056306"/>
              <a:gd name="connsiteY6" fmla="*/ 6553841 h 6553841"/>
              <a:gd name="connsiteX0" fmla="*/ 4922142 w 7082552"/>
              <a:gd name="connsiteY0" fmla="*/ 6553841 h 6553841"/>
              <a:gd name="connsiteX1" fmla="*/ 4149455 w 7082552"/>
              <a:gd name="connsiteY1" fmla="*/ 6544959 h 6553841"/>
              <a:gd name="connsiteX2" fmla="*/ 117280 w 7082552"/>
              <a:gd name="connsiteY2" fmla="*/ 2442148 h 6553841"/>
              <a:gd name="connsiteX3" fmla="*/ 26246 w 7082552"/>
              <a:gd name="connsiteY3" fmla="*/ 2193494 h 6553841"/>
              <a:gd name="connsiteX4" fmla="*/ 7082552 w 7082552"/>
              <a:gd name="connsiteY4" fmla="*/ 0 h 6553841"/>
              <a:gd name="connsiteX5" fmla="*/ 7053687 w 7082552"/>
              <a:gd name="connsiteY5" fmla="*/ 3419009 h 6553841"/>
              <a:gd name="connsiteX6" fmla="*/ 4922142 w 7082552"/>
              <a:gd name="connsiteY6" fmla="*/ 6553841 h 6553841"/>
              <a:gd name="connsiteX0" fmla="*/ 4950971 w 7111381"/>
              <a:gd name="connsiteY0" fmla="*/ 6553841 h 6553841"/>
              <a:gd name="connsiteX1" fmla="*/ 4178284 w 7111381"/>
              <a:gd name="connsiteY1" fmla="*/ 6544959 h 6553841"/>
              <a:gd name="connsiteX2" fmla="*/ 146109 w 7111381"/>
              <a:gd name="connsiteY2" fmla="*/ 2442148 h 6553841"/>
              <a:gd name="connsiteX3" fmla="*/ 55075 w 7111381"/>
              <a:gd name="connsiteY3" fmla="*/ 2193494 h 6553841"/>
              <a:gd name="connsiteX4" fmla="*/ 7111381 w 7111381"/>
              <a:gd name="connsiteY4" fmla="*/ 0 h 6553841"/>
              <a:gd name="connsiteX5" fmla="*/ 7082516 w 7111381"/>
              <a:gd name="connsiteY5" fmla="*/ 3419009 h 6553841"/>
              <a:gd name="connsiteX6" fmla="*/ 4950971 w 7111381"/>
              <a:gd name="connsiteY6" fmla="*/ 6553841 h 6553841"/>
              <a:gd name="connsiteX0" fmla="*/ 4963653 w 7124063"/>
              <a:gd name="connsiteY0" fmla="*/ 6553841 h 6553841"/>
              <a:gd name="connsiteX1" fmla="*/ 4190966 w 7124063"/>
              <a:gd name="connsiteY1" fmla="*/ 6544959 h 6553841"/>
              <a:gd name="connsiteX2" fmla="*/ 158791 w 7124063"/>
              <a:gd name="connsiteY2" fmla="*/ 2442148 h 6553841"/>
              <a:gd name="connsiteX3" fmla="*/ 67757 w 7124063"/>
              <a:gd name="connsiteY3" fmla="*/ 2193494 h 6553841"/>
              <a:gd name="connsiteX4" fmla="*/ 7124063 w 7124063"/>
              <a:gd name="connsiteY4" fmla="*/ 0 h 6553841"/>
              <a:gd name="connsiteX5" fmla="*/ 7095198 w 7124063"/>
              <a:gd name="connsiteY5" fmla="*/ 3419009 h 6553841"/>
              <a:gd name="connsiteX6" fmla="*/ 4963653 w 7124063"/>
              <a:gd name="connsiteY6" fmla="*/ 6553841 h 6553841"/>
              <a:gd name="connsiteX0" fmla="*/ 4951680 w 7112090"/>
              <a:gd name="connsiteY0" fmla="*/ 6553841 h 6553841"/>
              <a:gd name="connsiteX1" fmla="*/ 4178993 w 7112090"/>
              <a:gd name="connsiteY1" fmla="*/ 6544959 h 6553841"/>
              <a:gd name="connsiteX2" fmla="*/ 146818 w 7112090"/>
              <a:gd name="connsiteY2" fmla="*/ 2442148 h 6553841"/>
              <a:gd name="connsiteX3" fmla="*/ 78234 w 7112090"/>
              <a:gd name="connsiteY3" fmla="*/ 2187080 h 6553841"/>
              <a:gd name="connsiteX4" fmla="*/ 7112090 w 7112090"/>
              <a:gd name="connsiteY4" fmla="*/ 0 h 6553841"/>
              <a:gd name="connsiteX5" fmla="*/ 7083225 w 7112090"/>
              <a:gd name="connsiteY5" fmla="*/ 3419009 h 6553841"/>
              <a:gd name="connsiteX6" fmla="*/ 4951680 w 7112090"/>
              <a:gd name="connsiteY6" fmla="*/ 6553841 h 6553841"/>
              <a:gd name="connsiteX0" fmla="*/ 4951680 w 7083225"/>
              <a:gd name="connsiteY0" fmla="*/ 6527921 h 6527921"/>
              <a:gd name="connsiteX1" fmla="*/ 4178993 w 7083225"/>
              <a:gd name="connsiteY1" fmla="*/ 6519039 h 6527921"/>
              <a:gd name="connsiteX2" fmla="*/ 146818 w 7083225"/>
              <a:gd name="connsiteY2" fmla="*/ 2416228 h 6527921"/>
              <a:gd name="connsiteX3" fmla="*/ 78234 w 7083225"/>
              <a:gd name="connsiteY3" fmla="*/ 2161160 h 6527921"/>
              <a:gd name="connsiteX4" fmla="*/ 7077534 w 7083225"/>
              <a:gd name="connsiteY4" fmla="*/ 0 h 6527921"/>
              <a:gd name="connsiteX5" fmla="*/ 7083225 w 7083225"/>
              <a:gd name="connsiteY5" fmla="*/ 3393089 h 6527921"/>
              <a:gd name="connsiteX6" fmla="*/ 4951680 w 7083225"/>
              <a:gd name="connsiteY6" fmla="*/ 6527921 h 6527921"/>
              <a:gd name="connsiteX0" fmla="*/ 4996130 w 7083225"/>
              <a:gd name="connsiteY0" fmla="*/ 6521571 h 6521571"/>
              <a:gd name="connsiteX1" fmla="*/ 4178993 w 7083225"/>
              <a:gd name="connsiteY1" fmla="*/ 6519039 h 6521571"/>
              <a:gd name="connsiteX2" fmla="*/ 146818 w 7083225"/>
              <a:gd name="connsiteY2" fmla="*/ 2416228 h 6521571"/>
              <a:gd name="connsiteX3" fmla="*/ 78234 w 7083225"/>
              <a:gd name="connsiteY3" fmla="*/ 2161160 h 6521571"/>
              <a:gd name="connsiteX4" fmla="*/ 7077534 w 7083225"/>
              <a:gd name="connsiteY4" fmla="*/ 0 h 6521571"/>
              <a:gd name="connsiteX5" fmla="*/ 7083225 w 7083225"/>
              <a:gd name="connsiteY5" fmla="*/ 3393089 h 6521571"/>
              <a:gd name="connsiteX6" fmla="*/ 4996130 w 7083225"/>
              <a:gd name="connsiteY6" fmla="*/ 6521571 h 6521571"/>
              <a:gd name="connsiteX0" fmla="*/ 4996130 w 7083225"/>
              <a:gd name="connsiteY0" fmla="*/ 6521571 h 6525389"/>
              <a:gd name="connsiteX1" fmla="*/ 4182168 w 7083225"/>
              <a:gd name="connsiteY1" fmla="*/ 6525389 h 6525389"/>
              <a:gd name="connsiteX2" fmla="*/ 146818 w 7083225"/>
              <a:gd name="connsiteY2" fmla="*/ 2416228 h 6525389"/>
              <a:gd name="connsiteX3" fmla="*/ 78234 w 7083225"/>
              <a:gd name="connsiteY3" fmla="*/ 2161160 h 6525389"/>
              <a:gd name="connsiteX4" fmla="*/ 7077534 w 7083225"/>
              <a:gd name="connsiteY4" fmla="*/ 0 h 6525389"/>
              <a:gd name="connsiteX5" fmla="*/ 7083225 w 7083225"/>
              <a:gd name="connsiteY5" fmla="*/ 3393089 h 6525389"/>
              <a:gd name="connsiteX6" fmla="*/ 4996130 w 7083225"/>
              <a:gd name="connsiteY6" fmla="*/ 6521571 h 6525389"/>
              <a:gd name="connsiteX0" fmla="*/ 4996130 w 7084961"/>
              <a:gd name="connsiteY0" fmla="*/ 6532712 h 6536530"/>
              <a:gd name="connsiteX1" fmla="*/ 4182168 w 7084961"/>
              <a:gd name="connsiteY1" fmla="*/ 6536530 h 6536530"/>
              <a:gd name="connsiteX2" fmla="*/ 146818 w 7084961"/>
              <a:gd name="connsiteY2" fmla="*/ 2427369 h 6536530"/>
              <a:gd name="connsiteX3" fmla="*/ 78234 w 7084961"/>
              <a:gd name="connsiteY3" fmla="*/ 2172301 h 6536530"/>
              <a:gd name="connsiteX4" fmla="*/ 7084961 w 7084961"/>
              <a:gd name="connsiteY4" fmla="*/ 0 h 6536530"/>
              <a:gd name="connsiteX5" fmla="*/ 7083225 w 7084961"/>
              <a:gd name="connsiteY5" fmla="*/ 3404230 h 6536530"/>
              <a:gd name="connsiteX6" fmla="*/ 4996130 w 7084961"/>
              <a:gd name="connsiteY6" fmla="*/ 6532712 h 6536530"/>
              <a:gd name="connsiteX0" fmla="*/ 5013784 w 7084961"/>
              <a:gd name="connsiteY0" fmla="*/ 6536242 h 6536530"/>
              <a:gd name="connsiteX1" fmla="*/ 4182168 w 7084961"/>
              <a:gd name="connsiteY1" fmla="*/ 6536530 h 6536530"/>
              <a:gd name="connsiteX2" fmla="*/ 146818 w 7084961"/>
              <a:gd name="connsiteY2" fmla="*/ 2427369 h 6536530"/>
              <a:gd name="connsiteX3" fmla="*/ 78234 w 7084961"/>
              <a:gd name="connsiteY3" fmla="*/ 2172301 h 6536530"/>
              <a:gd name="connsiteX4" fmla="*/ 7084961 w 7084961"/>
              <a:gd name="connsiteY4" fmla="*/ 0 h 6536530"/>
              <a:gd name="connsiteX5" fmla="*/ 7083225 w 7084961"/>
              <a:gd name="connsiteY5" fmla="*/ 3404230 h 6536530"/>
              <a:gd name="connsiteX6" fmla="*/ 5013784 w 7084961"/>
              <a:gd name="connsiteY6" fmla="*/ 6536242 h 6536530"/>
              <a:gd name="connsiteX0" fmla="*/ 5013784 w 7084961"/>
              <a:gd name="connsiteY0" fmla="*/ 6536242 h 6547121"/>
              <a:gd name="connsiteX1" fmla="*/ 4185699 w 7084961"/>
              <a:gd name="connsiteY1" fmla="*/ 6547121 h 6547121"/>
              <a:gd name="connsiteX2" fmla="*/ 146818 w 7084961"/>
              <a:gd name="connsiteY2" fmla="*/ 2427369 h 6547121"/>
              <a:gd name="connsiteX3" fmla="*/ 78234 w 7084961"/>
              <a:gd name="connsiteY3" fmla="*/ 2172301 h 6547121"/>
              <a:gd name="connsiteX4" fmla="*/ 7084961 w 7084961"/>
              <a:gd name="connsiteY4" fmla="*/ 0 h 6547121"/>
              <a:gd name="connsiteX5" fmla="*/ 7083225 w 7084961"/>
              <a:gd name="connsiteY5" fmla="*/ 3404230 h 6547121"/>
              <a:gd name="connsiteX6" fmla="*/ 5013784 w 7084961"/>
              <a:gd name="connsiteY6" fmla="*/ 6536242 h 6547121"/>
              <a:gd name="connsiteX0" fmla="*/ 5013784 w 7086830"/>
              <a:gd name="connsiteY0" fmla="*/ 6536242 h 6547121"/>
              <a:gd name="connsiteX1" fmla="*/ 4185699 w 7086830"/>
              <a:gd name="connsiteY1" fmla="*/ 6547121 h 6547121"/>
              <a:gd name="connsiteX2" fmla="*/ 146818 w 7086830"/>
              <a:gd name="connsiteY2" fmla="*/ 2427369 h 6547121"/>
              <a:gd name="connsiteX3" fmla="*/ 78234 w 7086830"/>
              <a:gd name="connsiteY3" fmla="*/ 2172301 h 6547121"/>
              <a:gd name="connsiteX4" fmla="*/ 7084961 w 7086830"/>
              <a:gd name="connsiteY4" fmla="*/ 0 h 6547121"/>
              <a:gd name="connsiteX5" fmla="*/ 7086755 w 7086830"/>
              <a:gd name="connsiteY5" fmla="*/ 3425413 h 6547121"/>
              <a:gd name="connsiteX6" fmla="*/ 5013784 w 7086830"/>
              <a:gd name="connsiteY6" fmla="*/ 6536242 h 6547121"/>
              <a:gd name="connsiteX0" fmla="*/ 5013784 w 7099083"/>
              <a:gd name="connsiteY0" fmla="*/ 6543303 h 6554182"/>
              <a:gd name="connsiteX1" fmla="*/ 4185699 w 7099083"/>
              <a:gd name="connsiteY1" fmla="*/ 6554182 h 6554182"/>
              <a:gd name="connsiteX2" fmla="*/ 146818 w 7099083"/>
              <a:gd name="connsiteY2" fmla="*/ 2434430 h 6554182"/>
              <a:gd name="connsiteX3" fmla="*/ 78234 w 7099083"/>
              <a:gd name="connsiteY3" fmla="*/ 2179362 h 6554182"/>
              <a:gd name="connsiteX4" fmla="*/ 7099083 w 7099083"/>
              <a:gd name="connsiteY4" fmla="*/ 0 h 6554182"/>
              <a:gd name="connsiteX5" fmla="*/ 7086755 w 7099083"/>
              <a:gd name="connsiteY5" fmla="*/ 3432474 h 6554182"/>
              <a:gd name="connsiteX6" fmla="*/ 5013784 w 7099083"/>
              <a:gd name="connsiteY6" fmla="*/ 6543303 h 6554182"/>
              <a:gd name="connsiteX0" fmla="*/ 4996305 w 7081604"/>
              <a:gd name="connsiteY0" fmla="*/ 6543303 h 6554182"/>
              <a:gd name="connsiteX1" fmla="*/ 4168220 w 7081604"/>
              <a:gd name="connsiteY1" fmla="*/ 6554182 h 6554182"/>
              <a:gd name="connsiteX2" fmla="*/ 129339 w 7081604"/>
              <a:gd name="connsiteY2" fmla="*/ 2434430 h 6554182"/>
              <a:gd name="connsiteX3" fmla="*/ 98856 w 7081604"/>
              <a:gd name="connsiteY3" fmla="*/ 2169837 h 6554182"/>
              <a:gd name="connsiteX4" fmla="*/ 7081604 w 7081604"/>
              <a:gd name="connsiteY4" fmla="*/ 0 h 6554182"/>
              <a:gd name="connsiteX5" fmla="*/ 7069276 w 7081604"/>
              <a:gd name="connsiteY5" fmla="*/ 3432474 h 6554182"/>
              <a:gd name="connsiteX6" fmla="*/ 4996305 w 7081604"/>
              <a:gd name="connsiteY6" fmla="*/ 6543303 h 6554182"/>
              <a:gd name="connsiteX0" fmla="*/ 4989581 w 7081604"/>
              <a:gd name="connsiteY0" fmla="*/ 6553388 h 6554182"/>
              <a:gd name="connsiteX1" fmla="*/ 4168220 w 7081604"/>
              <a:gd name="connsiteY1" fmla="*/ 6554182 h 6554182"/>
              <a:gd name="connsiteX2" fmla="*/ 129339 w 7081604"/>
              <a:gd name="connsiteY2" fmla="*/ 2434430 h 6554182"/>
              <a:gd name="connsiteX3" fmla="*/ 98856 w 7081604"/>
              <a:gd name="connsiteY3" fmla="*/ 2169837 h 6554182"/>
              <a:gd name="connsiteX4" fmla="*/ 7081604 w 7081604"/>
              <a:gd name="connsiteY4" fmla="*/ 0 h 6554182"/>
              <a:gd name="connsiteX5" fmla="*/ 7069276 w 7081604"/>
              <a:gd name="connsiteY5" fmla="*/ 3432474 h 6554182"/>
              <a:gd name="connsiteX6" fmla="*/ 4989581 w 7081604"/>
              <a:gd name="connsiteY6" fmla="*/ 6553388 h 6554182"/>
              <a:gd name="connsiteX0" fmla="*/ 5006391 w 7081604"/>
              <a:gd name="connsiteY0" fmla="*/ 6556750 h 6556750"/>
              <a:gd name="connsiteX1" fmla="*/ 4168220 w 7081604"/>
              <a:gd name="connsiteY1" fmla="*/ 6554182 h 6556750"/>
              <a:gd name="connsiteX2" fmla="*/ 129339 w 7081604"/>
              <a:gd name="connsiteY2" fmla="*/ 2434430 h 6556750"/>
              <a:gd name="connsiteX3" fmla="*/ 98856 w 7081604"/>
              <a:gd name="connsiteY3" fmla="*/ 2169837 h 6556750"/>
              <a:gd name="connsiteX4" fmla="*/ 7081604 w 7081604"/>
              <a:gd name="connsiteY4" fmla="*/ 0 h 6556750"/>
              <a:gd name="connsiteX5" fmla="*/ 7069276 w 7081604"/>
              <a:gd name="connsiteY5" fmla="*/ 3432474 h 6556750"/>
              <a:gd name="connsiteX6" fmla="*/ 5006391 w 7081604"/>
              <a:gd name="connsiteY6" fmla="*/ 6556750 h 6556750"/>
              <a:gd name="connsiteX0" fmla="*/ 5006391 w 7092829"/>
              <a:gd name="connsiteY0" fmla="*/ 6556750 h 6556750"/>
              <a:gd name="connsiteX1" fmla="*/ 4168220 w 7092829"/>
              <a:gd name="connsiteY1" fmla="*/ 6554182 h 6556750"/>
              <a:gd name="connsiteX2" fmla="*/ 129339 w 7092829"/>
              <a:gd name="connsiteY2" fmla="*/ 2434430 h 6556750"/>
              <a:gd name="connsiteX3" fmla="*/ 98856 w 7092829"/>
              <a:gd name="connsiteY3" fmla="*/ 2169837 h 6556750"/>
              <a:gd name="connsiteX4" fmla="*/ 7081604 w 7092829"/>
              <a:gd name="connsiteY4" fmla="*/ 0 h 6556750"/>
              <a:gd name="connsiteX5" fmla="*/ 7092810 w 7092829"/>
              <a:gd name="connsiteY5" fmla="*/ 3405580 h 6556750"/>
              <a:gd name="connsiteX6" fmla="*/ 5006391 w 7092829"/>
              <a:gd name="connsiteY6" fmla="*/ 6556750 h 6556750"/>
              <a:gd name="connsiteX0" fmla="*/ 5006391 w 7095052"/>
              <a:gd name="connsiteY0" fmla="*/ 6560112 h 6560112"/>
              <a:gd name="connsiteX1" fmla="*/ 4168220 w 7095052"/>
              <a:gd name="connsiteY1" fmla="*/ 6557544 h 6560112"/>
              <a:gd name="connsiteX2" fmla="*/ 129339 w 7095052"/>
              <a:gd name="connsiteY2" fmla="*/ 2437792 h 6560112"/>
              <a:gd name="connsiteX3" fmla="*/ 98856 w 7095052"/>
              <a:gd name="connsiteY3" fmla="*/ 2173199 h 6560112"/>
              <a:gd name="connsiteX4" fmla="*/ 7095052 w 7095052"/>
              <a:gd name="connsiteY4" fmla="*/ 0 h 6560112"/>
              <a:gd name="connsiteX5" fmla="*/ 7092810 w 7095052"/>
              <a:gd name="connsiteY5" fmla="*/ 3408942 h 6560112"/>
              <a:gd name="connsiteX6" fmla="*/ 5006391 w 7095052"/>
              <a:gd name="connsiteY6" fmla="*/ 6560112 h 6560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5052" h="6560112">
                <a:moveTo>
                  <a:pt x="5006391" y="6560112"/>
                </a:moveTo>
                <a:lnTo>
                  <a:pt x="4168220" y="6557544"/>
                </a:lnTo>
                <a:lnTo>
                  <a:pt x="129339" y="2437792"/>
                </a:lnTo>
                <a:cubicBezTo>
                  <a:pt x="-87432" y="2226747"/>
                  <a:pt x="15569" y="2212951"/>
                  <a:pt x="98856" y="2173199"/>
                </a:cubicBezTo>
                <a:lnTo>
                  <a:pt x="7095052" y="0"/>
                </a:lnTo>
                <a:cubicBezTo>
                  <a:pt x="7094473" y="1134743"/>
                  <a:pt x="7093389" y="2274199"/>
                  <a:pt x="7092810" y="3408942"/>
                </a:cubicBezTo>
                <a:lnTo>
                  <a:pt x="5006391" y="6560112"/>
                </a:lnTo>
                <a:close/>
              </a:path>
            </a:pathLst>
          </a:custGeom>
          <a:blipFill dpi="0" rotWithShape="1">
            <a:blip r:embed="rId2" cstate="print">
              <a:extLst>
                <a:ext uri="{28A0092B-C50C-407E-A947-70E740481C1C}">
                  <a14:useLocalDpi xmlns:a14="http://schemas.microsoft.com/office/drawing/2010/main"/>
                </a:ext>
              </a:extLst>
            </a:blip>
            <a:srcRect/>
            <a:stretch>
              <a:fillRect t="33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a:p>
        </p:txBody>
      </p:sp>
      <p:sp>
        <p:nvSpPr>
          <p:cNvPr id="7" name="TextBox 6">
            <a:extLst>
              <a:ext uri="{FF2B5EF4-FFF2-40B4-BE49-F238E27FC236}">
                <a16:creationId xmlns:a16="http://schemas.microsoft.com/office/drawing/2014/main" id="{114F817D-90FB-6045-A70C-067AF3C409A9}"/>
              </a:ext>
            </a:extLst>
          </p:cNvPr>
          <p:cNvSpPr txBox="1"/>
          <p:nvPr/>
        </p:nvSpPr>
        <p:spPr>
          <a:xfrm>
            <a:off x="-1170000" y="2440557"/>
            <a:ext cx="1052488" cy="1785104"/>
          </a:xfrm>
          <a:prstGeom prst="rect">
            <a:avLst/>
          </a:prstGeom>
          <a:solidFill>
            <a:schemeClr val="bg1"/>
          </a:solidFill>
        </p:spPr>
        <p:txBody>
          <a:bodyPr wrap="square" rtlCol="0">
            <a:spAutoFit/>
          </a:bodyPr>
          <a:lstStyle/>
          <a:p>
            <a:pPr algn="l"/>
            <a:r>
              <a:rPr lang="en-US" sz="1000">
                <a:solidFill>
                  <a:srgbClr val="333D47"/>
                </a:solidFill>
                <a:latin typeface="Arial" panose="020B0604020202020204" pitchFamily="34" charset="0"/>
                <a:cs typeface="Arial" panose="020B0604020202020204" pitchFamily="34" charset="0"/>
              </a:rPr>
              <a:t>The image can be replaced here and master view</a:t>
            </a:r>
          </a:p>
          <a:p>
            <a:pPr algn="l"/>
            <a:endParaRPr lang="en-US" sz="1000">
              <a:solidFill>
                <a:srgbClr val="333D47"/>
              </a:solidFill>
              <a:latin typeface="Arial" panose="020B0604020202020204" pitchFamily="34" charset="0"/>
              <a:cs typeface="Arial" panose="020B0604020202020204" pitchFamily="34" charset="0"/>
            </a:endParaRPr>
          </a:p>
          <a:p>
            <a:pPr algn="l"/>
            <a:r>
              <a:rPr lang="en-GB" sz="1000">
                <a:latin typeface="Helvetica Neue" panose="02000503000000020004" pitchFamily="2" charset="0"/>
              </a:rPr>
              <a:t>Please </a:t>
            </a:r>
            <a:r>
              <a:rPr lang="en-GB" sz="1000" b="1">
                <a:latin typeface="Helvetica Neue" panose="02000503000000020004" pitchFamily="2" charset="0"/>
              </a:rPr>
              <a:t>do not </a:t>
            </a:r>
            <a:r>
              <a:rPr lang="en-GB" sz="1000">
                <a:latin typeface="Helvetica Neue" panose="02000503000000020004" pitchFamily="2" charset="0"/>
              </a:rPr>
              <a:t>use any internal photo competition participants’ images</a:t>
            </a:r>
            <a:endParaRPr lang="en-US" sz="1000">
              <a:solidFill>
                <a:srgbClr val="333D47"/>
              </a:solidFill>
            </a:endParaRPr>
          </a:p>
        </p:txBody>
      </p:sp>
    </p:spTree>
    <p:extLst>
      <p:ext uri="{BB962C8B-B14F-4D97-AF65-F5344CB8AC3E}">
        <p14:creationId xmlns:p14="http://schemas.microsoft.com/office/powerpoint/2010/main" val="34770538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1A5CC-13EB-4374-9CD4-A7E22E68F1C8}"/>
              </a:ext>
            </a:extLst>
          </p:cNvPr>
          <p:cNvSpPr>
            <a:spLocks noGrp="1"/>
          </p:cNvSpPr>
          <p:nvPr>
            <p:ph type="title"/>
          </p:nvPr>
        </p:nvSpPr>
        <p:spPr/>
        <p:txBody>
          <a:bodyPr/>
          <a:lstStyle/>
          <a:p>
            <a:r>
              <a:rPr lang="en-US"/>
              <a:t>Click to edit Master title style</a:t>
            </a:r>
            <a:endParaRPr lang="en-MY"/>
          </a:p>
        </p:txBody>
      </p:sp>
      <p:sp>
        <p:nvSpPr>
          <p:cNvPr id="3" name="Date Placeholder 2">
            <a:extLst>
              <a:ext uri="{FF2B5EF4-FFF2-40B4-BE49-F238E27FC236}">
                <a16:creationId xmlns:a16="http://schemas.microsoft.com/office/drawing/2014/main" id="{9D108620-710E-448B-A437-F448B5052C3C}"/>
              </a:ext>
            </a:extLst>
          </p:cNvPr>
          <p:cNvSpPr>
            <a:spLocks noGrp="1"/>
          </p:cNvSpPr>
          <p:nvPr>
            <p:ph type="dt" sz="half" idx="10"/>
          </p:nvPr>
        </p:nvSpPr>
        <p:spPr/>
        <p:txBody>
          <a:bodyPr/>
          <a:lstStyle/>
          <a:p>
            <a:fld id="{B18BCF01-039F-4BDF-B89B-B6FF0EE4644C}" type="datetimeFigureOut">
              <a:rPr lang="en-MY" smtClean="0"/>
              <a:t>23/9/2021</a:t>
            </a:fld>
            <a:endParaRPr lang="en-MY"/>
          </a:p>
        </p:txBody>
      </p:sp>
      <p:sp>
        <p:nvSpPr>
          <p:cNvPr id="4" name="Footer Placeholder 3">
            <a:extLst>
              <a:ext uri="{FF2B5EF4-FFF2-40B4-BE49-F238E27FC236}">
                <a16:creationId xmlns:a16="http://schemas.microsoft.com/office/drawing/2014/main" id="{E9632DA7-9F73-4199-AAC5-A502B08D41DA}"/>
              </a:ext>
            </a:extLst>
          </p:cNvPr>
          <p:cNvSpPr>
            <a:spLocks noGrp="1"/>
          </p:cNvSpPr>
          <p:nvPr>
            <p:ph type="ftr" sz="quarter" idx="11"/>
          </p:nvPr>
        </p:nvSpPr>
        <p:spPr/>
        <p:txBody>
          <a:bodyPr/>
          <a:lstStyle/>
          <a:p>
            <a:endParaRPr lang="en-MY"/>
          </a:p>
        </p:txBody>
      </p:sp>
      <p:sp>
        <p:nvSpPr>
          <p:cNvPr id="5" name="Slide Number Placeholder 4">
            <a:extLst>
              <a:ext uri="{FF2B5EF4-FFF2-40B4-BE49-F238E27FC236}">
                <a16:creationId xmlns:a16="http://schemas.microsoft.com/office/drawing/2014/main" id="{69F04400-C566-4E7D-84BA-2CED747FDC47}"/>
              </a:ext>
            </a:extLst>
          </p:cNvPr>
          <p:cNvSpPr>
            <a:spLocks noGrp="1"/>
          </p:cNvSpPr>
          <p:nvPr>
            <p:ph type="sldNum" sz="quarter" idx="12"/>
          </p:nvPr>
        </p:nvSpPr>
        <p:spPr/>
        <p:txBody>
          <a:bodyPr/>
          <a:lstStyle/>
          <a:p>
            <a:fld id="{52BD4378-72E1-444F-8B73-E4C8D03E6D72}" type="slidenum">
              <a:rPr lang="en-MY" smtClean="0"/>
              <a:t>‹#›</a:t>
            </a:fld>
            <a:endParaRPr lang="en-MY"/>
          </a:p>
        </p:txBody>
      </p:sp>
    </p:spTree>
    <p:extLst>
      <p:ext uri="{BB962C8B-B14F-4D97-AF65-F5344CB8AC3E}">
        <p14:creationId xmlns:p14="http://schemas.microsoft.com/office/powerpoint/2010/main" val="4105126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A36AA2C-3EE0-4A5C-8153-F42948E061FD}"/>
              </a:ext>
            </a:extLst>
          </p:cNvPr>
          <p:cNvSpPr>
            <a:spLocks noGrp="1"/>
          </p:cNvSpPr>
          <p:nvPr>
            <p:ph type="dt" sz="half" idx="10"/>
          </p:nvPr>
        </p:nvSpPr>
        <p:spPr/>
        <p:txBody>
          <a:bodyPr/>
          <a:lstStyle/>
          <a:p>
            <a:fld id="{B18BCF01-039F-4BDF-B89B-B6FF0EE4644C}" type="datetimeFigureOut">
              <a:rPr lang="en-MY" smtClean="0"/>
              <a:t>23/9/2021</a:t>
            </a:fld>
            <a:endParaRPr lang="en-MY"/>
          </a:p>
        </p:txBody>
      </p:sp>
      <p:sp>
        <p:nvSpPr>
          <p:cNvPr id="3" name="Footer Placeholder 2">
            <a:extLst>
              <a:ext uri="{FF2B5EF4-FFF2-40B4-BE49-F238E27FC236}">
                <a16:creationId xmlns:a16="http://schemas.microsoft.com/office/drawing/2014/main" id="{6D600CB7-DDA0-45DE-B524-EF0AAFC6994A}"/>
              </a:ext>
            </a:extLst>
          </p:cNvPr>
          <p:cNvSpPr>
            <a:spLocks noGrp="1"/>
          </p:cNvSpPr>
          <p:nvPr>
            <p:ph type="ftr" sz="quarter" idx="11"/>
          </p:nvPr>
        </p:nvSpPr>
        <p:spPr/>
        <p:txBody>
          <a:bodyPr/>
          <a:lstStyle/>
          <a:p>
            <a:endParaRPr lang="en-MY"/>
          </a:p>
        </p:txBody>
      </p:sp>
      <p:sp>
        <p:nvSpPr>
          <p:cNvPr id="4" name="Slide Number Placeholder 3">
            <a:extLst>
              <a:ext uri="{FF2B5EF4-FFF2-40B4-BE49-F238E27FC236}">
                <a16:creationId xmlns:a16="http://schemas.microsoft.com/office/drawing/2014/main" id="{D4669BBE-75AA-458B-AAE1-41F1AA48D306}"/>
              </a:ext>
            </a:extLst>
          </p:cNvPr>
          <p:cNvSpPr>
            <a:spLocks noGrp="1"/>
          </p:cNvSpPr>
          <p:nvPr>
            <p:ph type="sldNum" sz="quarter" idx="12"/>
          </p:nvPr>
        </p:nvSpPr>
        <p:spPr/>
        <p:txBody>
          <a:bodyPr/>
          <a:lstStyle/>
          <a:p>
            <a:fld id="{52BD4378-72E1-444F-8B73-E4C8D03E6D72}" type="slidenum">
              <a:rPr lang="en-MY" smtClean="0"/>
              <a:t>‹#›</a:t>
            </a:fld>
            <a:endParaRPr lang="en-MY"/>
          </a:p>
        </p:txBody>
      </p:sp>
    </p:spTree>
    <p:extLst>
      <p:ext uri="{BB962C8B-B14F-4D97-AF65-F5344CB8AC3E}">
        <p14:creationId xmlns:p14="http://schemas.microsoft.com/office/powerpoint/2010/main" val="33557088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pic>
        <p:nvPicPr>
          <p:cNvPr id="4" name="Picture 90">
            <a:extLst>
              <a:ext uri="{FF2B5EF4-FFF2-40B4-BE49-F238E27FC236}">
                <a16:creationId xmlns:a16="http://schemas.microsoft.com/office/drawing/2014/main" id="{5FF31DB9-58C4-4686-94C5-17ED00C247E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593513" y="6227763"/>
            <a:ext cx="385762"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91">
            <a:extLst>
              <a:ext uri="{FF2B5EF4-FFF2-40B4-BE49-F238E27FC236}">
                <a16:creationId xmlns:a16="http://schemas.microsoft.com/office/drawing/2014/main" id="{CF6CF07A-7763-48F0-B3AA-D59C389258C6}"/>
              </a:ext>
            </a:extLst>
          </p:cNvPr>
          <p:cNvSpPr txBox="1">
            <a:spLocks noChangeArrowheads="1"/>
          </p:cNvSpPr>
          <p:nvPr userDrawn="1"/>
        </p:nvSpPr>
        <p:spPr bwMode="auto">
          <a:xfrm>
            <a:off x="358775" y="6492875"/>
            <a:ext cx="660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900">
                <a:solidFill>
                  <a:srgbClr val="7F7F7F"/>
                </a:solidFill>
                <a:latin typeface="Arial" panose="020B0604020202020204" pitchFamily="34" charset="0"/>
                <a:ea typeface="MS PGothic" panose="020B0600070205080204" pitchFamily="34" charset="-128"/>
                <a:cs typeface="Arial" panose="020B0604020202020204" pitchFamily="34" charset="0"/>
              </a:rPr>
              <a:t>AIA confidential and proprietary information. Not for distribution. </a:t>
            </a:r>
          </a:p>
        </p:txBody>
      </p:sp>
      <p:cxnSp>
        <p:nvCxnSpPr>
          <p:cNvPr id="6" name="Straight Connector 5">
            <a:extLst>
              <a:ext uri="{FF2B5EF4-FFF2-40B4-BE49-F238E27FC236}">
                <a16:creationId xmlns:a16="http://schemas.microsoft.com/office/drawing/2014/main" id="{25B9CFDF-9EAE-40AC-87E3-271A0DD89037}"/>
              </a:ext>
            </a:extLst>
          </p:cNvPr>
          <p:cNvCxnSpPr>
            <a:cxnSpLocks/>
          </p:cNvCxnSpPr>
          <p:nvPr userDrawn="1"/>
        </p:nvCxnSpPr>
        <p:spPr>
          <a:xfrm>
            <a:off x="0" y="6435725"/>
            <a:ext cx="11355388" cy="0"/>
          </a:xfrm>
          <a:prstGeom prst="line">
            <a:avLst/>
          </a:prstGeom>
          <a:ln w="12700">
            <a:solidFill>
              <a:srgbClr val="585858"/>
            </a:solidFill>
          </a:ln>
        </p:spPr>
        <p:style>
          <a:lnRef idx="1">
            <a:schemeClr val="accent1"/>
          </a:lnRef>
          <a:fillRef idx="0">
            <a:schemeClr val="accent1"/>
          </a:fillRef>
          <a:effectRef idx="0">
            <a:schemeClr val="accent1"/>
          </a:effectRef>
          <a:fontRef idx="minor">
            <a:schemeClr val="tx1"/>
          </a:fontRef>
        </p:style>
      </p:cxnSp>
      <p:sp>
        <p:nvSpPr>
          <p:cNvPr id="7" name="TextBox 93">
            <a:extLst>
              <a:ext uri="{FF2B5EF4-FFF2-40B4-BE49-F238E27FC236}">
                <a16:creationId xmlns:a16="http://schemas.microsoft.com/office/drawing/2014/main" id="{DFBEAA37-1C78-4758-9B84-8E6A02589ABD}"/>
              </a:ext>
            </a:extLst>
          </p:cNvPr>
          <p:cNvSpPr txBox="1">
            <a:spLocks noChangeArrowheads="1"/>
          </p:cNvSpPr>
          <p:nvPr userDrawn="1"/>
        </p:nvSpPr>
        <p:spPr bwMode="auto">
          <a:xfrm>
            <a:off x="7426325" y="6508750"/>
            <a:ext cx="3944938"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fld id="{95352E12-35A0-49B2-8A49-235B88EE05E4}" type="slidenum">
              <a:rPr lang="en-US" altLang="en-US" sz="1000">
                <a:solidFill>
                  <a:srgbClr val="595959"/>
                </a:solidFill>
                <a:latin typeface="Arial" panose="020B0604020202020204" pitchFamily="34" charset="0"/>
                <a:cs typeface="Arial" panose="020B0604020202020204" pitchFamily="34" charset="0"/>
              </a:rPr>
              <a:pPr algn="r" eaLnBrk="1" hangingPunct="1"/>
              <a:t>‹#›</a:t>
            </a:fld>
            <a:endParaRPr lang="en-US" altLang="en-US" sz="1000">
              <a:solidFill>
                <a:srgbClr val="595959"/>
              </a:solidFill>
              <a:latin typeface="Arial" panose="020B0604020202020204" pitchFamily="34" charset="0"/>
              <a:cs typeface="Arial" panose="020B0604020202020204" pitchFamily="34" charset="0"/>
            </a:endParaRPr>
          </a:p>
        </p:txBody>
      </p:sp>
      <p:sp>
        <p:nvSpPr>
          <p:cNvPr id="13" name="Text Placeholder 12">
            <a:extLst>
              <a:ext uri="{FF2B5EF4-FFF2-40B4-BE49-F238E27FC236}">
                <a16:creationId xmlns:a16="http://schemas.microsoft.com/office/drawing/2014/main" id="{FB39D6F7-7364-5042-AA40-2DF56C72FF4A}"/>
              </a:ext>
            </a:extLst>
          </p:cNvPr>
          <p:cNvSpPr>
            <a:spLocks noGrp="1"/>
          </p:cNvSpPr>
          <p:nvPr>
            <p:ph type="body" sz="quarter" idx="10"/>
          </p:nvPr>
        </p:nvSpPr>
        <p:spPr>
          <a:xfrm>
            <a:off x="457199" y="1096962"/>
            <a:ext cx="10897565" cy="5083918"/>
          </a:xfrm>
          <a:prstGeom prst="rect">
            <a:avLst/>
          </a:prstGeom>
        </p:spPr>
        <p:txBody>
          <a:bodyPr lIns="0" tIns="0" rIns="0" bIns="0" anchor="t"/>
          <a:lstStyle>
            <a:lvl1pPr>
              <a:lnSpc>
                <a:spcPct val="125000"/>
              </a:lnSpc>
              <a:defRPr sz="1400">
                <a:solidFill>
                  <a:srgbClr val="585858"/>
                </a:solidFill>
              </a:defRPr>
            </a:lvl1pPr>
            <a:lvl2pPr marL="457200" indent="0">
              <a:buNone/>
              <a:defRPr/>
            </a:lvl2pPr>
          </a:lstStyle>
          <a:p>
            <a:pPr lvl="0"/>
            <a:r>
              <a:rPr lang="en-US"/>
              <a:t>Click to edit Master text styles</a:t>
            </a:r>
          </a:p>
        </p:txBody>
      </p:sp>
      <p:sp>
        <p:nvSpPr>
          <p:cNvPr id="17" name="Text Placeholder 16">
            <a:extLst>
              <a:ext uri="{FF2B5EF4-FFF2-40B4-BE49-F238E27FC236}">
                <a16:creationId xmlns:a16="http://schemas.microsoft.com/office/drawing/2014/main" id="{1C887C4D-4D8E-5941-88BE-BECE9C947E6F}"/>
              </a:ext>
            </a:extLst>
          </p:cNvPr>
          <p:cNvSpPr>
            <a:spLocks noGrp="1"/>
          </p:cNvSpPr>
          <p:nvPr>
            <p:ph type="body" sz="quarter" idx="11"/>
          </p:nvPr>
        </p:nvSpPr>
        <p:spPr>
          <a:xfrm>
            <a:off x="457198" y="108000"/>
            <a:ext cx="10897566" cy="758577"/>
          </a:xfrm>
          <a:prstGeom prst="rect">
            <a:avLst/>
          </a:prstGeom>
        </p:spPr>
        <p:txBody>
          <a:bodyPr lIns="0" tIns="0" rIns="0" bIns="0" anchor="ctr"/>
          <a:lstStyle>
            <a:lvl1pPr>
              <a:lnSpc>
                <a:spcPts val="2400"/>
              </a:lnSpc>
              <a:defRPr sz="2400" b="1">
                <a:solidFill>
                  <a:schemeClr val="tx1">
                    <a:lumMod val="75000"/>
                    <a:lumOff val="25000"/>
                  </a:schemeClr>
                </a:solidFill>
              </a:defRPr>
            </a:lvl1pPr>
          </a:lstStyle>
          <a:p>
            <a:pPr lvl="0"/>
            <a:r>
              <a:rPr lang="en-US"/>
              <a:t>Click to edit Master text styles</a:t>
            </a:r>
          </a:p>
        </p:txBody>
      </p:sp>
    </p:spTree>
    <p:extLst>
      <p:ext uri="{BB962C8B-B14F-4D97-AF65-F5344CB8AC3E}">
        <p14:creationId xmlns:p14="http://schemas.microsoft.com/office/powerpoint/2010/main" val="32974887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IA_TitleSlidePlai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63DE312-0E56-1747-B671-3F457AA8D765}"/>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ubtitle 2">
            <a:extLst>
              <a:ext uri="{FF2B5EF4-FFF2-40B4-BE49-F238E27FC236}">
                <a16:creationId xmlns:a16="http://schemas.microsoft.com/office/drawing/2014/main" id="{5FAC4E2A-F096-5540-918E-6F520E475C7C}"/>
              </a:ext>
            </a:extLst>
          </p:cNvPr>
          <p:cNvSpPr>
            <a:spLocks noGrp="1"/>
          </p:cNvSpPr>
          <p:nvPr>
            <p:ph type="subTitle" idx="1" hasCustomPrompt="1"/>
          </p:nvPr>
        </p:nvSpPr>
        <p:spPr>
          <a:xfrm>
            <a:off x="360000" y="3601225"/>
            <a:ext cx="5080000" cy="358775"/>
          </a:xfrm>
          <a:prstGeom prst="rect">
            <a:avLst/>
          </a:prstGeom>
        </p:spPr>
        <p:txBody>
          <a:bodyPr>
            <a:noAutofit/>
          </a:bodyPr>
          <a:lstStyle>
            <a:lvl1pPr marL="0" indent="0" algn="l">
              <a:lnSpc>
                <a:spcPct val="100000"/>
              </a:lnSpc>
              <a:spcBef>
                <a:spcPts val="600"/>
              </a:spcBef>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date</a:t>
            </a:r>
          </a:p>
        </p:txBody>
      </p:sp>
      <p:sp>
        <p:nvSpPr>
          <p:cNvPr id="13" name="Text Placeholder 11">
            <a:extLst>
              <a:ext uri="{FF2B5EF4-FFF2-40B4-BE49-F238E27FC236}">
                <a16:creationId xmlns:a16="http://schemas.microsoft.com/office/drawing/2014/main" id="{0DD8F76D-7AD6-444B-9E55-80A650B42CD1}"/>
              </a:ext>
            </a:extLst>
          </p:cNvPr>
          <p:cNvSpPr>
            <a:spLocks noGrp="1"/>
          </p:cNvSpPr>
          <p:nvPr>
            <p:ph type="body" sz="quarter" idx="10" hasCustomPrompt="1"/>
          </p:nvPr>
        </p:nvSpPr>
        <p:spPr>
          <a:xfrm>
            <a:off x="360000" y="2160000"/>
            <a:ext cx="5400000" cy="1269000"/>
          </a:xfrm>
          <a:prstGeom prst="rect">
            <a:avLst/>
          </a:prstGeom>
          <a:noFill/>
        </p:spPr>
        <p:txBody>
          <a:bodyPr>
            <a:noAutofit/>
          </a:bodyPr>
          <a:lstStyle>
            <a:lvl1pPr>
              <a:lnSpc>
                <a:spcPct val="80000"/>
              </a:lnSpc>
              <a:defRPr sz="4800">
                <a:solidFill>
                  <a:schemeClr val="bg1"/>
                </a:solidFill>
              </a:defRPr>
            </a:lvl1pPr>
            <a:lvl2pPr marL="457200" indent="0">
              <a:buNone/>
              <a:defRPr/>
            </a:lvl2pPr>
          </a:lstStyle>
          <a:p>
            <a:pPr lvl="0"/>
            <a:r>
              <a:rPr lang="en-US"/>
              <a:t>Title of Presentation</a:t>
            </a:r>
          </a:p>
        </p:txBody>
      </p:sp>
      <p:sp>
        <p:nvSpPr>
          <p:cNvPr id="8" name="TextBox 7">
            <a:extLst>
              <a:ext uri="{FF2B5EF4-FFF2-40B4-BE49-F238E27FC236}">
                <a16:creationId xmlns:a16="http://schemas.microsoft.com/office/drawing/2014/main" id="{C005E6EB-133C-4C47-A11D-54E804FE9C2F}"/>
              </a:ext>
            </a:extLst>
          </p:cNvPr>
          <p:cNvSpPr txBox="1"/>
          <p:nvPr/>
        </p:nvSpPr>
        <p:spPr>
          <a:xfrm>
            <a:off x="360000" y="6336000"/>
            <a:ext cx="5400000" cy="216000"/>
          </a:xfrm>
          <a:prstGeom prst="rect">
            <a:avLst/>
          </a:prstGeom>
          <a:noFill/>
        </p:spPr>
        <p:txBody>
          <a:bodyPr wrap="square" lIns="90000" rtlCol="0" anchor="ctr" anchorCtr="0">
            <a:spAutoFit/>
          </a:bodyPr>
          <a:lstStyle/>
          <a:p>
            <a:r>
              <a:rPr lang="en-GB" sz="800" b="0" i="0">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endParaRPr lang="en-US" sz="800" b="0" i="0">
              <a:solidFill>
                <a:schemeClr val="bg1"/>
              </a:solidFill>
              <a:latin typeface="Arial" panose="020B0604020202020204" pitchFamily="34" charset="0"/>
              <a:cs typeface="Arial" panose="020B0604020202020204" pitchFamily="34" charset="0"/>
            </a:endParaRPr>
          </a:p>
        </p:txBody>
      </p:sp>
      <p:pic>
        <p:nvPicPr>
          <p:cNvPr id="3" name="Graphic 2">
            <a:extLst>
              <a:ext uri="{FF2B5EF4-FFF2-40B4-BE49-F238E27FC236}">
                <a16:creationId xmlns:a16="http://schemas.microsoft.com/office/drawing/2014/main" id="{999C4556-3C12-1A4A-8174-81030E873B2D}"/>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25268" b="30387"/>
          <a:stretch/>
        </p:blipFill>
        <p:spPr>
          <a:xfrm>
            <a:off x="6580800" y="0"/>
            <a:ext cx="5611200" cy="6858000"/>
          </a:xfrm>
          <a:prstGeom prst="rect">
            <a:avLst/>
          </a:prstGeom>
        </p:spPr>
      </p:pic>
      <p:pic>
        <p:nvPicPr>
          <p:cNvPr id="10" name="Graphic 9">
            <a:extLst>
              <a:ext uri="{FF2B5EF4-FFF2-40B4-BE49-F238E27FC236}">
                <a16:creationId xmlns:a16="http://schemas.microsoft.com/office/drawing/2014/main" id="{D9903880-9FDE-8D40-A562-3D8B9CB09AB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60000" y="360000"/>
            <a:ext cx="1828800" cy="660400"/>
          </a:xfrm>
          <a:prstGeom prst="rect">
            <a:avLst/>
          </a:prstGeom>
        </p:spPr>
      </p:pic>
    </p:spTree>
    <p:extLst>
      <p:ext uri="{BB962C8B-B14F-4D97-AF65-F5344CB8AC3E}">
        <p14:creationId xmlns:p14="http://schemas.microsoft.com/office/powerpoint/2010/main" val="5921500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a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55E5297-AEAC-9B42-A62D-33AC81285A6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Box 8"/>
          <p:cNvSpPr txBox="1"/>
          <p:nvPr/>
        </p:nvSpPr>
        <p:spPr>
          <a:xfrm>
            <a:off x="359508" y="6565598"/>
            <a:ext cx="6604000" cy="196208"/>
          </a:xfrm>
          <a:prstGeom prst="rect">
            <a:avLst/>
          </a:prstGeom>
          <a:noFill/>
        </p:spPr>
        <p:txBody>
          <a:bodyPr wrap="square" rtlCol="0">
            <a:spAutoFit/>
          </a:bodyPr>
          <a:lstStyle/>
          <a:p>
            <a:r>
              <a:rPr lang="en-US" sz="675">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p>
        </p:txBody>
      </p:sp>
      <p:sp>
        <p:nvSpPr>
          <p:cNvPr id="6" name="Text Placeholder 11">
            <a:extLst>
              <a:ext uri="{FF2B5EF4-FFF2-40B4-BE49-F238E27FC236}">
                <a16:creationId xmlns:a16="http://schemas.microsoft.com/office/drawing/2014/main" id="{C4B34AF1-3AD0-DE4E-91C8-39A92B566589}"/>
              </a:ext>
            </a:extLst>
          </p:cNvPr>
          <p:cNvSpPr>
            <a:spLocks noGrp="1"/>
          </p:cNvSpPr>
          <p:nvPr>
            <p:ph type="body" sz="quarter" idx="10" hasCustomPrompt="1"/>
          </p:nvPr>
        </p:nvSpPr>
        <p:spPr>
          <a:xfrm>
            <a:off x="375137" y="1905005"/>
            <a:ext cx="8418563" cy="741045"/>
          </a:xfrm>
          <a:prstGeom prst="rect">
            <a:avLst/>
          </a:prstGeom>
        </p:spPr>
        <p:txBody>
          <a:bodyPr/>
          <a:lstStyle>
            <a:lvl1pPr>
              <a:defRPr sz="2400">
                <a:solidFill>
                  <a:schemeClr val="bg1"/>
                </a:solidFill>
              </a:defRPr>
            </a:lvl1pPr>
            <a:lvl2pPr marL="342900" indent="0">
              <a:buNone/>
              <a:defRPr/>
            </a:lvl2pPr>
          </a:lstStyle>
          <a:p>
            <a:pPr lvl="0"/>
            <a:r>
              <a:rPr lang="en-US"/>
              <a:t>Title of Presentation</a:t>
            </a:r>
          </a:p>
        </p:txBody>
      </p:sp>
      <p:sp>
        <p:nvSpPr>
          <p:cNvPr id="8" name="Subtitle 2">
            <a:extLst>
              <a:ext uri="{FF2B5EF4-FFF2-40B4-BE49-F238E27FC236}">
                <a16:creationId xmlns:a16="http://schemas.microsoft.com/office/drawing/2014/main" id="{4223320D-1041-E647-9158-BF06F5711560}"/>
              </a:ext>
            </a:extLst>
          </p:cNvPr>
          <p:cNvSpPr>
            <a:spLocks noGrp="1"/>
          </p:cNvSpPr>
          <p:nvPr>
            <p:ph type="subTitle" idx="1" hasCustomPrompt="1"/>
          </p:nvPr>
        </p:nvSpPr>
        <p:spPr>
          <a:xfrm>
            <a:off x="375139" y="5894660"/>
            <a:ext cx="5080000" cy="358775"/>
          </a:xfrm>
          <a:prstGeom prst="rect">
            <a:avLst/>
          </a:prstGeom>
        </p:spPr>
        <p:txBody>
          <a:bodyPr>
            <a:normAutofit/>
          </a:bodyPr>
          <a:lstStyle>
            <a:lvl1pPr marL="0" indent="0" algn="l">
              <a:buNone/>
              <a:defRPr sz="105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add date</a:t>
            </a:r>
          </a:p>
        </p:txBody>
      </p:sp>
    </p:spTree>
    <p:extLst>
      <p:ext uri="{BB962C8B-B14F-4D97-AF65-F5344CB8AC3E}">
        <p14:creationId xmlns:p14="http://schemas.microsoft.com/office/powerpoint/2010/main" val="758849641"/>
      </p:ext>
    </p:extLst>
  </p:cSld>
  <p:clrMapOvr>
    <a:masterClrMapping/>
  </p:clrMapOvr>
  <p:extLst>
    <p:ext uri="{DCECCB84-F9BA-43D5-87BE-67443E8EF086}">
      <p15:sldGuideLst xmlns:p15="http://schemas.microsoft.com/office/powerpoint/2012/main">
        <p15:guide id="1" pos="15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b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38F8DB2-F101-DE49-AF57-5A6C41C95AC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ext Placeholder 11">
            <a:extLst>
              <a:ext uri="{FF2B5EF4-FFF2-40B4-BE49-F238E27FC236}">
                <a16:creationId xmlns:a16="http://schemas.microsoft.com/office/drawing/2014/main" id="{31EFB72A-6998-9B48-9EFC-57DE8F0B36A3}"/>
              </a:ext>
            </a:extLst>
          </p:cNvPr>
          <p:cNvSpPr>
            <a:spLocks noGrp="1"/>
          </p:cNvSpPr>
          <p:nvPr>
            <p:ph type="body" sz="quarter" idx="10" hasCustomPrompt="1"/>
          </p:nvPr>
        </p:nvSpPr>
        <p:spPr>
          <a:xfrm>
            <a:off x="375137" y="1905005"/>
            <a:ext cx="8418563" cy="741045"/>
          </a:xfrm>
          <a:prstGeom prst="rect">
            <a:avLst/>
          </a:prstGeom>
        </p:spPr>
        <p:txBody>
          <a:bodyPr/>
          <a:lstStyle>
            <a:lvl1pPr>
              <a:defRPr sz="2400">
                <a:solidFill>
                  <a:schemeClr val="bg1"/>
                </a:solidFill>
              </a:defRPr>
            </a:lvl1pPr>
            <a:lvl2pPr marL="342900" indent="0">
              <a:buNone/>
              <a:defRPr/>
            </a:lvl2pPr>
          </a:lstStyle>
          <a:p>
            <a:pPr lvl="0"/>
            <a:r>
              <a:rPr lang="en-US"/>
              <a:t>Title of Presentation</a:t>
            </a:r>
          </a:p>
        </p:txBody>
      </p:sp>
      <p:sp>
        <p:nvSpPr>
          <p:cNvPr id="8" name="Subtitle 2">
            <a:extLst>
              <a:ext uri="{FF2B5EF4-FFF2-40B4-BE49-F238E27FC236}">
                <a16:creationId xmlns:a16="http://schemas.microsoft.com/office/drawing/2014/main" id="{D07C372E-69BF-2141-B7D8-C75AC2FB1BF7}"/>
              </a:ext>
            </a:extLst>
          </p:cNvPr>
          <p:cNvSpPr>
            <a:spLocks noGrp="1"/>
          </p:cNvSpPr>
          <p:nvPr>
            <p:ph type="subTitle" idx="1" hasCustomPrompt="1"/>
          </p:nvPr>
        </p:nvSpPr>
        <p:spPr>
          <a:xfrm>
            <a:off x="375139" y="5894660"/>
            <a:ext cx="5080000" cy="358775"/>
          </a:xfrm>
          <a:prstGeom prst="rect">
            <a:avLst/>
          </a:prstGeom>
        </p:spPr>
        <p:txBody>
          <a:bodyPr>
            <a:normAutofit/>
          </a:bodyPr>
          <a:lstStyle>
            <a:lvl1pPr marL="0" indent="0" algn="l">
              <a:buNone/>
              <a:defRPr sz="105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add date</a:t>
            </a:r>
          </a:p>
        </p:txBody>
      </p:sp>
      <p:sp>
        <p:nvSpPr>
          <p:cNvPr id="10" name="TextBox 9">
            <a:extLst>
              <a:ext uri="{FF2B5EF4-FFF2-40B4-BE49-F238E27FC236}">
                <a16:creationId xmlns:a16="http://schemas.microsoft.com/office/drawing/2014/main" id="{65F242FB-70A4-4E9A-B008-543699269CA0}"/>
              </a:ext>
            </a:extLst>
          </p:cNvPr>
          <p:cNvSpPr txBox="1"/>
          <p:nvPr/>
        </p:nvSpPr>
        <p:spPr>
          <a:xfrm>
            <a:off x="359508" y="6565598"/>
            <a:ext cx="6604000" cy="196208"/>
          </a:xfrm>
          <a:prstGeom prst="rect">
            <a:avLst/>
          </a:prstGeom>
          <a:noFill/>
        </p:spPr>
        <p:txBody>
          <a:bodyPr wrap="square" rtlCol="0">
            <a:spAutoFit/>
          </a:bodyPr>
          <a:lstStyle/>
          <a:p>
            <a:r>
              <a:rPr lang="en-US" sz="675">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p>
        </p:txBody>
      </p:sp>
    </p:spTree>
    <p:extLst>
      <p:ext uri="{BB962C8B-B14F-4D97-AF65-F5344CB8AC3E}">
        <p14:creationId xmlns:p14="http://schemas.microsoft.com/office/powerpoint/2010/main" val="21492735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c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8FE1FFE-D6D1-6E4B-94D4-04AA8B9AF08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4"/>
            <a:ext cx="11880427" cy="5831839"/>
          </a:xfrm>
          <a:prstGeom prst="rect">
            <a:avLst/>
          </a:prstGeom>
        </p:spPr>
      </p:pic>
      <p:pic>
        <p:nvPicPr>
          <p:cNvPr id="7" name="Picture 6">
            <a:extLst>
              <a:ext uri="{FF2B5EF4-FFF2-40B4-BE49-F238E27FC236}">
                <a16:creationId xmlns:a16="http://schemas.microsoft.com/office/drawing/2014/main" id="{7B852073-36C7-0144-BAA1-0A8C76881E5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EEA2DB64-6227-4248-BA7C-A0C695CFB25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ext Placeholder 11">
            <a:extLst>
              <a:ext uri="{FF2B5EF4-FFF2-40B4-BE49-F238E27FC236}">
                <a16:creationId xmlns:a16="http://schemas.microsoft.com/office/drawing/2014/main" id="{D6483828-3A97-F349-897B-E5C4D0CDDFF9}"/>
              </a:ext>
            </a:extLst>
          </p:cNvPr>
          <p:cNvSpPr>
            <a:spLocks noGrp="1"/>
          </p:cNvSpPr>
          <p:nvPr>
            <p:ph type="body" sz="quarter" idx="10" hasCustomPrompt="1"/>
          </p:nvPr>
        </p:nvSpPr>
        <p:spPr>
          <a:xfrm>
            <a:off x="375137" y="1905005"/>
            <a:ext cx="8418563" cy="741045"/>
          </a:xfrm>
          <a:prstGeom prst="rect">
            <a:avLst/>
          </a:prstGeom>
        </p:spPr>
        <p:txBody>
          <a:bodyPr/>
          <a:lstStyle>
            <a:lvl1pPr>
              <a:defRPr sz="2400">
                <a:solidFill>
                  <a:schemeClr val="bg1"/>
                </a:solidFill>
              </a:defRPr>
            </a:lvl1pPr>
            <a:lvl2pPr marL="342900" indent="0">
              <a:buNone/>
              <a:defRPr/>
            </a:lvl2pPr>
          </a:lstStyle>
          <a:p>
            <a:pPr lvl="0"/>
            <a:r>
              <a:rPr lang="en-US"/>
              <a:t>Title of Presentation</a:t>
            </a:r>
          </a:p>
        </p:txBody>
      </p:sp>
      <p:sp>
        <p:nvSpPr>
          <p:cNvPr id="11" name="Subtitle 2">
            <a:extLst>
              <a:ext uri="{FF2B5EF4-FFF2-40B4-BE49-F238E27FC236}">
                <a16:creationId xmlns:a16="http://schemas.microsoft.com/office/drawing/2014/main" id="{E5A29B12-8E18-924A-BC33-EF0C67D49378}"/>
              </a:ext>
            </a:extLst>
          </p:cNvPr>
          <p:cNvSpPr>
            <a:spLocks noGrp="1"/>
          </p:cNvSpPr>
          <p:nvPr>
            <p:ph type="subTitle" idx="1" hasCustomPrompt="1"/>
          </p:nvPr>
        </p:nvSpPr>
        <p:spPr>
          <a:xfrm>
            <a:off x="375139" y="5894660"/>
            <a:ext cx="5080000" cy="358775"/>
          </a:xfrm>
          <a:prstGeom prst="rect">
            <a:avLst/>
          </a:prstGeom>
        </p:spPr>
        <p:txBody>
          <a:bodyPr>
            <a:normAutofit/>
          </a:bodyPr>
          <a:lstStyle>
            <a:lvl1pPr marL="0" indent="0" algn="l">
              <a:buNone/>
              <a:defRPr sz="105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add date</a:t>
            </a:r>
          </a:p>
        </p:txBody>
      </p:sp>
      <p:sp>
        <p:nvSpPr>
          <p:cNvPr id="12" name="TextBox 11">
            <a:extLst>
              <a:ext uri="{FF2B5EF4-FFF2-40B4-BE49-F238E27FC236}">
                <a16:creationId xmlns:a16="http://schemas.microsoft.com/office/drawing/2014/main" id="{5F39E9CA-C7B7-4DC7-BCE0-AAF65DC6249D}"/>
              </a:ext>
            </a:extLst>
          </p:cNvPr>
          <p:cNvSpPr txBox="1"/>
          <p:nvPr/>
        </p:nvSpPr>
        <p:spPr>
          <a:xfrm>
            <a:off x="359508" y="6565598"/>
            <a:ext cx="6604000" cy="196208"/>
          </a:xfrm>
          <a:prstGeom prst="rect">
            <a:avLst/>
          </a:prstGeom>
          <a:noFill/>
        </p:spPr>
        <p:txBody>
          <a:bodyPr wrap="square" rtlCol="0">
            <a:spAutoFit/>
          </a:bodyPr>
          <a:lstStyle/>
          <a:p>
            <a:r>
              <a:rPr lang="en-US" sz="675">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p>
        </p:txBody>
      </p:sp>
    </p:spTree>
    <p:extLst>
      <p:ext uri="{BB962C8B-B14F-4D97-AF65-F5344CB8AC3E}">
        <p14:creationId xmlns:p14="http://schemas.microsoft.com/office/powerpoint/2010/main" val="3887721955"/>
      </p:ext>
    </p:extLst>
  </p:cSld>
  <p:clrMapOvr>
    <a:masterClrMapping/>
  </p:clrMapOvr>
  <p:extLst>
    <p:ext uri="{DCECCB84-F9BA-43D5-87BE-67443E8EF086}">
      <p15:sldGuideLst xmlns:p15="http://schemas.microsoft.com/office/powerpoint/2012/main">
        <p15:guide id="1" pos="15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d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6C8F77F-BBD0-1241-8B5C-DEDFFED26BF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4"/>
            <a:ext cx="11880427" cy="5831839"/>
          </a:xfrm>
          <a:prstGeom prst="rect">
            <a:avLst/>
          </a:prstGeom>
        </p:spPr>
      </p:pic>
      <p:pic>
        <p:nvPicPr>
          <p:cNvPr id="8" name="Picture 7">
            <a:extLst>
              <a:ext uri="{FF2B5EF4-FFF2-40B4-BE49-F238E27FC236}">
                <a16:creationId xmlns:a16="http://schemas.microsoft.com/office/drawing/2014/main" id="{2366DA16-0AE4-9D47-AF97-E06CAF9F844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BB5FB18-668F-DB4F-889A-A2789A20264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ext Placeholder 11">
            <a:extLst>
              <a:ext uri="{FF2B5EF4-FFF2-40B4-BE49-F238E27FC236}">
                <a16:creationId xmlns:a16="http://schemas.microsoft.com/office/drawing/2014/main" id="{C4569D4F-2297-2449-B1D4-3D809F16C6E5}"/>
              </a:ext>
            </a:extLst>
          </p:cNvPr>
          <p:cNvSpPr>
            <a:spLocks noGrp="1"/>
          </p:cNvSpPr>
          <p:nvPr>
            <p:ph type="body" sz="quarter" idx="10" hasCustomPrompt="1"/>
          </p:nvPr>
        </p:nvSpPr>
        <p:spPr>
          <a:xfrm>
            <a:off x="375137" y="1905005"/>
            <a:ext cx="8418563" cy="741045"/>
          </a:xfrm>
          <a:prstGeom prst="rect">
            <a:avLst/>
          </a:prstGeom>
        </p:spPr>
        <p:txBody>
          <a:bodyPr/>
          <a:lstStyle>
            <a:lvl1pPr>
              <a:defRPr sz="2400">
                <a:solidFill>
                  <a:schemeClr val="bg1"/>
                </a:solidFill>
              </a:defRPr>
            </a:lvl1pPr>
            <a:lvl2pPr marL="342900" indent="0">
              <a:buNone/>
              <a:defRPr/>
            </a:lvl2pPr>
          </a:lstStyle>
          <a:p>
            <a:pPr lvl="0"/>
            <a:r>
              <a:rPr lang="en-US"/>
              <a:t>Title of Presentation</a:t>
            </a:r>
          </a:p>
        </p:txBody>
      </p:sp>
      <p:sp>
        <p:nvSpPr>
          <p:cNvPr id="13" name="Subtitle 2">
            <a:extLst>
              <a:ext uri="{FF2B5EF4-FFF2-40B4-BE49-F238E27FC236}">
                <a16:creationId xmlns:a16="http://schemas.microsoft.com/office/drawing/2014/main" id="{6BD17E6B-AB47-8346-9F1B-29F75A08DCD1}"/>
              </a:ext>
            </a:extLst>
          </p:cNvPr>
          <p:cNvSpPr>
            <a:spLocks noGrp="1"/>
          </p:cNvSpPr>
          <p:nvPr>
            <p:ph type="subTitle" idx="1" hasCustomPrompt="1"/>
          </p:nvPr>
        </p:nvSpPr>
        <p:spPr>
          <a:xfrm>
            <a:off x="375139" y="5894660"/>
            <a:ext cx="5080000" cy="358775"/>
          </a:xfrm>
          <a:prstGeom prst="rect">
            <a:avLst/>
          </a:prstGeom>
        </p:spPr>
        <p:txBody>
          <a:bodyPr>
            <a:normAutofit/>
          </a:bodyPr>
          <a:lstStyle>
            <a:lvl1pPr marL="0" indent="0" algn="l">
              <a:buNone/>
              <a:defRPr sz="105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add date</a:t>
            </a:r>
          </a:p>
        </p:txBody>
      </p:sp>
      <p:sp>
        <p:nvSpPr>
          <p:cNvPr id="14" name="TextBox 13">
            <a:extLst>
              <a:ext uri="{FF2B5EF4-FFF2-40B4-BE49-F238E27FC236}">
                <a16:creationId xmlns:a16="http://schemas.microsoft.com/office/drawing/2014/main" id="{07602290-1451-4541-A673-01CB263AFE7E}"/>
              </a:ext>
            </a:extLst>
          </p:cNvPr>
          <p:cNvSpPr txBox="1"/>
          <p:nvPr/>
        </p:nvSpPr>
        <p:spPr>
          <a:xfrm>
            <a:off x="359508" y="6565598"/>
            <a:ext cx="6604000" cy="196208"/>
          </a:xfrm>
          <a:prstGeom prst="rect">
            <a:avLst/>
          </a:prstGeom>
          <a:noFill/>
        </p:spPr>
        <p:txBody>
          <a:bodyPr wrap="square" rtlCol="0">
            <a:spAutoFit/>
          </a:bodyPr>
          <a:lstStyle/>
          <a:p>
            <a:r>
              <a:rPr lang="en-US" sz="675">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p>
        </p:txBody>
      </p:sp>
    </p:spTree>
    <p:extLst>
      <p:ext uri="{BB962C8B-B14F-4D97-AF65-F5344CB8AC3E}">
        <p14:creationId xmlns:p14="http://schemas.microsoft.com/office/powerpoint/2010/main" val="11556563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e_Title Slide_Custom Image">
    <p:bg>
      <p:bgPr>
        <a:solidFill>
          <a:schemeClr val="bg1">
            <a:lumMod val="85000"/>
          </a:schemeClr>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E30A63B-FDEF-9545-A6F8-8A612A3F69B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DD2F9B4B-D480-8A47-B4D0-3D5E2AA91D7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extBox 9">
            <a:extLst>
              <a:ext uri="{FF2B5EF4-FFF2-40B4-BE49-F238E27FC236}">
                <a16:creationId xmlns:a16="http://schemas.microsoft.com/office/drawing/2014/main" id="{24091E49-036B-1C4C-9065-A3BB3DA8D57A}"/>
              </a:ext>
            </a:extLst>
          </p:cNvPr>
          <p:cNvSpPr txBox="1"/>
          <p:nvPr/>
        </p:nvSpPr>
        <p:spPr>
          <a:xfrm>
            <a:off x="-5498167" y="5079946"/>
            <a:ext cx="5292360" cy="1778054"/>
          </a:xfrm>
          <a:prstGeom prst="rect">
            <a:avLst/>
          </a:prstGeom>
          <a:solidFill>
            <a:schemeClr val="bg1">
              <a:lumMod val="95000"/>
            </a:schemeClr>
          </a:solidFill>
          <a:ln w="3175">
            <a:solidFill>
              <a:schemeClr val="bg1">
                <a:lumMod val="75000"/>
              </a:schemeClr>
            </a:solidFill>
          </a:ln>
        </p:spPr>
        <p:txBody>
          <a:bodyPr wrap="square" lIns="67500" tIns="67500" rIns="67500" bIns="67500" rtlCol="0">
            <a:noAutofit/>
          </a:bodyPr>
          <a:lstStyle/>
          <a:p>
            <a:r>
              <a:rPr lang="en-US" sz="1050" b="1" i="0">
                <a:solidFill>
                  <a:schemeClr val="bg1">
                    <a:lumMod val="50000"/>
                  </a:schemeClr>
                </a:solidFill>
                <a:latin typeface="Arial" panose="020B0604020202020204" pitchFamily="34" charset="0"/>
                <a:cs typeface="Arial" panose="020B0604020202020204" pitchFamily="34" charset="0"/>
              </a:rPr>
              <a:t>How to change your background image:</a:t>
            </a:r>
          </a:p>
          <a:p>
            <a:r>
              <a:rPr lang="en-US" sz="1050" b="0" i="0">
                <a:solidFill>
                  <a:schemeClr val="bg1">
                    <a:lumMod val="50000"/>
                  </a:schemeClr>
                </a:solidFill>
                <a:latin typeface="Arial" panose="020B0604020202020204" pitchFamily="34" charset="0"/>
                <a:cs typeface="Arial" panose="020B0604020202020204" pitchFamily="34" charset="0"/>
              </a:rPr>
              <a:t>- Right click to select “Format Background”</a:t>
            </a:r>
          </a:p>
          <a:p>
            <a:r>
              <a:rPr lang="en-US" sz="1050" b="0" i="0">
                <a:solidFill>
                  <a:schemeClr val="bg1">
                    <a:lumMod val="50000"/>
                  </a:schemeClr>
                </a:solidFill>
                <a:latin typeface="Arial" panose="020B0604020202020204" pitchFamily="34" charset="0"/>
                <a:cs typeface="Arial" panose="020B0604020202020204" pitchFamily="34" charset="0"/>
              </a:rPr>
              <a:t>- Go to “Fill”</a:t>
            </a:r>
          </a:p>
          <a:p>
            <a:r>
              <a:rPr lang="en-US" sz="1050" b="0" i="0">
                <a:solidFill>
                  <a:schemeClr val="bg1">
                    <a:lumMod val="50000"/>
                  </a:schemeClr>
                </a:solidFill>
                <a:latin typeface="Arial" panose="020B0604020202020204" pitchFamily="34" charset="0"/>
                <a:cs typeface="Arial" panose="020B0604020202020204" pitchFamily="34" charset="0"/>
              </a:rPr>
              <a:t>- Select “Picture or texture fill”</a:t>
            </a:r>
          </a:p>
          <a:p>
            <a:r>
              <a:rPr lang="en-US" sz="1050" b="0" i="0">
                <a:solidFill>
                  <a:schemeClr val="bg1">
                    <a:lumMod val="50000"/>
                  </a:schemeClr>
                </a:solidFill>
                <a:latin typeface="Arial" panose="020B0604020202020204" pitchFamily="34" charset="0"/>
                <a:cs typeface="Arial" panose="020B0604020202020204" pitchFamily="34" charset="0"/>
              </a:rPr>
              <a:t>- Click Insert from “File” and you can select your own picture</a:t>
            </a:r>
          </a:p>
        </p:txBody>
      </p:sp>
      <p:sp>
        <p:nvSpPr>
          <p:cNvPr id="13" name="Text Placeholder 11">
            <a:extLst>
              <a:ext uri="{FF2B5EF4-FFF2-40B4-BE49-F238E27FC236}">
                <a16:creationId xmlns:a16="http://schemas.microsoft.com/office/drawing/2014/main" id="{723429B5-F274-DB4C-8E36-E3FA50891F41}"/>
              </a:ext>
            </a:extLst>
          </p:cNvPr>
          <p:cNvSpPr>
            <a:spLocks noGrp="1"/>
          </p:cNvSpPr>
          <p:nvPr>
            <p:ph type="body" sz="quarter" idx="10" hasCustomPrompt="1"/>
          </p:nvPr>
        </p:nvSpPr>
        <p:spPr>
          <a:xfrm>
            <a:off x="375137" y="1905005"/>
            <a:ext cx="8418563" cy="741045"/>
          </a:xfrm>
          <a:prstGeom prst="rect">
            <a:avLst/>
          </a:prstGeom>
        </p:spPr>
        <p:txBody>
          <a:bodyPr/>
          <a:lstStyle>
            <a:lvl1pPr>
              <a:defRPr sz="2400">
                <a:solidFill>
                  <a:schemeClr val="bg1"/>
                </a:solidFill>
              </a:defRPr>
            </a:lvl1pPr>
            <a:lvl2pPr marL="342900" indent="0">
              <a:buNone/>
              <a:defRPr/>
            </a:lvl2pPr>
          </a:lstStyle>
          <a:p>
            <a:pPr lvl="0"/>
            <a:r>
              <a:rPr lang="en-US"/>
              <a:t>Title of Presentation</a:t>
            </a:r>
          </a:p>
        </p:txBody>
      </p:sp>
      <p:sp>
        <p:nvSpPr>
          <p:cNvPr id="11" name="Subtitle 2">
            <a:extLst>
              <a:ext uri="{FF2B5EF4-FFF2-40B4-BE49-F238E27FC236}">
                <a16:creationId xmlns:a16="http://schemas.microsoft.com/office/drawing/2014/main" id="{C5307754-CC61-0040-BDB4-D5224A164AE4}"/>
              </a:ext>
            </a:extLst>
          </p:cNvPr>
          <p:cNvSpPr>
            <a:spLocks noGrp="1"/>
          </p:cNvSpPr>
          <p:nvPr>
            <p:ph type="subTitle" idx="1" hasCustomPrompt="1"/>
          </p:nvPr>
        </p:nvSpPr>
        <p:spPr>
          <a:xfrm>
            <a:off x="375139" y="5894660"/>
            <a:ext cx="5080000" cy="358775"/>
          </a:xfrm>
          <a:prstGeom prst="rect">
            <a:avLst/>
          </a:prstGeom>
        </p:spPr>
        <p:txBody>
          <a:bodyPr>
            <a:normAutofit/>
          </a:bodyPr>
          <a:lstStyle>
            <a:lvl1pPr marL="0" indent="0" algn="l">
              <a:buNone/>
              <a:defRPr sz="105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add date</a:t>
            </a:r>
          </a:p>
        </p:txBody>
      </p:sp>
      <p:sp>
        <p:nvSpPr>
          <p:cNvPr id="8" name="TextBox 7">
            <a:extLst>
              <a:ext uri="{FF2B5EF4-FFF2-40B4-BE49-F238E27FC236}">
                <a16:creationId xmlns:a16="http://schemas.microsoft.com/office/drawing/2014/main" id="{779AB5BE-1C0A-48E7-8EE6-3D5E4F4068D5}"/>
              </a:ext>
            </a:extLst>
          </p:cNvPr>
          <p:cNvSpPr txBox="1"/>
          <p:nvPr/>
        </p:nvSpPr>
        <p:spPr>
          <a:xfrm>
            <a:off x="359508" y="6565598"/>
            <a:ext cx="6604000" cy="196208"/>
          </a:xfrm>
          <a:prstGeom prst="rect">
            <a:avLst/>
          </a:prstGeom>
          <a:noFill/>
        </p:spPr>
        <p:txBody>
          <a:bodyPr wrap="square" rtlCol="0">
            <a:spAutoFit/>
          </a:bodyPr>
          <a:lstStyle/>
          <a:p>
            <a:r>
              <a:rPr lang="en-US" sz="675">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p>
        </p:txBody>
      </p:sp>
    </p:spTree>
    <p:extLst>
      <p:ext uri="{BB962C8B-B14F-4D97-AF65-F5344CB8AC3E}">
        <p14:creationId xmlns:p14="http://schemas.microsoft.com/office/powerpoint/2010/main" val="21549937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f_Title Slide_Custom Image">
    <p:bg>
      <p:bgPr>
        <a:solidFill>
          <a:schemeClr val="bg1">
            <a:lumMod val="85000"/>
          </a:schemeClr>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6629596-3772-BB43-AB98-3F64C9CBF23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54AFA06E-B212-034E-B0E6-B624E957BBC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TextBox 7">
            <a:extLst>
              <a:ext uri="{FF2B5EF4-FFF2-40B4-BE49-F238E27FC236}">
                <a16:creationId xmlns:a16="http://schemas.microsoft.com/office/drawing/2014/main" id="{4C7AEAD4-C8D1-AF4B-B036-23DB06AD5EFE}"/>
              </a:ext>
            </a:extLst>
          </p:cNvPr>
          <p:cNvSpPr txBox="1"/>
          <p:nvPr/>
        </p:nvSpPr>
        <p:spPr>
          <a:xfrm>
            <a:off x="-5498167" y="5079946"/>
            <a:ext cx="5292360" cy="1778054"/>
          </a:xfrm>
          <a:prstGeom prst="rect">
            <a:avLst/>
          </a:prstGeom>
          <a:solidFill>
            <a:schemeClr val="bg1">
              <a:lumMod val="95000"/>
            </a:schemeClr>
          </a:solidFill>
          <a:ln w="3175">
            <a:solidFill>
              <a:schemeClr val="bg1">
                <a:lumMod val="75000"/>
              </a:schemeClr>
            </a:solidFill>
          </a:ln>
        </p:spPr>
        <p:txBody>
          <a:bodyPr wrap="square" lIns="67500" tIns="67500" rIns="67500" bIns="67500" rtlCol="0">
            <a:noAutofit/>
          </a:bodyPr>
          <a:lstStyle/>
          <a:p>
            <a:r>
              <a:rPr lang="en-US" sz="1050" b="1" i="0">
                <a:solidFill>
                  <a:schemeClr val="bg1">
                    <a:lumMod val="50000"/>
                  </a:schemeClr>
                </a:solidFill>
                <a:latin typeface="Arial" panose="020B0604020202020204" pitchFamily="34" charset="0"/>
                <a:cs typeface="Arial" panose="020B0604020202020204" pitchFamily="34" charset="0"/>
              </a:rPr>
              <a:t>How to change your background image:</a:t>
            </a:r>
          </a:p>
          <a:p>
            <a:r>
              <a:rPr lang="en-US" sz="1050" b="0" i="0">
                <a:solidFill>
                  <a:schemeClr val="bg1">
                    <a:lumMod val="50000"/>
                  </a:schemeClr>
                </a:solidFill>
                <a:latin typeface="Arial" panose="020B0604020202020204" pitchFamily="34" charset="0"/>
                <a:cs typeface="Arial" panose="020B0604020202020204" pitchFamily="34" charset="0"/>
              </a:rPr>
              <a:t>- Right click to select “Format Background”</a:t>
            </a:r>
          </a:p>
          <a:p>
            <a:r>
              <a:rPr lang="en-US" sz="1050" b="0" i="0">
                <a:solidFill>
                  <a:schemeClr val="bg1">
                    <a:lumMod val="50000"/>
                  </a:schemeClr>
                </a:solidFill>
                <a:latin typeface="Arial" panose="020B0604020202020204" pitchFamily="34" charset="0"/>
                <a:cs typeface="Arial" panose="020B0604020202020204" pitchFamily="34" charset="0"/>
              </a:rPr>
              <a:t>- Go to “Fill”</a:t>
            </a:r>
          </a:p>
          <a:p>
            <a:r>
              <a:rPr lang="en-US" sz="1050" b="0" i="0">
                <a:solidFill>
                  <a:schemeClr val="bg1">
                    <a:lumMod val="50000"/>
                  </a:schemeClr>
                </a:solidFill>
                <a:latin typeface="Arial" panose="020B0604020202020204" pitchFamily="34" charset="0"/>
                <a:cs typeface="Arial" panose="020B0604020202020204" pitchFamily="34" charset="0"/>
              </a:rPr>
              <a:t>- Select “Picture or texture fill”</a:t>
            </a:r>
          </a:p>
          <a:p>
            <a:r>
              <a:rPr lang="en-US" sz="1050" b="0" i="0">
                <a:solidFill>
                  <a:schemeClr val="bg1">
                    <a:lumMod val="50000"/>
                  </a:schemeClr>
                </a:solidFill>
                <a:latin typeface="Arial" panose="020B0604020202020204" pitchFamily="34" charset="0"/>
                <a:cs typeface="Arial" panose="020B0604020202020204" pitchFamily="34" charset="0"/>
              </a:rPr>
              <a:t>- Click Insert from “File” and you can select your own picture</a:t>
            </a:r>
          </a:p>
        </p:txBody>
      </p:sp>
      <p:sp>
        <p:nvSpPr>
          <p:cNvPr id="14" name="Text Placeholder 11">
            <a:extLst>
              <a:ext uri="{FF2B5EF4-FFF2-40B4-BE49-F238E27FC236}">
                <a16:creationId xmlns:a16="http://schemas.microsoft.com/office/drawing/2014/main" id="{EE0F4218-70F1-D94B-BCA5-54CA47E99E70}"/>
              </a:ext>
            </a:extLst>
          </p:cNvPr>
          <p:cNvSpPr>
            <a:spLocks noGrp="1"/>
          </p:cNvSpPr>
          <p:nvPr>
            <p:ph type="body" sz="quarter" idx="10" hasCustomPrompt="1"/>
          </p:nvPr>
        </p:nvSpPr>
        <p:spPr>
          <a:xfrm>
            <a:off x="375137" y="1905005"/>
            <a:ext cx="8418563" cy="741045"/>
          </a:xfrm>
          <a:prstGeom prst="rect">
            <a:avLst/>
          </a:prstGeom>
        </p:spPr>
        <p:txBody>
          <a:bodyPr/>
          <a:lstStyle>
            <a:lvl1pPr>
              <a:defRPr sz="2400">
                <a:solidFill>
                  <a:schemeClr val="bg1"/>
                </a:solidFill>
              </a:defRPr>
            </a:lvl1pPr>
            <a:lvl2pPr marL="342900" indent="0">
              <a:buNone/>
              <a:defRPr/>
            </a:lvl2pPr>
          </a:lstStyle>
          <a:p>
            <a:pPr lvl="0"/>
            <a:r>
              <a:rPr lang="en-US"/>
              <a:t>Title of Presentation</a:t>
            </a:r>
          </a:p>
        </p:txBody>
      </p:sp>
      <p:sp>
        <p:nvSpPr>
          <p:cNvPr id="10" name="Subtitle 2">
            <a:extLst>
              <a:ext uri="{FF2B5EF4-FFF2-40B4-BE49-F238E27FC236}">
                <a16:creationId xmlns:a16="http://schemas.microsoft.com/office/drawing/2014/main" id="{C69A5828-D573-4C46-864A-98A049562F24}"/>
              </a:ext>
            </a:extLst>
          </p:cNvPr>
          <p:cNvSpPr>
            <a:spLocks noGrp="1"/>
          </p:cNvSpPr>
          <p:nvPr>
            <p:ph type="subTitle" idx="1" hasCustomPrompt="1"/>
          </p:nvPr>
        </p:nvSpPr>
        <p:spPr>
          <a:xfrm>
            <a:off x="375139" y="5894660"/>
            <a:ext cx="5080000" cy="358775"/>
          </a:xfrm>
          <a:prstGeom prst="rect">
            <a:avLst/>
          </a:prstGeom>
        </p:spPr>
        <p:txBody>
          <a:bodyPr>
            <a:normAutofit/>
          </a:bodyPr>
          <a:lstStyle>
            <a:lvl1pPr marL="0" indent="0" algn="l">
              <a:buNone/>
              <a:defRPr sz="105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add date</a:t>
            </a:r>
          </a:p>
        </p:txBody>
      </p:sp>
      <p:sp>
        <p:nvSpPr>
          <p:cNvPr id="11" name="TextBox 10">
            <a:extLst>
              <a:ext uri="{FF2B5EF4-FFF2-40B4-BE49-F238E27FC236}">
                <a16:creationId xmlns:a16="http://schemas.microsoft.com/office/drawing/2014/main" id="{363D8CD5-E47E-4910-98CB-7DE269F59B48}"/>
              </a:ext>
            </a:extLst>
          </p:cNvPr>
          <p:cNvSpPr txBox="1"/>
          <p:nvPr/>
        </p:nvSpPr>
        <p:spPr>
          <a:xfrm>
            <a:off x="359508" y="6565598"/>
            <a:ext cx="6604000" cy="196208"/>
          </a:xfrm>
          <a:prstGeom prst="rect">
            <a:avLst/>
          </a:prstGeom>
          <a:noFill/>
        </p:spPr>
        <p:txBody>
          <a:bodyPr wrap="square" rtlCol="0">
            <a:spAutoFit/>
          </a:bodyPr>
          <a:lstStyle/>
          <a:p>
            <a:r>
              <a:rPr lang="en-US" sz="675">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p>
        </p:txBody>
      </p:sp>
    </p:spTree>
    <p:extLst>
      <p:ext uri="{BB962C8B-B14F-4D97-AF65-F5344CB8AC3E}">
        <p14:creationId xmlns:p14="http://schemas.microsoft.com/office/powerpoint/2010/main" val="42006406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5669D5B-5BBE-47C6-AF12-6186DA6117B0}"/>
              </a:ext>
            </a:extLst>
          </p:cNvPr>
          <p:cNvSpPr txBox="1"/>
          <p:nvPr/>
        </p:nvSpPr>
        <p:spPr>
          <a:xfrm>
            <a:off x="359508" y="6565598"/>
            <a:ext cx="6604000" cy="196208"/>
          </a:xfrm>
          <a:prstGeom prst="rect">
            <a:avLst/>
          </a:prstGeom>
          <a:noFill/>
        </p:spPr>
        <p:txBody>
          <a:bodyPr wrap="square" rtlCol="0">
            <a:spAutoFit/>
          </a:bodyPr>
          <a:lstStyle/>
          <a:p>
            <a:r>
              <a:rPr lang="en-US" sz="675">
                <a:solidFill>
                  <a:schemeClr val="tx1">
                    <a:lumMod val="50000"/>
                    <a:lumOff val="50000"/>
                  </a:schemeClr>
                </a:solidFill>
                <a:latin typeface="Arial" panose="020B0604020202020204" pitchFamily="34" charset="0"/>
                <a:ea typeface="MS PGothic" pitchFamily="34" charset="-128"/>
                <a:cs typeface="Arial" panose="020B0604020202020204" pitchFamily="34" charset="0"/>
              </a:rPr>
              <a:t>AIA confidential and proprietary information. Not for distribution. </a:t>
            </a:r>
          </a:p>
        </p:txBody>
      </p:sp>
      <p:sp>
        <p:nvSpPr>
          <p:cNvPr id="13" name="Text Placeholder 12">
            <a:extLst>
              <a:ext uri="{FF2B5EF4-FFF2-40B4-BE49-F238E27FC236}">
                <a16:creationId xmlns:a16="http://schemas.microsoft.com/office/drawing/2014/main" id="{FB39D6F7-7364-5042-AA40-2DF56C72FF4A}"/>
              </a:ext>
            </a:extLst>
          </p:cNvPr>
          <p:cNvSpPr>
            <a:spLocks noGrp="1"/>
          </p:cNvSpPr>
          <p:nvPr>
            <p:ph type="body" sz="quarter" idx="10" hasCustomPrompt="1"/>
          </p:nvPr>
        </p:nvSpPr>
        <p:spPr>
          <a:xfrm>
            <a:off x="457200" y="1096962"/>
            <a:ext cx="10653624" cy="5138416"/>
          </a:xfrm>
          <a:prstGeom prst="rect">
            <a:avLst/>
          </a:prstGeom>
        </p:spPr>
        <p:txBody>
          <a:bodyPr lIns="0" tIns="0" rIns="0" bIns="0" anchor="t"/>
          <a:lstStyle>
            <a:lvl1pPr>
              <a:lnSpc>
                <a:spcPct val="125000"/>
              </a:lnSpc>
              <a:defRPr sz="1400">
                <a:solidFill>
                  <a:srgbClr val="585858"/>
                </a:solidFill>
              </a:defRPr>
            </a:lvl1pPr>
            <a:lvl2pPr marL="342900" indent="0">
              <a:buNone/>
              <a:defRPr/>
            </a:lvl2pPr>
          </a:lstStyle>
          <a:p>
            <a:pPr lvl="0"/>
            <a:r>
              <a:rPr lang="en-US"/>
              <a:t>Content</a:t>
            </a:r>
          </a:p>
        </p:txBody>
      </p:sp>
      <p:sp>
        <p:nvSpPr>
          <p:cNvPr id="17" name="Text Placeholder 16">
            <a:extLst>
              <a:ext uri="{FF2B5EF4-FFF2-40B4-BE49-F238E27FC236}">
                <a16:creationId xmlns:a16="http://schemas.microsoft.com/office/drawing/2014/main" id="{1C887C4D-4D8E-5941-88BE-BECE9C947E6F}"/>
              </a:ext>
            </a:extLst>
          </p:cNvPr>
          <p:cNvSpPr>
            <a:spLocks noGrp="1"/>
          </p:cNvSpPr>
          <p:nvPr>
            <p:ph type="body" sz="quarter" idx="11" hasCustomPrompt="1"/>
          </p:nvPr>
        </p:nvSpPr>
        <p:spPr>
          <a:xfrm>
            <a:off x="457200" y="266221"/>
            <a:ext cx="10653625" cy="758577"/>
          </a:xfrm>
          <a:prstGeom prst="rect">
            <a:avLst/>
          </a:prstGeom>
        </p:spPr>
        <p:txBody>
          <a:bodyPr lIns="0" tIns="0" rIns="0" bIns="0" anchor="t"/>
          <a:lstStyle>
            <a:lvl1pPr>
              <a:lnSpc>
                <a:spcPts val="2400"/>
              </a:lnSpc>
              <a:defRPr sz="2400">
                <a:solidFill>
                  <a:srgbClr val="D31145"/>
                </a:solidFill>
              </a:defRPr>
            </a:lvl1pPr>
          </a:lstStyle>
          <a:p>
            <a:pPr lvl="0"/>
            <a:r>
              <a:rPr lang="en-US"/>
              <a:t>Content Title</a:t>
            </a:r>
            <a:br>
              <a:rPr lang="en-US"/>
            </a:br>
            <a:r>
              <a:rPr lang="en-US"/>
              <a:t>Divider</a:t>
            </a:r>
          </a:p>
        </p:txBody>
      </p:sp>
      <p:cxnSp>
        <p:nvCxnSpPr>
          <p:cNvPr id="19" name="Straight Connector 18">
            <a:extLst>
              <a:ext uri="{FF2B5EF4-FFF2-40B4-BE49-F238E27FC236}">
                <a16:creationId xmlns:a16="http://schemas.microsoft.com/office/drawing/2014/main" id="{BB89D574-0DC7-D24A-A878-081E980D7EB2}"/>
              </a:ext>
            </a:extLst>
          </p:cNvPr>
          <p:cNvCxnSpPr>
            <a:cxnSpLocks/>
          </p:cNvCxnSpPr>
          <p:nvPr/>
        </p:nvCxnSpPr>
        <p:spPr>
          <a:xfrm>
            <a:off x="2" y="6423922"/>
            <a:ext cx="11110823" cy="0"/>
          </a:xfrm>
          <a:prstGeom prst="line">
            <a:avLst/>
          </a:prstGeom>
          <a:ln w="12700">
            <a:solidFill>
              <a:srgbClr val="585858"/>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B8D70E18-B604-8342-97F2-BD443AA442D6}"/>
              </a:ext>
            </a:extLst>
          </p:cNvPr>
          <p:cNvSpPr txBox="1"/>
          <p:nvPr/>
        </p:nvSpPr>
        <p:spPr>
          <a:xfrm>
            <a:off x="7165044" y="6496351"/>
            <a:ext cx="3945779" cy="138499"/>
          </a:xfrm>
          <a:prstGeom prst="rect">
            <a:avLst/>
          </a:prstGeom>
          <a:noFill/>
        </p:spPr>
        <p:txBody>
          <a:bodyPr wrap="square" lIns="0" tIns="0" rIns="0" bIns="0" rtlCol="0">
            <a:spAutoFit/>
          </a:bodyPr>
          <a:lstStyle/>
          <a:p>
            <a:pPr algn="r"/>
            <a:fld id="{6FE44530-26CC-4F42-A475-9489E3A0E8D7}" type="slidenum">
              <a:rPr lang="en-US" sz="900" baseline="0" smtClean="0">
                <a:solidFill>
                  <a:schemeClr val="tx1">
                    <a:lumMod val="65000"/>
                    <a:lumOff val="35000"/>
                  </a:schemeClr>
                </a:solidFill>
                <a:latin typeface="Arial" panose="020B0604020202020204" pitchFamily="34" charset="0"/>
              </a:rPr>
              <a:pPr algn="r"/>
              <a:t>‹#›</a:t>
            </a:fld>
            <a:endParaRPr lang="en-US" sz="900" baseline="0" err="1">
              <a:solidFill>
                <a:schemeClr val="tx1">
                  <a:lumMod val="65000"/>
                  <a:lumOff val="35000"/>
                </a:schemeClr>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4457EDB9-33D5-4863-9A04-F429C138EDE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21370" y="6235378"/>
            <a:ext cx="513348" cy="428324"/>
          </a:xfrm>
          <a:prstGeom prst="rect">
            <a:avLst/>
          </a:prstGeom>
        </p:spPr>
      </p:pic>
    </p:spTree>
    <p:extLst>
      <p:ext uri="{BB962C8B-B14F-4D97-AF65-F5344CB8AC3E}">
        <p14:creationId xmlns:p14="http://schemas.microsoft.com/office/powerpoint/2010/main" val="1959998810"/>
      </p:ext>
    </p:extLst>
  </p:cSld>
  <p:clrMapOvr>
    <a:masterClrMapping/>
  </p:clrMapOvr>
  <p:extLst>
    <p:ext uri="{DCECCB84-F9BA-43D5-87BE-67443E8EF086}">
      <p15:sldGuideLst xmlns:p15="http://schemas.microsoft.com/office/powerpoint/2012/main">
        <p15:guide id="1" pos="15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0C635B-5D30-4D99-AB15-1C37F0CF83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MY"/>
          </a:p>
        </p:txBody>
      </p:sp>
      <p:sp>
        <p:nvSpPr>
          <p:cNvPr id="3" name="Subtitle 2">
            <a:extLst>
              <a:ext uri="{FF2B5EF4-FFF2-40B4-BE49-F238E27FC236}">
                <a16:creationId xmlns:a16="http://schemas.microsoft.com/office/drawing/2014/main" id="{50E01C25-81B7-4675-85FA-195AA687DCA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MY"/>
          </a:p>
        </p:txBody>
      </p:sp>
      <p:sp>
        <p:nvSpPr>
          <p:cNvPr id="4" name="Date Placeholder 3">
            <a:extLst>
              <a:ext uri="{FF2B5EF4-FFF2-40B4-BE49-F238E27FC236}">
                <a16:creationId xmlns:a16="http://schemas.microsoft.com/office/drawing/2014/main" id="{33B77D9B-44BB-4EFE-8AEA-D2927DAE7108}"/>
              </a:ext>
            </a:extLst>
          </p:cNvPr>
          <p:cNvSpPr>
            <a:spLocks noGrp="1"/>
          </p:cNvSpPr>
          <p:nvPr>
            <p:ph type="dt" sz="half" idx="10"/>
          </p:nvPr>
        </p:nvSpPr>
        <p:spPr/>
        <p:txBody>
          <a:bodyPr/>
          <a:lstStyle/>
          <a:p>
            <a:fld id="{58E607A5-1A97-43F7-AC80-8CA5B756FDAF}" type="datetimeFigureOut">
              <a:rPr lang="en-MY" smtClean="0"/>
              <a:t>23/9/2021</a:t>
            </a:fld>
            <a:endParaRPr lang="en-MY"/>
          </a:p>
        </p:txBody>
      </p:sp>
      <p:sp>
        <p:nvSpPr>
          <p:cNvPr id="5" name="Footer Placeholder 4">
            <a:extLst>
              <a:ext uri="{FF2B5EF4-FFF2-40B4-BE49-F238E27FC236}">
                <a16:creationId xmlns:a16="http://schemas.microsoft.com/office/drawing/2014/main" id="{487CD281-7BBE-40E5-9F81-C67DFE19E3D1}"/>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0E1A1DDF-A962-4B27-A1D9-4318F5427E4F}"/>
              </a:ext>
            </a:extLst>
          </p:cNvPr>
          <p:cNvSpPr>
            <a:spLocks noGrp="1"/>
          </p:cNvSpPr>
          <p:nvPr>
            <p:ph type="sldNum" sz="quarter" idx="12"/>
          </p:nvPr>
        </p:nvSpPr>
        <p:spPr/>
        <p:txBody>
          <a:bodyPr/>
          <a:lstStyle/>
          <a:p>
            <a:fld id="{6201E3D9-67A8-4EC3-8880-0A19A14FFA65}" type="slidenum">
              <a:rPr lang="en-MY" smtClean="0"/>
              <a:t>‹#›</a:t>
            </a:fld>
            <a:endParaRPr lang="en-MY"/>
          </a:p>
        </p:txBody>
      </p:sp>
    </p:spTree>
    <p:extLst>
      <p:ext uri="{BB962C8B-B14F-4D97-AF65-F5344CB8AC3E}">
        <p14:creationId xmlns:p14="http://schemas.microsoft.com/office/powerpoint/2010/main" val="3736365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asic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14127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solidFill>
                <a:schemeClr val="tx1">
                  <a:lumMod val="75000"/>
                  <a:lumOff val="25000"/>
                </a:schemeClr>
              </a:solidFill>
            </a:endParaRPr>
          </a:p>
        </p:txBody>
      </p:sp>
      <p:sp>
        <p:nvSpPr>
          <p:cNvPr id="10" name="Text Placeholder 9"/>
          <p:cNvSpPr>
            <a:spLocks noGrp="1"/>
          </p:cNvSpPr>
          <p:nvPr>
            <p:ph type="body" sz="quarter" idx="10" hasCustomPrompt="1"/>
          </p:nvPr>
        </p:nvSpPr>
        <p:spPr>
          <a:xfrm>
            <a:off x="0" y="164639"/>
            <a:ext cx="12192000" cy="768085"/>
          </a:xfrm>
          <a:prstGeom prst="rect">
            <a:avLst/>
          </a:prstGeom>
        </p:spPr>
        <p:txBody>
          <a:bodyPr anchor="ctr"/>
          <a:lstStyle>
            <a:lvl1pPr marL="0" indent="0" algn="ctr">
              <a:buNone/>
              <a:defRPr sz="3600" b="0" baseline="0">
                <a:solidFill>
                  <a:schemeClr val="tx1">
                    <a:lumMod val="75000"/>
                    <a:lumOff val="25000"/>
                  </a:schemeClr>
                </a:solidFill>
                <a:latin typeface="+mj-lt"/>
                <a:cs typeface="Arial" pitchFamily="34" charset="0"/>
              </a:defRPr>
            </a:lvl1pPr>
          </a:lstStyle>
          <a:p>
            <a:pPr lvl="0"/>
            <a:r>
              <a:rPr lang="en-US" altLang="ko-KR"/>
              <a:t>BASIC LAYOUT</a:t>
            </a:r>
          </a:p>
        </p:txBody>
      </p:sp>
      <p:sp>
        <p:nvSpPr>
          <p:cNvPr id="11" name="Text Placeholder 9"/>
          <p:cNvSpPr>
            <a:spLocks noGrp="1"/>
          </p:cNvSpPr>
          <p:nvPr>
            <p:ph type="body" sz="quarter" idx="11" hasCustomPrompt="1"/>
          </p:nvPr>
        </p:nvSpPr>
        <p:spPr>
          <a:xfrm>
            <a:off x="0" y="932724"/>
            <a:ext cx="12192000" cy="384043"/>
          </a:xfrm>
          <a:prstGeom prst="rect">
            <a:avLst/>
          </a:prstGeom>
        </p:spPr>
        <p:txBody>
          <a:bodyPr anchor="ctr"/>
          <a:lstStyle>
            <a:lvl1pPr marL="0" indent="0" algn="ctr">
              <a:buNone/>
              <a:defRPr sz="1400" b="0" baseline="0">
                <a:solidFill>
                  <a:schemeClr val="tx1">
                    <a:lumMod val="75000"/>
                    <a:lumOff val="25000"/>
                  </a:schemeClr>
                </a:solidFill>
                <a:latin typeface="+mn-lt"/>
                <a:cs typeface="Arial" pitchFamily="34" charset="0"/>
              </a:defRPr>
            </a:lvl1pPr>
          </a:lstStyle>
          <a:p>
            <a:pPr lvl="0"/>
            <a:r>
              <a:rPr lang="en-US" altLang="ko-KR"/>
              <a:t>Insert the title of your subtitle Here</a:t>
            </a:r>
          </a:p>
        </p:txBody>
      </p:sp>
    </p:spTree>
    <p:extLst>
      <p:ext uri="{BB962C8B-B14F-4D97-AF65-F5344CB8AC3E}">
        <p14:creationId xmlns:p14="http://schemas.microsoft.com/office/powerpoint/2010/main" val="1637527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F3966B7-7F43-4680-BA7F-3391DE62F45D}"/>
              </a:ext>
            </a:extLst>
          </p:cNvPr>
          <p:cNvSpPr>
            <a:spLocks noGrp="1"/>
          </p:cNvSpPr>
          <p:nvPr>
            <p:ph type="dt" sz="half" idx="10"/>
          </p:nvPr>
        </p:nvSpPr>
        <p:spPr/>
        <p:txBody>
          <a:bodyPr/>
          <a:lstStyle/>
          <a:p>
            <a:fld id="{8951F483-1CB1-4BC8-A602-CC2FCEEF380F}" type="datetimeFigureOut">
              <a:rPr lang="en-HK" smtClean="0"/>
              <a:t>23/9/2021</a:t>
            </a:fld>
            <a:endParaRPr lang="en-HK"/>
          </a:p>
        </p:txBody>
      </p:sp>
      <p:sp>
        <p:nvSpPr>
          <p:cNvPr id="3" name="Footer Placeholder 2">
            <a:extLst>
              <a:ext uri="{FF2B5EF4-FFF2-40B4-BE49-F238E27FC236}">
                <a16:creationId xmlns:a16="http://schemas.microsoft.com/office/drawing/2014/main" id="{A7D478A6-4F25-4F0E-BD50-E5E5D49ED84E}"/>
              </a:ext>
            </a:extLst>
          </p:cNvPr>
          <p:cNvSpPr>
            <a:spLocks noGrp="1"/>
          </p:cNvSpPr>
          <p:nvPr>
            <p:ph type="ftr" sz="quarter" idx="11"/>
          </p:nvPr>
        </p:nvSpPr>
        <p:spPr/>
        <p:txBody>
          <a:bodyPr/>
          <a:lstStyle/>
          <a:p>
            <a:endParaRPr lang="en-HK"/>
          </a:p>
        </p:txBody>
      </p:sp>
      <p:sp>
        <p:nvSpPr>
          <p:cNvPr id="4" name="Slide Number Placeholder 3">
            <a:extLst>
              <a:ext uri="{FF2B5EF4-FFF2-40B4-BE49-F238E27FC236}">
                <a16:creationId xmlns:a16="http://schemas.microsoft.com/office/drawing/2014/main" id="{2C55DDB4-9F4F-4D2B-8403-C1E2719E3893}"/>
              </a:ext>
            </a:extLst>
          </p:cNvPr>
          <p:cNvSpPr>
            <a:spLocks noGrp="1"/>
          </p:cNvSpPr>
          <p:nvPr>
            <p:ph type="sldNum" sz="quarter" idx="12"/>
          </p:nvPr>
        </p:nvSpPr>
        <p:spPr/>
        <p:txBody>
          <a:bodyPr/>
          <a:lstStyle/>
          <a:p>
            <a:fld id="{068527AB-D70C-47E1-8E7E-4711C3BE38AB}" type="slidenum">
              <a:rPr lang="en-HK" smtClean="0"/>
              <a:t>‹#›</a:t>
            </a:fld>
            <a:endParaRPr lang="en-HK"/>
          </a:p>
        </p:txBody>
      </p:sp>
    </p:spTree>
    <p:extLst>
      <p:ext uri="{BB962C8B-B14F-4D97-AF65-F5344CB8AC3E}">
        <p14:creationId xmlns:p14="http://schemas.microsoft.com/office/powerpoint/2010/main" val="25514212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IA_TitleSlidePlain_v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3ADE62B-1AA3-8149-8E3A-DA039B09591A}"/>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ubtitle 2">
            <a:extLst>
              <a:ext uri="{FF2B5EF4-FFF2-40B4-BE49-F238E27FC236}">
                <a16:creationId xmlns:a16="http://schemas.microsoft.com/office/drawing/2014/main" id="{B45F2F17-3572-3A4A-967B-C2B64DA44BAA}"/>
              </a:ext>
            </a:extLst>
          </p:cNvPr>
          <p:cNvSpPr>
            <a:spLocks noGrp="1"/>
          </p:cNvSpPr>
          <p:nvPr>
            <p:ph type="subTitle" idx="1" hasCustomPrompt="1"/>
          </p:nvPr>
        </p:nvSpPr>
        <p:spPr>
          <a:xfrm>
            <a:off x="360000" y="3601225"/>
            <a:ext cx="5080000" cy="358775"/>
          </a:xfrm>
          <a:prstGeom prst="rect">
            <a:avLst/>
          </a:prstGeom>
        </p:spPr>
        <p:txBody>
          <a:bodyPr>
            <a:noAutofit/>
          </a:bodyPr>
          <a:lstStyle>
            <a:lvl1pPr marL="0" indent="0" algn="l">
              <a:lnSpc>
                <a:spcPct val="100000"/>
              </a:lnSpc>
              <a:spcBef>
                <a:spcPts val="600"/>
              </a:spcBef>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date</a:t>
            </a:r>
          </a:p>
        </p:txBody>
      </p:sp>
      <p:sp>
        <p:nvSpPr>
          <p:cNvPr id="6" name="Text Placeholder 11">
            <a:extLst>
              <a:ext uri="{FF2B5EF4-FFF2-40B4-BE49-F238E27FC236}">
                <a16:creationId xmlns:a16="http://schemas.microsoft.com/office/drawing/2014/main" id="{4FE4258D-FE3F-F24C-ABA9-E231F1CD0BEC}"/>
              </a:ext>
            </a:extLst>
          </p:cNvPr>
          <p:cNvSpPr>
            <a:spLocks noGrp="1"/>
          </p:cNvSpPr>
          <p:nvPr>
            <p:ph type="body" sz="quarter" idx="11" hasCustomPrompt="1"/>
          </p:nvPr>
        </p:nvSpPr>
        <p:spPr>
          <a:xfrm>
            <a:off x="360000" y="2160000"/>
            <a:ext cx="5400000" cy="1269000"/>
          </a:xfrm>
          <a:prstGeom prst="rect">
            <a:avLst/>
          </a:prstGeom>
          <a:noFill/>
        </p:spPr>
        <p:txBody>
          <a:bodyPr>
            <a:noAutofit/>
          </a:bodyPr>
          <a:lstStyle>
            <a:lvl1pPr>
              <a:lnSpc>
                <a:spcPct val="80000"/>
              </a:lnSpc>
              <a:defRPr sz="4800">
                <a:solidFill>
                  <a:schemeClr val="bg1"/>
                </a:solidFill>
              </a:defRPr>
            </a:lvl1pPr>
            <a:lvl2pPr marL="457200" indent="0">
              <a:buNone/>
              <a:defRPr/>
            </a:lvl2pPr>
          </a:lstStyle>
          <a:p>
            <a:pPr lvl="0"/>
            <a:r>
              <a:rPr lang="en-US"/>
              <a:t>Title of Presentation</a:t>
            </a:r>
          </a:p>
        </p:txBody>
      </p:sp>
      <p:sp>
        <p:nvSpPr>
          <p:cNvPr id="8" name="TextBox 7">
            <a:extLst>
              <a:ext uri="{FF2B5EF4-FFF2-40B4-BE49-F238E27FC236}">
                <a16:creationId xmlns:a16="http://schemas.microsoft.com/office/drawing/2014/main" id="{CA719435-0803-C04D-A16E-3CBAEBD7850C}"/>
              </a:ext>
            </a:extLst>
          </p:cNvPr>
          <p:cNvSpPr txBox="1"/>
          <p:nvPr/>
        </p:nvSpPr>
        <p:spPr>
          <a:xfrm>
            <a:off x="360000" y="6336000"/>
            <a:ext cx="5400000" cy="216000"/>
          </a:xfrm>
          <a:prstGeom prst="rect">
            <a:avLst/>
          </a:prstGeom>
          <a:noFill/>
        </p:spPr>
        <p:txBody>
          <a:bodyPr wrap="square" lIns="90000" rtlCol="0" anchor="ctr" anchorCtr="0">
            <a:spAutoFit/>
          </a:bodyPr>
          <a:lstStyle/>
          <a:p>
            <a:r>
              <a:rPr lang="en-GB" sz="800" b="0" i="0">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endParaRPr lang="en-US" sz="800" b="0" i="0">
              <a:solidFill>
                <a:schemeClr val="bg1"/>
              </a:solidFill>
              <a:latin typeface="Arial" panose="020B0604020202020204" pitchFamily="34" charset="0"/>
              <a:cs typeface="Arial" panose="020B0604020202020204" pitchFamily="34" charset="0"/>
            </a:endParaRPr>
          </a:p>
        </p:txBody>
      </p:sp>
      <p:pic>
        <p:nvPicPr>
          <p:cNvPr id="9" name="Graphic 8">
            <a:extLst>
              <a:ext uri="{FF2B5EF4-FFF2-40B4-BE49-F238E27FC236}">
                <a16:creationId xmlns:a16="http://schemas.microsoft.com/office/drawing/2014/main" id="{990EA091-DAE4-2B43-8C94-0A6CB4C195C8}"/>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25268" b="30387"/>
          <a:stretch/>
        </p:blipFill>
        <p:spPr>
          <a:xfrm>
            <a:off x="6580800" y="0"/>
            <a:ext cx="5611200" cy="6858000"/>
          </a:xfrm>
          <a:prstGeom prst="rect">
            <a:avLst/>
          </a:prstGeom>
        </p:spPr>
      </p:pic>
      <p:pic>
        <p:nvPicPr>
          <p:cNvPr id="11" name="Graphic 10">
            <a:extLst>
              <a:ext uri="{FF2B5EF4-FFF2-40B4-BE49-F238E27FC236}">
                <a16:creationId xmlns:a16="http://schemas.microsoft.com/office/drawing/2014/main" id="{94AD5778-8349-4B43-A72A-D0DB0C0FFD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63600" y="360000"/>
            <a:ext cx="635000" cy="660400"/>
          </a:xfrm>
          <a:prstGeom prst="rect">
            <a:avLst/>
          </a:prstGeom>
        </p:spPr>
      </p:pic>
    </p:spTree>
    <p:extLst>
      <p:ext uri="{BB962C8B-B14F-4D97-AF65-F5344CB8AC3E}">
        <p14:creationId xmlns:p14="http://schemas.microsoft.com/office/powerpoint/2010/main" val="19774209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AIA_subheader white">
    <p:spTree>
      <p:nvGrpSpPr>
        <p:cNvPr id="1" name=""/>
        <p:cNvGrpSpPr/>
        <p:nvPr/>
      </p:nvGrpSpPr>
      <p:grpSpPr>
        <a:xfrm>
          <a:off x="0" y="0"/>
          <a:ext cx="0" cy="0"/>
          <a:chOff x="0" y="0"/>
          <a:chExt cx="0" cy="0"/>
        </a:xfrm>
      </p:grpSpPr>
      <p:sp>
        <p:nvSpPr>
          <p:cNvPr id="21" name="Text Placeholder 4"/>
          <p:cNvSpPr>
            <a:spLocks noGrp="1"/>
          </p:cNvSpPr>
          <p:nvPr>
            <p:ph type="body" sz="quarter" idx="15" hasCustomPrompt="1"/>
          </p:nvPr>
        </p:nvSpPr>
        <p:spPr>
          <a:xfrm>
            <a:off x="4237200" y="1800000"/>
            <a:ext cx="3607200" cy="4256262"/>
          </a:xfrm>
          <a:prstGeom prst="rect">
            <a:avLst/>
          </a:prstGeom>
        </p:spPr>
        <p:txBody>
          <a:bodyPr vert="horz">
            <a:noAutofit/>
          </a:bodyPr>
          <a:lstStyle>
            <a:lvl1pPr algn="l">
              <a:lnSpc>
                <a:spcPct val="100000"/>
              </a:lnSpc>
              <a:defRPr sz="1600">
                <a:solidFill>
                  <a:schemeClr val="tx1"/>
                </a:solidFill>
              </a:defRPr>
            </a:lvl1pPr>
            <a:lvl2pPr algn="l">
              <a:defRPr sz="2000">
                <a:solidFill>
                  <a:schemeClr val="accent2"/>
                </a:solidFill>
              </a:defRPr>
            </a:lvl2pPr>
            <a:lvl3pPr algn="l">
              <a:defRPr sz="2000">
                <a:solidFill>
                  <a:schemeClr val="accent2"/>
                </a:solidFill>
              </a:defRPr>
            </a:lvl3pPr>
            <a:lvl4pPr algn="l">
              <a:defRPr sz="2000">
                <a:solidFill>
                  <a:schemeClr val="accent2"/>
                </a:solidFill>
              </a:defRPr>
            </a:lvl4pPr>
            <a:lvl5pPr algn="l">
              <a:defRPr sz="2000">
                <a:solidFill>
                  <a:schemeClr val="accent2"/>
                </a:solidFill>
              </a:defRPr>
            </a:lvl5pPr>
          </a:lstStyle>
          <a:p>
            <a:pPr lvl="0"/>
            <a:r>
              <a:rPr lang="en-GB" err="1"/>
              <a:t>Bodycopy</a:t>
            </a:r>
            <a:r>
              <a:rPr lang="en-GB"/>
              <a:t> in here</a:t>
            </a:r>
            <a:endParaRPr lang="en-US"/>
          </a:p>
        </p:txBody>
      </p:sp>
      <p:sp>
        <p:nvSpPr>
          <p:cNvPr id="22" name="Text Placeholder 4"/>
          <p:cNvSpPr>
            <a:spLocks noGrp="1"/>
          </p:cNvSpPr>
          <p:nvPr>
            <p:ph type="body" sz="quarter" idx="16" hasCustomPrompt="1"/>
          </p:nvPr>
        </p:nvSpPr>
        <p:spPr>
          <a:xfrm>
            <a:off x="360000" y="1800000"/>
            <a:ext cx="3600000" cy="4256262"/>
          </a:xfrm>
          <a:prstGeom prst="rect">
            <a:avLst/>
          </a:prstGeom>
        </p:spPr>
        <p:txBody>
          <a:bodyPr vert="horz">
            <a:noAutofit/>
          </a:bodyPr>
          <a:lstStyle>
            <a:lvl1pPr algn="l">
              <a:lnSpc>
                <a:spcPct val="100000"/>
              </a:lnSpc>
              <a:defRPr sz="1600">
                <a:solidFill>
                  <a:schemeClr val="tx1"/>
                </a:solidFill>
              </a:defRPr>
            </a:lvl1pPr>
            <a:lvl2pPr algn="l">
              <a:defRPr sz="2000">
                <a:solidFill>
                  <a:schemeClr val="accent2"/>
                </a:solidFill>
              </a:defRPr>
            </a:lvl2pPr>
            <a:lvl3pPr algn="l">
              <a:defRPr sz="2000">
                <a:solidFill>
                  <a:schemeClr val="accent2"/>
                </a:solidFill>
              </a:defRPr>
            </a:lvl3pPr>
            <a:lvl4pPr algn="l">
              <a:defRPr sz="2000">
                <a:solidFill>
                  <a:schemeClr val="accent2"/>
                </a:solidFill>
              </a:defRPr>
            </a:lvl4pPr>
            <a:lvl5pPr algn="l">
              <a:defRPr sz="2000">
                <a:solidFill>
                  <a:schemeClr val="accent2"/>
                </a:solidFill>
              </a:defRPr>
            </a:lvl5pPr>
          </a:lstStyle>
          <a:p>
            <a:pPr lvl="0"/>
            <a:r>
              <a:rPr lang="en-GB" err="1"/>
              <a:t>Bodycopy</a:t>
            </a:r>
            <a:r>
              <a:rPr lang="en-GB"/>
              <a:t> in here</a:t>
            </a:r>
            <a:endParaRPr lang="en-US"/>
          </a:p>
        </p:txBody>
      </p:sp>
      <p:sp>
        <p:nvSpPr>
          <p:cNvPr id="7" name="Text Placeholder 11">
            <a:extLst>
              <a:ext uri="{FF2B5EF4-FFF2-40B4-BE49-F238E27FC236}">
                <a16:creationId xmlns:a16="http://schemas.microsoft.com/office/drawing/2014/main" id="{C4B34AF1-3AD0-DE4E-91C8-39A92B566589}"/>
              </a:ext>
            </a:extLst>
          </p:cNvPr>
          <p:cNvSpPr>
            <a:spLocks noGrp="1"/>
          </p:cNvSpPr>
          <p:nvPr>
            <p:ph type="body" sz="quarter" idx="10" hasCustomPrompt="1"/>
          </p:nvPr>
        </p:nvSpPr>
        <p:spPr>
          <a:xfrm>
            <a:off x="360000" y="540000"/>
            <a:ext cx="11160000" cy="1338676"/>
          </a:xfrm>
          <a:prstGeom prst="rect">
            <a:avLst/>
          </a:prstGeom>
          <a:noFill/>
        </p:spPr>
        <p:txBody>
          <a:bodyPr>
            <a:noAutofit/>
          </a:bodyPr>
          <a:lstStyle>
            <a:lvl1pPr>
              <a:lnSpc>
                <a:spcPts val="3200"/>
              </a:lnSpc>
              <a:defRPr sz="3600">
                <a:solidFill>
                  <a:srgbClr val="333D47"/>
                </a:solidFill>
              </a:defRPr>
            </a:lvl1pPr>
            <a:lvl2pPr marL="457200" indent="0">
              <a:buNone/>
              <a:defRPr/>
            </a:lvl2pPr>
          </a:lstStyle>
          <a:p>
            <a:pPr lvl="0"/>
            <a:r>
              <a:rPr lang="en-US"/>
              <a:t>Headline</a:t>
            </a:r>
          </a:p>
        </p:txBody>
      </p:sp>
      <p:sp>
        <p:nvSpPr>
          <p:cNvPr id="10" name="Slide Number Placeholder 5">
            <a:extLst>
              <a:ext uri="{FF2B5EF4-FFF2-40B4-BE49-F238E27FC236}">
                <a16:creationId xmlns:a16="http://schemas.microsoft.com/office/drawing/2014/main" id="{3E493E1F-F28C-FD47-B996-3EBF17D328AE}"/>
              </a:ext>
            </a:extLst>
          </p:cNvPr>
          <p:cNvSpPr>
            <a:spLocks noGrp="1"/>
          </p:cNvSpPr>
          <p:nvPr>
            <p:ph type="sldNum" sz="quarter" idx="4"/>
          </p:nvPr>
        </p:nvSpPr>
        <p:spPr>
          <a:xfrm>
            <a:off x="359999" y="6264872"/>
            <a:ext cx="360000" cy="360000"/>
          </a:xfrm>
          <a:prstGeom prst="rect">
            <a:avLst/>
          </a:prstGeom>
        </p:spPr>
        <p:txBody>
          <a:bodyPr vert="horz" lIns="91440" tIns="45720" rIns="91440" bIns="45720" rtlCol="0" anchor="ctr"/>
          <a:lstStyle>
            <a:lvl1pPr algn="l">
              <a:defRPr sz="800" b="0" i="0">
                <a:solidFill>
                  <a:schemeClr val="tx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A122C823-F57B-45FB-9540-7F4DD962AB2E}" type="slidenum">
              <a:rPr kumimoji="0" lang="en-MY"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MY"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029127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AIA_blankGraphic">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21E97CF3-1B2B-3C4F-B98D-C24E6E08FCFC}"/>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1004" t="5114" r="34651" b="24263"/>
          <a:stretch/>
        </p:blipFill>
        <p:spPr>
          <a:xfrm>
            <a:off x="10178106" y="4184921"/>
            <a:ext cx="2021388" cy="2673079"/>
          </a:xfrm>
          <a:prstGeom prst="rect">
            <a:avLst/>
          </a:prstGeom>
        </p:spPr>
      </p:pic>
      <p:sp>
        <p:nvSpPr>
          <p:cNvPr id="8" name="Text Placeholder 4">
            <a:extLst>
              <a:ext uri="{FF2B5EF4-FFF2-40B4-BE49-F238E27FC236}">
                <a16:creationId xmlns:a16="http://schemas.microsoft.com/office/drawing/2014/main" id="{8283C79D-02B2-7C4C-ACCB-2BC606AA32AD}"/>
              </a:ext>
            </a:extLst>
          </p:cNvPr>
          <p:cNvSpPr>
            <a:spLocks noGrp="1"/>
          </p:cNvSpPr>
          <p:nvPr>
            <p:ph type="body" sz="quarter" idx="12"/>
          </p:nvPr>
        </p:nvSpPr>
        <p:spPr>
          <a:xfrm>
            <a:off x="360000" y="1800000"/>
            <a:ext cx="3600000" cy="2916793"/>
          </a:xfrm>
        </p:spPr>
        <p:txBody>
          <a:bodyPr>
            <a:noAutofit/>
          </a:bodyPr>
          <a:lstStyle>
            <a:lvl1pPr marL="285750" indent="-285750">
              <a:buClr>
                <a:schemeClr val="accent1"/>
              </a:buClr>
              <a:buSzPct val="125000"/>
              <a:buFont typeface="Courier New" panose="02070309020205020404" pitchFamily="49" charset="0"/>
              <a:buChar char="o"/>
              <a:defRPr/>
            </a:lvl1pPr>
            <a:lvl2pPr marL="742950" indent="-285750">
              <a:buClr>
                <a:schemeClr val="accent1"/>
              </a:buClr>
              <a:buSzPct val="125000"/>
              <a:buFont typeface="Courier New" panose="02070309020205020404" pitchFamily="49" charset="0"/>
              <a:buChar char="o"/>
              <a:defRPr/>
            </a:lvl2pPr>
            <a:lvl3pPr marL="1143000" indent="-228600">
              <a:buClr>
                <a:schemeClr val="accent1"/>
              </a:buClr>
              <a:buSzPct val="125000"/>
              <a:buFont typeface="Courier New" panose="02070309020205020404" pitchFamily="49" charset="0"/>
              <a:buChar char="o"/>
              <a:defRPr/>
            </a:lvl3pPr>
            <a:lvl4pPr marL="1600200" indent="-228600">
              <a:buClr>
                <a:schemeClr val="accent1"/>
              </a:buClr>
              <a:buSzPct val="125000"/>
              <a:buFont typeface="Courier New" panose="02070309020205020404" pitchFamily="49" charset="0"/>
              <a:buChar char="o"/>
              <a:defRPr/>
            </a:lvl4pPr>
            <a:lvl5pPr marL="2057400" indent="-228600">
              <a:buClr>
                <a:schemeClr val="accent1"/>
              </a:buClr>
              <a:buSzPct val="125000"/>
              <a:buFont typeface="Courier New" panose="02070309020205020404" pitchFamily="49" charset="0"/>
              <a:buChar char="o"/>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a:extLst>
              <a:ext uri="{FF2B5EF4-FFF2-40B4-BE49-F238E27FC236}">
                <a16:creationId xmlns:a16="http://schemas.microsoft.com/office/drawing/2014/main" id="{B6DAD27A-8F08-5A49-AF70-761746D020EE}"/>
              </a:ext>
            </a:extLst>
          </p:cNvPr>
          <p:cNvSpPr>
            <a:spLocks noGrp="1"/>
          </p:cNvSpPr>
          <p:nvPr>
            <p:ph type="sldNum" sz="quarter" idx="4"/>
          </p:nvPr>
        </p:nvSpPr>
        <p:spPr>
          <a:xfrm>
            <a:off x="359999" y="6264872"/>
            <a:ext cx="360000" cy="360000"/>
          </a:xfrm>
          <a:prstGeom prst="rect">
            <a:avLst/>
          </a:prstGeom>
        </p:spPr>
        <p:txBody>
          <a:bodyPr vert="horz" lIns="91440" tIns="45720" rIns="91440" bIns="45720" rtlCol="0" anchor="ctr"/>
          <a:lstStyle>
            <a:lvl1pPr algn="l">
              <a:defRPr sz="800" b="0" i="0">
                <a:solidFill>
                  <a:schemeClr val="tx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A122C823-F57B-45FB-9540-7F4DD962AB2E}" type="slidenum">
              <a:rPr kumimoji="0" lang="en-MY"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MY"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Text Placeholder 4">
            <a:extLst>
              <a:ext uri="{FF2B5EF4-FFF2-40B4-BE49-F238E27FC236}">
                <a16:creationId xmlns:a16="http://schemas.microsoft.com/office/drawing/2014/main" id="{355F38DE-1350-2D4C-B6FB-3A271A28F85A}"/>
              </a:ext>
            </a:extLst>
          </p:cNvPr>
          <p:cNvSpPr>
            <a:spLocks noGrp="1"/>
          </p:cNvSpPr>
          <p:nvPr>
            <p:ph type="body" sz="quarter" idx="16"/>
          </p:nvPr>
        </p:nvSpPr>
        <p:spPr>
          <a:xfrm>
            <a:off x="4237200" y="1800000"/>
            <a:ext cx="3600000" cy="2916793"/>
          </a:xfrm>
        </p:spPr>
        <p:txBody>
          <a:bodyPr>
            <a:noAutofit/>
          </a:bodyPr>
          <a:lstStyle>
            <a:lvl1pPr marL="285750" indent="-285750">
              <a:buClr>
                <a:schemeClr val="accent1"/>
              </a:buClr>
              <a:buSzPct val="125000"/>
              <a:buFont typeface="Courier New" panose="02070309020205020404" pitchFamily="49" charset="0"/>
              <a:buChar char="o"/>
              <a:defRPr/>
            </a:lvl1pPr>
            <a:lvl2pPr marL="742950" indent="-285750">
              <a:buClr>
                <a:schemeClr val="accent1"/>
              </a:buClr>
              <a:buSzPct val="125000"/>
              <a:buFont typeface="Courier New" panose="02070309020205020404" pitchFamily="49" charset="0"/>
              <a:buChar char="o"/>
              <a:defRPr/>
            </a:lvl2pPr>
            <a:lvl3pPr marL="1143000" indent="-228600">
              <a:buClr>
                <a:schemeClr val="accent1"/>
              </a:buClr>
              <a:buSzPct val="125000"/>
              <a:buFont typeface="Courier New" panose="02070309020205020404" pitchFamily="49" charset="0"/>
              <a:buChar char="o"/>
              <a:defRPr/>
            </a:lvl3pPr>
            <a:lvl4pPr marL="1600200" indent="-228600">
              <a:buClr>
                <a:schemeClr val="accent1"/>
              </a:buClr>
              <a:buSzPct val="125000"/>
              <a:buFont typeface="Courier New" panose="02070309020205020404" pitchFamily="49" charset="0"/>
              <a:buChar char="o"/>
              <a:defRPr/>
            </a:lvl4pPr>
            <a:lvl5pPr marL="2057400" indent="-228600">
              <a:buClr>
                <a:schemeClr val="accent1"/>
              </a:buClr>
              <a:buSzPct val="125000"/>
              <a:buFont typeface="Courier New" panose="02070309020205020404" pitchFamily="49" charset="0"/>
              <a:buChar char="o"/>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a:extLst>
              <a:ext uri="{FF2B5EF4-FFF2-40B4-BE49-F238E27FC236}">
                <a16:creationId xmlns:a16="http://schemas.microsoft.com/office/drawing/2014/main" id="{3F80291D-9E0D-4F4E-B07E-13D3B4C2306F}"/>
              </a:ext>
            </a:extLst>
          </p:cNvPr>
          <p:cNvSpPr>
            <a:spLocks noGrp="1"/>
          </p:cNvSpPr>
          <p:nvPr>
            <p:ph type="body" sz="quarter" idx="10" hasCustomPrompt="1"/>
          </p:nvPr>
        </p:nvSpPr>
        <p:spPr>
          <a:xfrm>
            <a:off x="360000" y="540000"/>
            <a:ext cx="11160000" cy="1338676"/>
          </a:xfrm>
          <a:prstGeom prst="rect">
            <a:avLst/>
          </a:prstGeom>
          <a:noFill/>
        </p:spPr>
        <p:txBody>
          <a:bodyPr>
            <a:noAutofit/>
          </a:bodyPr>
          <a:lstStyle>
            <a:lvl1pPr>
              <a:lnSpc>
                <a:spcPts val="3200"/>
              </a:lnSpc>
              <a:defRPr sz="3600">
                <a:solidFill>
                  <a:srgbClr val="333D47"/>
                </a:solidFill>
              </a:defRPr>
            </a:lvl1pPr>
            <a:lvl2pPr marL="457200" indent="0">
              <a:buNone/>
              <a:defRPr/>
            </a:lvl2pPr>
          </a:lstStyle>
          <a:p>
            <a:pPr lvl="0"/>
            <a:r>
              <a:rPr lang="en-US"/>
              <a:t>Headline</a:t>
            </a:r>
          </a:p>
        </p:txBody>
      </p:sp>
      <p:pic>
        <p:nvPicPr>
          <p:cNvPr id="10" name="Graphic 9">
            <a:extLst>
              <a:ext uri="{FF2B5EF4-FFF2-40B4-BE49-F238E27FC236}">
                <a16:creationId xmlns:a16="http://schemas.microsoft.com/office/drawing/2014/main" id="{33BE3CB4-AD8C-5A4B-A57E-EC5458BD22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60000" y="5792400"/>
            <a:ext cx="635000" cy="660400"/>
          </a:xfrm>
          <a:prstGeom prst="rect">
            <a:avLst/>
          </a:prstGeom>
        </p:spPr>
      </p:pic>
    </p:spTree>
    <p:extLst>
      <p:ext uri="{BB962C8B-B14F-4D97-AF65-F5344CB8AC3E}">
        <p14:creationId xmlns:p14="http://schemas.microsoft.com/office/powerpoint/2010/main" val="42290919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AIA_Content">
    <p:spTree>
      <p:nvGrpSpPr>
        <p:cNvPr id="1" name=""/>
        <p:cNvGrpSpPr/>
        <p:nvPr/>
      </p:nvGrpSpPr>
      <p:grpSpPr>
        <a:xfrm>
          <a:off x="0" y="0"/>
          <a:ext cx="0" cy="0"/>
          <a:chOff x="0" y="0"/>
          <a:chExt cx="0" cy="0"/>
        </a:xfrm>
      </p:grpSpPr>
      <p:sp>
        <p:nvSpPr>
          <p:cNvPr id="7" name="Text Placeholder 4"/>
          <p:cNvSpPr>
            <a:spLocks noGrp="1"/>
          </p:cNvSpPr>
          <p:nvPr>
            <p:ph type="body" sz="quarter" idx="15" hasCustomPrompt="1"/>
          </p:nvPr>
        </p:nvSpPr>
        <p:spPr>
          <a:xfrm>
            <a:off x="4237200" y="1800000"/>
            <a:ext cx="3600000" cy="3518760"/>
          </a:xfrm>
          <a:prstGeom prst="rect">
            <a:avLst/>
          </a:prstGeom>
        </p:spPr>
        <p:txBody>
          <a:bodyPr vert="horz">
            <a:noAutofit/>
          </a:bodyPr>
          <a:lstStyle>
            <a:lvl1pPr algn="l">
              <a:defRPr sz="1600">
                <a:solidFill>
                  <a:srgbClr val="333D47"/>
                </a:solidFill>
              </a:defRPr>
            </a:lvl1pPr>
            <a:lvl2pPr algn="l">
              <a:defRPr sz="2000">
                <a:solidFill>
                  <a:schemeClr val="accent2"/>
                </a:solidFill>
              </a:defRPr>
            </a:lvl2pPr>
            <a:lvl3pPr algn="l">
              <a:defRPr sz="2000">
                <a:solidFill>
                  <a:schemeClr val="accent2"/>
                </a:solidFill>
              </a:defRPr>
            </a:lvl3pPr>
            <a:lvl4pPr algn="l">
              <a:defRPr sz="2000">
                <a:solidFill>
                  <a:schemeClr val="accent2"/>
                </a:solidFill>
              </a:defRPr>
            </a:lvl4pPr>
            <a:lvl5pPr algn="l">
              <a:defRPr sz="2000">
                <a:solidFill>
                  <a:schemeClr val="accent2"/>
                </a:solidFill>
              </a:defRPr>
            </a:lvl5pPr>
          </a:lstStyle>
          <a:p>
            <a:pPr lvl="0"/>
            <a:r>
              <a:rPr lang="en-GB" err="1"/>
              <a:t>Bodycopy</a:t>
            </a:r>
            <a:r>
              <a:rPr lang="en-GB"/>
              <a:t> in here</a:t>
            </a:r>
            <a:endParaRPr lang="en-US"/>
          </a:p>
        </p:txBody>
      </p:sp>
      <p:sp>
        <p:nvSpPr>
          <p:cNvPr id="8" name="Text Placeholder 4"/>
          <p:cNvSpPr>
            <a:spLocks noGrp="1"/>
          </p:cNvSpPr>
          <p:nvPr>
            <p:ph type="body" sz="quarter" idx="16" hasCustomPrompt="1"/>
          </p:nvPr>
        </p:nvSpPr>
        <p:spPr>
          <a:xfrm>
            <a:off x="360000" y="1800000"/>
            <a:ext cx="3600000" cy="3518760"/>
          </a:xfrm>
          <a:prstGeom prst="rect">
            <a:avLst/>
          </a:prstGeom>
        </p:spPr>
        <p:txBody>
          <a:bodyPr vert="horz">
            <a:noAutofit/>
          </a:bodyPr>
          <a:lstStyle>
            <a:lvl1pPr algn="l">
              <a:defRPr sz="1600">
                <a:solidFill>
                  <a:srgbClr val="333D47"/>
                </a:solidFill>
              </a:defRPr>
            </a:lvl1pPr>
            <a:lvl2pPr algn="l">
              <a:defRPr sz="2000">
                <a:solidFill>
                  <a:schemeClr val="accent2"/>
                </a:solidFill>
              </a:defRPr>
            </a:lvl2pPr>
            <a:lvl3pPr algn="l">
              <a:defRPr sz="2000">
                <a:solidFill>
                  <a:schemeClr val="accent2"/>
                </a:solidFill>
              </a:defRPr>
            </a:lvl3pPr>
            <a:lvl4pPr algn="l">
              <a:defRPr sz="2000">
                <a:solidFill>
                  <a:schemeClr val="accent2"/>
                </a:solidFill>
              </a:defRPr>
            </a:lvl4pPr>
            <a:lvl5pPr algn="l">
              <a:defRPr sz="2000">
                <a:solidFill>
                  <a:schemeClr val="accent2"/>
                </a:solidFill>
              </a:defRPr>
            </a:lvl5pPr>
          </a:lstStyle>
          <a:p>
            <a:pPr lvl="0"/>
            <a:r>
              <a:rPr lang="en-GB" err="1"/>
              <a:t>Bodycopy</a:t>
            </a:r>
            <a:r>
              <a:rPr lang="en-GB"/>
              <a:t> in here</a:t>
            </a:r>
            <a:endParaRPr lang="en-US"/>
          </a:p>
        </p:txBody>
      </p:sp>
      <p:sp>
        <p:nvSpPr>
          <p:cNvPr id="9" name="Text Placeholder 4"/>
          <p:cNvSpPr>
            <a:spLocks noGrp="1"/>
          </p:cNvSpPr>
          <p:nvPr>
            <p:ph type="body" sz="quarter" idx="17" hasCustomPrompt="1"/>
          </p:nvPr>
        </p:nvSpPr>
        <p:spPr>
          <a:xfrm>
            <a:off x="8074788" y="1800000"/>
            <a:ext cx="3600000" cy="3518760"/>
          </a:xfrm>
          <a:prstGeom prst="rect">
            <a:avLst/>
          </a:prstGeom>
        </p:spPr>
        <p:txBody>
          <a:bodyPr vert="horz">
            <a:noAutofit/>
          </a:bodyPr>
          <a:lstStyle>
            <a:lvl1pPr algn="l">
              <a:defRPr sz="1600">
                <a:solidFill>
                  <a:srgbClr val="333D47"/>
                </a:solidFill>
              </a:defRPr>
            </a:lvl1pPr>
            <a:lvl2pPr algn="l">
              <a:defRPr sz="2000">
                <a:solidFill>
                  <a:schemeClr val="accent2"/>
                </a:solidFill>
              </a:defRPr>
            </a:lvl2pPr>
            <a:lvl3pPr algn="l">
              <a:defRPr sz="2000">
                <a:solidFill>
                  <a:schemeClr val="accent2"/>
                </a:solidFill>
              </a:defRPr>
            </a:lvl3pPr>
            <a:lvl4pPr algn="l">
              <a:defRPr sz="2000">
                <a:solidFill>
                  <a:schemeClr val="accent2"/>
                </a:solidFill>
              </a:defRPr>
            </a:lvl4pPr>
            <a:lvl5pPr algn="l">
              <a:defRPr sz="2000">
                <a:solidFill>
                  <a:schemeClr val="accent2"/>
                </a:solidFill>
              </a:defRPr>
            </a:lvl5pPr>
          </a:lstStyle>
          <a:p>
            <a:pPr lvl="0"/>
            <a:r>
              <a:rPr lang="en-GB" err="1"/>
              <a:t>Bodycopy</a:t>
            </a:r>
            <a:r>
              <a:rPr lang="en-GB"/>
              <a:t> in here</a:t>
            </a:r>
            <a:endParaRPr lang="en-US"/>
          </a:p>
        </p:txBody>
      </p:sp>
      <p:sp>
        <p:nvSpPr>
          <p:cNvPr id="12" name="Slide Number Placeholder 5">
            <a:extLst>
              <a:ext uri="{FF2B5EF4-FFF2-40B4-BE49-F238E27FC236}">
                <a16:creationId xmlns:a16="http://schemas.microsoft.com/office/drawing/2014/main" id="{AC86FCA0-09A2-DF48-9396-1E7B77D96015}"/>
              </a:ext>
            </a:extLst>
          </p:cNvPr>
          <p:cNvSpPr>
            <a:spLocks noGrp="1"/>
          </p:cNvSpPr>
          <p:nvPr>
            <p:ph type="sldNum" sz="quarter" idx="4"/>
          </p:nvPr>
        </p:nvSpPr>
        <p:spPr>
          <a:xfrm>
            <a:off x="359999" y="6264872"/>
            <a:ext cx="360000" cy="360000"/>
          </a:xfrm>
          <a:prstGeom prst="rect">
            <a:avLst/>
          </a:prstGeom>
        </p:spPr>
        <p:txBody>
          <a:bodyPr vert="horz" lIns="91440" tIns="45720" rIns="91440" bIns="45720" rtlCol="0" anchor="ctr"/>
          <a:lstStyle>
            <a:lvl1pPr algn="l">
              <a:defRPr sz="800" b="0" i="0">
                <a:solidFill>
                  <a:schemeClr val="tx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A122C823-F57B-45FB-9540-7F4DD962AB2E}" type="slidenum">
              <a:rPr kumimoji="0" lang="en-MY"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MY"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 name="Text Placeholder 11">
            <a:extLst>
              <a:ext uri="{FF2B5EF4-FFF2-40B4-BE49-F238E27FC236}">
                <a16:creationId xmlns:a16="http://schemas.microsoft.com/office/drawing/2014/main" id="{CADE9AD9-783B-9A42-96AE-67B95523C284}"/>
              </a:ext>
            </a:extLst>
          </p:cNvPr>
          <p:cNvSpPr>
            <a:spLocks noGrp="1"/>
          </p:cNvSpPr>
          <p:nvPr>
            <p:ph type="body" sz="quarter" idx="10" hasCustomPrompt="1"/>
          </p:nvPr>
        </p:nvSpPr>
        <p:spPr>
          <a:xfrm>
            <a:off x="360000" y="540000"/>
            <a:ext cx="11160000" cy="1338676"/>
          </a:xfrm>
          <a:prstGeom prst="rect">
            <a:avLst/>
          </a:prstGeom>
          <a:noFill/>
        </p:spPr>
        <p:txBody>
          <a:bodyPr>
            <a:noAutofit/>
          </a:bodyPr>
          <a:lstStyle>
            <a:lvl1pPr>
              <a:lnSpc>
                <a:spcPts val="3200"/>
              </a:lnSpc>
              <a:defRPr sz="3600">
                <a:solidFill>
                  <a:srgbClr val="333D47"/>
                </a:solidFill>
              </a:defRPr>
            </a:lvl1pPr>
            <a:lvl2pPr marL="457200" indent="0">
              <a:buNone/>
              <a:defRPr/>
            </a:lvl2pPr>
          </a:lstStyle>
          <a:p>
            <a:pPr lvl="0"/>
            <a:r>
              <a:rPr lang="en-US"/>
              <a:t>Headline</a:t>
            </a:r>
          </a:p>
        </p:txBody>
      </p:sp>
    </p:spTree>
    <p:extLst>
      <p:ext uri="{BB962C8B-B14F-4D97-AF65-F5344CB8AC3E}">
        <p14:creationId xmlns:p14="http://schemas.microsoft.com/office/powerpoint/2010/main" val="2062466245"/>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32">
            <a:extLst>
              <a:ext uri="{FF2B5EF4-FFF2-40B4-BE49-F238E27FC236}">
                <a16:creationId xmlns:a16="http://schemas.microsoft.com/office/drawing/2014/main" id="{9514748F-CC0E-4EB8-92C9-1F03750B1E1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56" r="958"/>
          <a:stretch>
            <a:fillRect/>
          </a:stretch>
        </p:blipFill>
        <p:spPr bwMode="auto">
          <a:xfrm>
            <a:off x="1" y="0"/>
            <a:ext cx="11656646" cy="543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a:extLst>
              <a:ext uri="{FF2B5EF4-FFF2-40B4-BE49-F238E27FC236}">
                <a16:creationId xmlns:a16="http://schemas.microsoft.com/office/drawing/2014/main" id="{1EF4E94F-577F-485D-9F7A-B52AA5D27C77}"/>
              </a:ext>
            </a:extLst>
          </p:cNvPr>
          <p:cNvSpPr txBox="1">
            <a:spLocks noChangeArrowheads="1"/>
          </p:cNvSpPr>
          <p:nvPr/>
        </p:nvSpPr>
        <p:spPr bwMode="auto">
          <a:xfrm>
            <a:off x="353647" y="6492876"/>
            <a:ext cx="660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900">
                <a:solidFill>
                  <a:srgbClr val="58595B"/>
                </a:solidFill>
                <a:latin typeface="Arial" panose="020B0604020202020204" pitchFamily="34" charset="0"/>
                <a:ea typeface="MS PGothic" panose="020B0600070205080204" pitchFamily="34" charset="-128"/>
                <a:cs typeface="Arial" panose="020B0604020202020204" pitchFamily="34" charset="0"/>
              </a:rPr>
              <a:t>AIA confidential and proprietary information. Not for distribution. </a:t>
            </a:r>
          </a:p>
        </p:txBody>
      </p:sp>
      <p:pic>
        <p:nvPicPr>
          <p:cNvPr id="6" name="Picture 12">
            <a:extLst>
              <a:ext uri="{FF2B5EF4-FFF2-40B4-BE49-F238E27FC236}">
                <a16:creationId xmlns:a16="http://schemas.microsoft.com/office/drawing/2014/main" id="{29A66500-0556-4733-A780-87AEB9B4EC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15755" y="5689601"/>
            <a:ext cx="2840892" cy="83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9600" y="1905003"/>
            <a:ext cx="10363200" cy="457201"/>
          </a:xfrm>
        </p:spPr>
        <p:txBody>
          <a:bodyPr/>
          <a:lstStyle>
            <a:lvl1pPr>
              <a:defRPr>
                <a:solidFill>
                  <a:schemeClr val="bg1"/>
                </a:solidFill>
              </a:defRPr>
            </a:lvl1pPr>
          </a:lstStyle>
          <a:p>
            <a:r>
              <a:rPr lang="en-US"/>
              <a:t>Click to edit Master title style</a:t>
            </a:r>
          </a:p>
        </p:txBody>
      </p:sp>
      <p:sp>
        <p:nvSpPr>
          <p:cNvPr id="3" name="Subtitle 2"/>
          <p:cNvSpPr>
            <a:spLocks noGrp="1"/>
          </p:cNvSpPr>
          <p:nvPr>
            <p:ph type="subTitle" idx="1"/>
          </p:nvPr>
        </p:nvSpPr>
        <p:spPr>
          <a:xfrm>
            <a:off x="375138" y="5588004"/>
            <a:ext cx="5080000" cy="358775"/>
          </a:xfrm>
        </p:spPr>
        <p:txBody>
          <a:bodyPr>
            <a:normAutofit/>
          </a:bodyPr>
          <a:lstStyle>
            <a:lvl1pPr marL="0" indent="0" algn="l">
              <a:buNone/>
              <a:defRPr sz="1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Date Placeholder 3">
            <a:extLst>
              <a:ext uri="{FF2B5EF4-FFF2-40B4-BE49-F238E27FC236}">
                <a16:creationId xmlns:a16="http://schemas.microsoft.com/office/drawing/2014/main" id="{7982E974-95EE-42FC-9EA7-65DE2134DA19}"/>
              </a:ext>
            </a:extLst>
          </p:cNvPr>
          <p:cNvSpPr>
            <a:spLocks noGrp="1"/>
          </p:cNvSpPr>
          <p:nvPr>
            <p:ph type="dt" sz="half" idx="10"/>
          </p:nvPr>
        </p:nvSpPr>
        <p:spPr/>
        <p:txBody>
          <a:bodyPr/>
          <a:lstStyle>
            <a:lvl1pPr>
              <a:defRPr/>
            </a:lvl1pPr>
          </a:lstStyle>
          <a:p>
            <a:pPr>
              <a:defRPr/>
            </a:pPr>
            <a:fld id="{AC0D6D67-18A7-4EEA-A533-F9419E19893D}" type="datetimeFigureOut">
              <a:rPr lang="en-MY"/>
              <a:pPr>
                <a:defRPr/>
              </a:pPr>
              <a:t>23/9/2021</a:t>
            </a:fld>
            <a:endParaRPr lang="en-MY"/>
          </a:p>
        </p:txBody>
      </p:sp>
      <p:sp>
        <p:nvSpPr>
          <p:cNvPr id="8" name="Footer Placeholder 4">
            <a:extLst>
              <a:ext uri="{FF2B5EF4-FFF2-40B4-BE49-F238E27FC236}">
                <a16:creationId xmlns:a16="http://schemas.microsoft.com/office/drawing/2014/main" id="{090AC5F3-57A1-43B7-B43B-27B76CDAF9F9}"/>
              </a:ext>
            </a:extLst>
          </p:cNvPr>
          <p:cNvSpPr>
            <a:spLocks noGrp="1"/>
          </p:cNvSpPr>
          <p:nvPr>
            <p:ph type="ftr" sz="quarter" idx="11"/>
          </p:nvPr>
        </p:nvSpPr>
        <p:spPr/>
        <p:txBody>
          <a:bodyPr/>
          <a:lstStyle>
            <a:lvl1pPr>
              <a:defRPr/>
            </a:lvl1pPr>
          </a:lstStyle>
          <a:p>
            <a:pPr>
              <a:defRPr/>
            </a:pPr>
            <a:endParaRPr lang="en-MY"/>
          </a:p>
        </p:txBody>
      </p:sp>
    </p:spTree>
    <p:extLst>
      <p:ext uri="{BB962C8B-B14F-4D97-AF65-F5344CB8AC3E}">
        <p14:creationId xmlns:p14="http://schemas.microsoft.com/office/powerpoint/2010/main" val="23810516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a:xfrm>
            <a:off x="609600" y="188643"/>
            <a:ext cx="10160000" cy="720079"/>
          </a:xfrm>
        </p:spPr>
        <p:txBody>
          <a:bodyPr/>
          <a:lstStyle/>
          <a:p>
            <a:r>
              <a:rPr lang="en-US" noProof="0"/>
              <a:t>Click to edit Master title style</a:t>
            </a:r>
            <a:endParaRPr lang="en-GB" noProof="0"/>
          </a:p>
        </p:txBody>
      </p:sp>
      <p:sp>
        <p:nvSpPr>
          <p:cNvPr id="3" name="Slide Number Placeholder 5">
            <a:extLst>
              <a:ext uri="{FF2B5EF4-FFF2-40B4-BE49-F238E27FC236}">
                <a16:creationId xmlns:a16="http://schemas.microsoft.com/office/drawing/2014/main" id="{A9825BAE-B20F-452B-BD64-A71F817E320F}"/>
              </a:ext>
            </a:extLst>
          </p:cNvPr>
          <p:cNvSpPr>
            <a:spLocks noGrp="1"/>
          </p:cNvSpPr>
          <p:nvPr>
            <p:ph type="sldNum" sz="quarter" idx="10"/>
          </p:nvPr>
        </p:nvSpPr>
        <p:spPr>
          <a:xfrm>
            <a:off x="11324492" y="6356351"/>
            <a:ext cx="609600" cy="365125"/>
          </a:xfrm>
          <a:prstGeom prst="rect">
            <a:avLst/>
          </a:prstGeom>
        </p:spPr>
        <p:txBody>
          <a:bodyPr/>
          <a:lstStyle>
            <a:lvl1pPr eaLnBrk="1" fontAlgn="auto" hangingPunct="1">
              <a:spcBef>
                <a:spcPts val="0"/>
              </a:spcBef>
              <a:spcAft>
                <a:spcPts val="0"/>
              </a:spcAft>
              <a:defRPr sz="1000" smtClean="0">
                <a:solidFill>
                  <a:schemeClr val="tx1"/>
                </a:solidFill>
                <a:latin typeface="Arial" panose="020B0604020202020204" pitchFamily="34" charset="0"/>
                <a:cs typeface="Arial" panose="020B0604020202020204" pitchFamily="34" charset="0"/>
              </a:defRPr>
            </a:lvl1pPr>
          </a:lstStyle>
          <a:p>
            <a:pPr>
              <a:defRPr/>
            </a:pPr>
            <a:fld id="{80E3C279-699B-44B4-A0F9-EA24186B62DF}" type="slidenum">
              <a:rPr lang="en-MY"/>
              <a:pPr>
                <a:defRPr/>
              </a:pPr>
              <a:t>‹#›</a:t>
            </a:fld>
            <a:endParaRPr lang="en-MY"/>
          </a:p>
        </p:txBody>
      </p:sp>
    </p:spTree>
    <p:extLst>
      <p:ext uri="{BB962C8B-B14F-4D97-AF65-F5344CB8AC3E}">
        <p14:creationId xmlns:p14="http://schemas.microsoft.com/office/powerpoint/2010/main" val="11918644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3_Divider Slide - Key Visual">
    <p:spTree>
      <p:nvGrpSpPr>
        <p:cNvPr id="1" name=""/>
        <p:cNvGrpSpPr/>
        <p:nvPr/>
      </p:nvGrpSpPr>
      <p:grpSpPr>
        <a:xfrm>
          <a:off x="0" y="0"/>
          <a:ext cx="0" cy="0"/>
          <a:chOff x="0" y="0"/>
          <a:chExt cx="0" cy="0"/>
        </a:xfrm>
      </p:grpSpPr>
      <p:sp>
        <p:nvSpPr>
          <p:cNvPr id="4" name="TextBox 9">
            <a:extLst>
              <a:ext uri="{FF2B5EF4-FFF2-40B4-BE49-F238E27FC236}">
                <a16:creationId xmlns:a16="http://schemas.microsoft.com/office/drawing/2014/main" id="{D877539E-F446-4EAD-BB98-07ABCF7B4D14}"/>
              </a:ext>
            </a:extLst>
          </p:cNvPr>
          <p:cNvSpPr txBox="1">
            <a:spLocks noChangeArrowheads="1"/>
          </p:cNvSpPr>
          <p:nvPr/>
        </p:nvSpPr>
        <p:spPr bwMode="auto">
          <a:xfrm>
            <a:off x="353647" y="6492876"/>
            <a:ext cx="660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900">
                <a:solidFill>
                  <a:srgbClr val="58595B"/>
                </a:solidFill>
                <a:latin typeface="Arial" panose="020B0604020202020204" pitchFamily="34" charset="0"/>
                <a:ea typeface="MS PGothic" panose="020B0600070205080204" pitchFamily="34" charset="-128"/>
                <a:cs typeface="Arial" panose="020B0604020202020204" pitchFamily="34" charset="0"/>
              </a:rPr>
              <a:t>AIA confidential and proprietary information. Not for distribution. </a:t>
            </a:r>
          </a:p>
        </p:txBody>
      </p:sp>
      <p:sp>
        <p:nvSpPr>
          <p:cNvPr id="5" name="Title 1">
            <a:extLst>
              <a:ext uri="{FF2B5EF4-FFF2-40B4-BE49-F238E27FC236}">
                <a16:creationId xmlns:a16="http://schemas.microsoft.com/office/drawing/2014/main" id="{1168A9F0-0710-4109-97B4-CDE558C27410}"/>
              </a:ext>
            </a:extLst>
          </p:cNvPr>
          <p:cNvSpPr txBox="1">
            <a:spLocks/>
          </p:cNvSpPr>
          <p:nvPr/>
        </p:nvSpPr>
        <p:spPr>
          <a:xfrm>
            <a:off x="609601" y="4178300"/>
            <a:ext cx="3890108" cy="1250950"/>
          </a:xfrm>
          <a:prstGeom prst="rect">
            <a:avLst/>
          </a:prstGeom>
          <a:noFill/>
        </p:spPr>
        <p:txBody>
          <a:bodyPr rIns="0" bIns="0">
            <a:normAutofit/>
          </a:bodyPr>
          <a:lstStyle>
            <a:lvl1pPr algn="l" defTabSz="914400" rtl="0" eaLnBrk="1" latinLnBrk="0" hangingPunct="1">
              <a:spcBef>
                <a:spcPct val="0"/>
              </a:spcBef>
              <a:buNone/>
              <a:defRPr sz="2400" b="1" kern="1200" cap="all" normalizeH="0" baseline="0">
                <a:solidFill>
                  <a:schemeClr val="bg1"/>
                </a:solidFill>
                <a:latin typeface="Arial" panose="020B0604020202020204" pitchFamily="34" charset="0"/>
                <a:ea typeface="+mj-ea"/>
                <a:cs typeface="Arial" panose="020B0604020202020204" pitchFamily="34" charset="0"/>
              </a:defRPr>
            </a:lvl1pPr>
          </a:lstStyle>
          <a:p>
            <a:pPr fontAlgn="auto">
              <a:spcAft>
                <a:spcPts val="0"/>
              </a:spcAft>
              <a:defRPr/>
            </a:pPr>
            <a:r>
              <a:rPr lang="en-US" sz="2400"/>
              <a:t>CLICK TO EDIT TITLE</a:t>
            </a:r>
          </a:p>
        </p:txBody>
      </p:sp>
      <p:sp>
        <p:nvSpPr>
          <p:cNvPr id="8" name="Picture Placeholder 7"/>
          <p:cNvSpPr>
            <a:spLocks noGrp="1"/>
          </p:cNvSpPr>
          <p:nvPr>
            <p:ph type="pic" sz="quarter" idx="13"/>
          </p:nvPr>
        </p:nvSpPr>
        <p:spPr>
          <a:xfrm>
            <a:off x="0" y="0"/>
            <a:ext cx="12192000" cy="6858000"/>
          </a:xfrm>
        </p:spPr>
        <p:txBody>
          <a:bodyPr rtlCol="0">
            <a:normAutofit/>
          </a:bodyPr>
          <a:lstStyle/>
          <a:p>
            <a:pPr lvl="0"/>
            <a:r>
              <a:rPr lang="en-US" noProof="0"/>
              <a:t>Click icon to add picture</a:t>
            </a:r>
            <a:endParaRPr lang="en-GB" noProof="0"/>
          </a:p>
        </p:txBody>
      </p:sp>
      <p:sp>
        <p:nvSpPr>
          <p:cNvPr id="3" name="Picture Placeholder 2"/>
          <p:cNvSpPr>
            <a:spLocks noGrp="1" noChangeAspect="1"/>
          </p:cNvSpPr>
          <p:nvPr>
            <p:ph type="pic" sz="quarter" idx="15"/>
          </p:nvPr>
        </p:nvSpPr>
        <p:spPr>
          <a:xfrm>
            <a:off x="10982133" y="430213"/>
            <a:ext cx="685514" cy="598552"/>
          </a:xfrm>
        </p:spPr>
        <p:txBody>
          <a:bodyPr rtlCol="0">
            <a:normAutofit/>
          </a:bodyPr>
          <a:lstStyle>
            <a:lvl1pPr>
              <a:defRPr/>
            </a:lvl1pPr>
          </a:lstStyle>
          <a:p>
            <a:pPr lvl="0"/>
            <a:r>
              <a:rPr lang="en-US" noProof="0"/>
              <a:t>Click icon to add picture</a:t>
            </a:r>
            <a:endParaRPr lang="en-GB" noProof="0"/>
          </a:p>
        </p:txBody>
      </p:sp>
      <p:sp>
        <p:nvSpPr>
          <p:cNvPr id="6" name="Slide Number Placeholder 5">
            <a:extLst>
              <a:ext uri="{FF2B5EF4-FFF2-40B4-BE49-F238E27FC236}">
                <a16:creationId xmlns:a16="http://schemas.microsoft.com/office/drawing/2014/main" id="{5BA50595-13FB-4FE4-9175-4E6EF4857A9C}"/>
              </a:ext>
            </a:extLst>
          </p:cNvPr>
          <p:cNvSpPr>
            <a:spLocks noGrp="1"/>
          </p:cNvSpPr>
          <p:nvPr>
            <p:ph type="sldNum" sz="quarter" idx="16"/>
          </p:nvPr>
        </p:nvSpPr>
        <p:spPr>
          <a:xfrm>
            <a:off x="11324492" y="6356351"/>
            <a:ext cx="609600" cy="365125"/>
          </a:xfrm>
          <a:prstGeom prst="rect">
            <a:avLst/>
          </a:prstGeom>
        </p:spPr>
        <p:txBody>
          <a:bodyPr/>
          <a:lstStyle>
            <a:lvl1pPr eaLnBrk="1" fontAlgn="auto" hangingPunct="1">
              <a:spcBef>
                <a:spcPts val="0"/>
              </a:spcBef>
              <a:spcAft>
                <a:spcPts val="0"/>
              </a:spcAft>
              <a:defRPr sz="1000" smtClean="0">
                <a:solidFill>
                  <a:schemeClr val="tx1"/>
                </a:solidFill>
                <a:latin typeface="Arial" panose="020B0604020202020204" pitchFamily="34" charset="0"/>
                <a:cs typeface="Arial" panose="020B0604020202020204" pitchFamily="34" charset="0"/>
              </a:defRPr>
            </a:lvl1pPr>
          </a:lstStyle>
          <a:p>
            <a:pPr>
              <a:defRPr/>
            </a:pPr>
            <a:fld id="{1A5A86F3-7677-4FFE-8BFF-4C33F24E7D9B}" type="slidenum">
              <a:rPr lang="en-MY"/>
              <a:pPr>
                <a:defRPr/>
              </a:pPr>
              <a:t>‹#›</a:t>
            </a:fld>
            <a:endParaRPr lang="en-MY"/>
          </a:p>
        </p:txBody>
      </p:sp>
    </p:spTree>
    <p:extLst>
      <p:ext uri="{BB962C8B-B14F-4D97-AF65-F5344CB8AC3E}">
        <p14:creationId xmlns:p14="http://schemas.microsoft.com/office/powerpoint/2010/main" val="1268487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Divder Slide - Red">
    <p:spTree>
      <p:nvGrpSpPr>
        <p:cNvPr id="1" name=""/>
        <p:cNvGrpSpPr/>
        <p:nvPr/>
      </p:nvGrpSpPr>
      <p:grpSpPr>
        <a:xfrm>
          <a:off x="0" y="0"/>
          <a:ext cx="0" cy="0"/>
          <a:chOff x="0" y="0"/>
          <a:chExt cx="0" cy="0"/>
        </a:xfrm>
      </p:grpSpPr>
      <p:sp>
        <p:nvSpPr>
          <p:cNvPr id="5" name="Rectangle 32">
            <a:extLst>
              <a:ext uri="{FF2B5EF4-FFF2-40B4-BE49-F238E27FC236}">
                <a16:creationId xmlns:a16="http://schemas.microsoft.com/office/drawing/2014/main" id="{D6B116CC-7FF9-46D8-BCDE-3A0E92AD7F88}"/>
              </a:ext>
            </a:extLst>
          </p:cNvPr>
          <p:cNvSpPr>
            <a:spLocks noChangeArrowheads="1"/>
          </p:cNvSpPr>
          <p:nvPr/>
        </p:nvSpPr>
        <p:spPr bwMode="auto">
          <a:xfrm>
            <a:off x="1" y="0"/>
            <a:ext cx="11642970" cy="5430838"/>
          </a:xfrm>
          <a:prstGeom prst="rect">
            <a:avLst/>
          </a:prstGeom>
          <a:solidFill>
            <a:srgbClr val="D3114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457200" indent="-342900"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spcBef>
                <a:spcPct val="20000"/>
              </a:spcBef>
              <a:buFontTx/>
              <a:buAutoNum type="arabicPeriod"/>
            </a:pPr>
            <a:endParaRPr lang="en-US" altLang="en-US" sz="1800">
              <a:cs typeface="Arial" panose="020B0604020202020204" pitchFamily="34" charset="0"/>
            </a:endParaRPr>
          </a:p>
        </p:txBody>
      </p:sp>
      <p:sp>
        <p:nvSpPr>
          <p:cNvPr id="6" name="TextBox 11">
            <a:extLst>
              <a:ext uri="{FF2B5EF4-FFF2-40B4-BE49-F238E27FC236}">
                <a16:creationId xmlns:a16="http://schemas.microsoft.com/office/drawing/2014/main" id="{1629E428-9314-4286-9895-529574BF47A3}"/>
              </a:ext>
            </a:extLst>
          </p:cNvPr>
          <p:cNvSpPr txBox="1">
            <a:spLocks noChangeArrowheads="1"/>
          </p:cNvSpPr>
          <p:nvPr/>
        </p:nvSpPr>
        <p:spPr bwMode="auto">
          <a:xfrm>
            <a:off x="353647" y="6492876"/>
            <a:ext cx="660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900">
                <a:solidFill>
                  <a:srgbClr val="58595B"/>
                </a:solidFill>
                <a:latin typeface="Arial" panose="020B0604020202020204" pitchFamily="34" charset="0"/>
                <a:ea typeface="MS PGothic" panose="020B0600070205080204" pitchFamily="34" charset="-128"/>
                <a:cs typeface="Arial" panose="020B0604020202020204" pitchFamily="34" charset="0"/>
              </a:rPr>
              <a:t>AIA confidential and proprietary information. Not for distribution. </a:t>
            </a:r>
          </a:p>
        </p:txBody>
      </p:sp>
      <p:sp>
        <p:nvSpPr>
          <p:cNvPr id="10" name="Title 1"/>
          <p:cNvSpPr>
            <a:spLocks noGrp="1"/>
          </p:cNvSpPr>
          <p:nvPr>
            <p:ph type="ctrTitle"/>
          </p:nvPr>
        </p:nvSpPr>
        <p:spPr>
          <a:xfrm>
            <a:off x="2423584" y="2347026"/>
            <a:ext cx="9369386" cy="395112"/>
          </a:xfrm>
        </p:spPr>
        <p:txBody>
          <a:bodyPr rIns="0" bIns="0"/>
          <a:lstStyle>
            <a:lvl1pPr>
              <a:defRPr b="1" baseline="0">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24933" y="1288805"/>
            <a:ext cx="1898651" cy="1585031"/>
          </a:xfrm>
        </p:spPr>
        <p:txBody>
          <a:bodyPr lIns="0" tIns="0" rIns="0" bIns="0" anchor="b">
            <a:noAutofit/>
          </a:bodyPr>
          <a:lstStyle>
            <a:lvl1pPr algn="l">
              <a:spcBef>
                <a:spcPts val="0"/>
              </a:spcBef>
              <a:spcAft>
                <a:spcPts val="0"/>
              </a:spcAft>
              <a:defRPr sz="8800" b="1">
                <a:solidFill>
                  <a:schemeClr val="bg1"/>
                </a:solidFill>
              </a:defRPr>
            </a:lvl1pPr>
            <a:lvl2pPr marL="457200" indent="0" algn="r">
              <a:buNone/>
              <a:defRPr sz="8800" b="1">
                <a:solidFill>
                  <a:schemeClr val="bg1"/>
                </a:solidFill>
              </a:defRPr>
            </a:lvl2pPr>
            <a:lvl3pPr marL="914400" indent="0" algn="r">
              <a:buNone/>
              <a:defRPr sz="8800" b="1">
                <a:solidFill>
                  <a:schemeClr val="bg1"/>
                </a:solidFill>
              </a:defRPr>
            </a:lvl3pPr>
            <a:lvl4pPr algn="r">
              <a:defRPr sz="8800" b="1">
                <a:solidFill>
                  <a:schemeClr val="bg1"/>
                </a:solidFill>
              </a:defRPr>
            </a:lvl4pPr>
            <a:lvl5pPr marL="1828800" indent="0" algn="r">
              <a:buNone/>
              <a:defRPr sz="8800" b="1">
                <a:solidFill>
                  <a:schemeClr val="bg1"/>
                </a:solidFill>
              </a:defRPr>
            </a:lvl5pPr>
          </a:lstStyle>
          <a:p>
            <a:pPr lvl="0"/>
            <a:r>
              <a:rPr lang="en-US"/>
              <a:t>Click to edit Master text styles</a:t>
            </a:r>
          </a:p>
        </p:txBody>
      </p:sp>
      <p:sp>
        <p:nvSpPr>
          <p:cNvPr id="7" name="Text Placeholder 6"/>
          <p:cNvSpPr>
            <a:spLocks noGrp="1"/>
          </p:cNvSpPr>
          <p:nvPr>
            <p:ph type="body" sz="quarter" idx="11"/>
          </p:nvPr>
        </p:nvSpPr>
        <p:spPr>
          <a:xfrm>
            <a:off x="524935" y="2874611"/>
            <a:ext cx="8518721" cy="2666354"/>
          </a:xfrm>
        </p:spPr>
        <p:txBody>
          <a:bodyPr lIns="0" tIns="0" rIns="0" bIns="0">
            <a:normAutofit/>
          </a:bodyPr>
          <a:lstStyle>
            <a:lvl1pPr>
              <a:defRPr sz="1600">
                <a:solidFill>
                  <a:srgbClr val="FFFFFF"/>
                </a:solidFill>
              </a:defRPr>
            </a:lvl1pPr>
            <a:lvl2pPr>
              <a:defRPr sz="1600">
                <a:solidFill>
                  <a:srgbClr val="FFFFFF"/>
                </a:solidFill>
              </a:defRPr>
            </a:lvl2pPr>
            <a:lvl3pPr>
              <a:defRPr sz="1600">
                <a:solidFill>
                  <a:srgbClr val="FFFFFF"/>
                </a:solidFill>
              </a:defRPr>
            </a:lvl3pPr>
            <a:lvl4pPr>
              <a:defRPr sz="1600">
                <a:solidFill>
                  <a:srgbClr val="FFFFFF"/>
                </a:solidFill>
              </a:defRPr>
            </a:lvl4pPr>
            <a:lvl5pPr>
              <a:defRPr sz="16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B25CF4BD-6675-4F0B-A07B-C7CBF9199DDA}"/>
              </a:ext>
            </a:extLst>
          </p:cNvPr>
          <p:cNvSpPr>
            <a:spLocks noGrp="1"/>
          </p:cNvSpPr>
          <p:nvPr>
            <p:ph type="sldNum" sz="quarter" idx="12"/>
          </p:nvPr>
        </p:nvSpPr>
        <p:spPr>
          <a:xfrm>
            <a:off x="11324492" y="6356351"/>
            <a:ext cx="609600" cy="365125"/>
          </a:xfrm>
          <a:prstGeom prst="rect">
            <a:avLst/>
          </a:prstGeom>
        </p:spPr>
        <p:txBody>
          <a:bodyPr/>
          <a:lstStyle>
            <a:lvl1pPr eaLnBrk="1" fontAlgn="auto" hangingPunct="1">
              <a:spcBef>
                <a:spcPts val="0"/>
              </a:spcBef>
              <a:spcAft>
                <a:spcPts val="0"/>
              </a:spcAft>
              <a:defRPr sz="1000" smtClean="0">
                <a:solidFill>
                  <a:schemeClr val="tx1"/>
                </a:solidFill>
                <a:latin typeface="Arial" panose="020B0604020202020204" pitchFamily="34" charset="0"/>
                <a:cs typeface="Arial" panose="020B0604020202020204" pitchFamily="34" charset="0"/>
              </a:defRPr>
            </a:lvl1pPr>
          </a:lstStyle>
          <a:p>
            <a:pPr>
              <a:defRPr/>
            </a:pPr>
            <a:fld id="{B0920607-3A96-44BB-9886-81F71EB88AAC}" type="slidenum">
              <a:rPr lang="en-MY"/>
              <a:pPr>
                <a:defRPr/>
              </a:pPr>
              <a:t>‹#›</a:t>
            </a:fld>
            <a:endParaRPr lang="en-MY"/>
          </a:p>
        </p:txBody>
      </p:sp>
    </p:spTree>
    <p:extLst>
      <p:ext uri="{BB962C8B-B14F-4D97-AF65-F5344CB8AC3E}">
        <p14:creationId xmlns:p14="http://schemas.microsoft.com/office/powerpoint/2010/main" val="38539438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Divider Slide - Plum">
    <p:spTree>
      <p:nvGrpSpPr>
        <p:cNvPr id="1" name=""/>
        <p:cNvGrpSpPr/>
        <p:nvPr/>
      </p:nvGrpSpPr>
      <p:grpSpPr>
        <a:xfrm>
          <a:off x="0" y="0"/>
          <a:ext cx="0" cy="0"/>
          <a:chOff x="0" y="0"/>
          <a:chExt cx="0" cy="0"/>
        </a:xfrm>
      </p:grpSpPr>
      <p:sp>
        <p:nvSpPr>
          <p:cNvPr id="5" name="Rectangle 32">
            <a:extLst>
              <a:ext uri="{FF2B5EF4-FFF2-40B4-BE49-F238E27FC236}">
                <a16:creationId xmlns:a16="http://schemas.microsoft.com/office/drawing/2014/main" id="{A36AAE5D-9464-4A87-8B04-B7F0FD8C12EB}"/>
              </a:ext>
            </a:extLst>
          </p:cNvPr>
          <p:cNvSpPr>
            <a:spLocks noChangeArrowheads="1"/>
          </p:cNvSpPr>
          <p:nvPr/>
        </p:nvSpPr>
        <p:spPr bwMode="auto">
          <a:xfrm>
            <a:off x="1" y="0"/>
            <a:ext cx="11642970" cy="5430838"/>
          </a:xfrm>
          <a:prstGeom prst="rect">
            <a:avLst/>
          </a:prstGeom>
          <a:solidFill>
            <a:srgbClr val="9C0058"/>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457200" indent="-342900"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spcBef>
                <a:spcPct val="20000"/>
              </a:spcBef>
              <a:buFontTx/>
              <a:buAutoNum type="arabicPeriod"/>
            </a:pPr>
            <a:endParaRPr lang="en-US" altLang="en-US" sz="1800">
              <a:cs typeface="Arial" panose="020B0604020202020204" pitchFamily="34" charset="0"/>
            </a:endParaRPr>
          </a:p>
        </p:txBody>
      </p:sp>
      <p:sp>
        <p:nvSpPr>
          <p:cNvPr id="6" name="TextBox 11">
            <a:extLst>
              <a:ext uri="{FF2B5EF4-FFF2-40B4-BE49-F238E27FC236}">
                <a16:creationId xmlns:a16="http://schemas.microsoft.com/office/drawing/2014/main" id="{B6EA7113-50DE-4E60-82C8-6920F74C2AC3}"/>
              </a:ext>
            </a:extLst>
          </p:cNvPr>
          <p:cNvSpPr txBox="1">
            <a:spLocks noChangeArrowheads="1"/>
          </p:cNvSpPr>
          <p:nvPr/>
        </p:nvSpPr>
        <p:spPr bwMode="auto">
          <a:xfrm>
            <a:off x="353647" y="6492876"/>
            <a:ext cx="660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900">
                <a:solidFill>
                  <a:srgbClr val="58595B"/>
                </a:solidFill>
                <a:latin typeface="Arial" panose="020B0604020202020204" pitchFamily="34" charset="0"/>
                <a:ea typeface="MS PGothic" panose="020B0600070205080204" pitchFamily="34" charset="-128"/>
                <a:cs typeface="Arial" panose="020B0604020202020204" pitchFamily="34" charset="0"/>
              </a:rPr>
              <a:t>AIA confidential and proprietary information. Not for distribution. </a:t>
            </a:r>
          </a:p>
        </p:txBody>
      </p:sp>
      <p:sp>
        <p:nvSpPr>
          <p:cNvPr id="10" name="Title 1"/>
          <p:cNvSpPr>
            <a:spLocks noGrp="1"/>
          </p:cNvSpPr>
          <p:nvPr>
            <p:ph type="ctrTitle"/>
          </p:nvPr>
        </p:nvSpPr>
        <p:spPr>
          <a:xfrm>
            <a:off x="2423584" y="2347026"/>
            <a:ext cx="9369386" cy="395112"/>
          </a:xfrm>
        </p:spPr>
        <p:txBody>
          <a:bodyPr rIns="0" bIns="0"/>
          <a:lstStyle>
            <a:lvl1pPr>
              <a:defRPr baseline="0">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24933" y="1288805"/>
            <a:ext cx="1898651" cy="1585031"/>
          </a:xfrm>
        </p:spPr>
        <p:txBody>
          <a:bodyPr lIns="0" tIns="0" rIns="0" bIns="0" anchor="b">
            <a:noAutofit/>
          </a:bodyPr>
          <a:lstStyle>
            <a:lvl1pPr algn="l">
              <a:spcBef>
                <a:spcPts val="0"/>
              </a:spcBef>
              <a:spcAft>
                <a:spcPts val="0"/>
              </a:spcAft>
              <a:defRPr sz="8800" b="1">
                <a:solidFill>
                  <a:schemeClr val="bg1"/>
                </a:solidFill>
              </a:defRPr>
            </a:lvl1pPr>
            <a:lvl2pPr marL="457200" indent="0" algn="r">
              <a:buNone/>
              <a:defRPr sz="8800" b="1">
                <a:solidFill>
                  <a:schemeClr val="bg1"/>
                </a:solidFill>
              </a:defRPr>
            </a:lvl2pPr>
            <a:lvl3pPr marL="914400" indent="0" algn="r">
              <a:buNone/>
              <a:defRPr sz="8800" b="1">
                <a:solidFill>
                  <a:schemeClr val="bg1"/>
                </a:solidFill>
              </a:defRPr>
            </a:lvl3pPr>
            <a:lvl4pPr algn="r">
              <a:defRPr sz="8800" b="1">
                <a:solidFill>
                  <a:schemeClr val="bg1"/>
                </a:solidFill>
              </a:defRPr>
            </a:lvl4pPr>
            <a:lvl5pPr marL="1828800" indent="0" algn="r">
              <a:buNone/>
              <a:defRPr sz="8800" b="1">
                <a:solidFill>
                  <a:schemeClr val="bg1"/>
                </a:solidFill>
              </a:defRPr>
            </a:lvl5pPr>
          </a:lstStyle>
          <a:p>
            <a:pPr lvl="0"/>
            <a:r>
              <a:rPr lang="en-US"/>
              <a:t>Click to edit Master text styles</a:t>
            </a:r>
          </a:p>
        </p:txBody>
      </p:sp>
      <p:sp>
        <p:nvSpPr>
          <p:cNvPr id="7" name="Text Placeholder 6"/>
          <p:cNvSpPr>
            <a:spLocks noGrp="1"/>
          </p:cNvSpPr>
          <p:nvPr>
            <p:ph type="body" sz="quarter" idx="11"/>
          </p:nvPr>
        </p:nvSpPr>
        <p:spPr>
          <a:xfrm>
            <a:off x="524935" y="2874611"/>
            <a:ext cx="8518721" cy="2666354"/>
          </a:xfrm>
        </p:spPr>
        <p:txBody>
          <a:bodyPr lIns="0" tIns="0" rIns="0" bIns="0">
            <a:normAutofit/>
          </a:bodyPr>
          <a:lstStyle>
            <a:lvl1pPr>
              <a:defRPr sz="1600">
                <a:solidFill>
                  <a:srgbClr val="FFFFFF"/>
                </a:solidFill>
              </a:defRPr>
            </a:lvl1pPr>
            <a:lvl2pPr>
              <a:defRPr sz="1600">
                <a:solidFill>
                  <a:srgbClr val="FFFFFF"/>
                </a:solidFill>
              </a:defRPr>
            </a:lvl2pPr>
            <a:lvl3pPr>
              <a:defRPr sz="1600">
                <a:solidFill>
                  <a:srgbClr val="FFFFFF"/>
                </a:solidFill>
              </a:defRPr>
            </a:lvl3pPr>
            <a:lvl4pPr>
              <a:defRPr sz="1600">
                <a:solidFill>
                  <a:srgbClr val="FFFFFF"/>
                </a:solidFill>
              </a:defRPr>
            </a:lvl4pPr>
            <a:lvl5pPr>
              <a:defRPr sz="16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85518E71-203D-4CA3-A96B-08244D8FF728}"/>
              </a:ext>
            </a:extLst>
          </p:cNvPr>
          <p:cNvSpPr>
            <a:spLocks noGrp="1"/>
          </p:cNvSpPr>
          <p:nvPr>
            <p:ph type="sldNum" sz="quarter" idx="12"/>
          </p:nvPr>
        </p:nvSpPr>
        <p:spPr>
          <a:xfrm>
            <a:off x="11324492" y="6356351"/>
            <a:ext cx="609600" cy="365125"/>
          </a:xfrm>
          <a:prstGeom prst="rect">
            <a:avLst/>
          </a:prstGeom>
        </p:spPr>
        <p:txBody>
          <a:bodyPr/>
          <a:lstStyle>
            <a:lvl1pPr eaLnBrk="1" fontAlgn="auto" hangingPunct="1">
              <a:spcBef>
                <a:spcPts val="0"/>
              </a:spcBef>
              <a:spcAft>
                <a:spcPts val="0"/>
              </a:spcAft>
              <a:defRPr sz="1000" smtClean="0">
                <a:solidFill>
                  <a:schemeClr val="tx1"/>
                </a:solidFill>
                <a:latin typeface="Arial" panose="020B0604020202020204" pitchFamily="34" charset="0"/>
                <a:cs typeface="Arial" panose="020B0604020202020204" pitchFamily="34" charset="0"/>
              </a:defRPr>
            </a:lvl1pPr>
          </a:lstStyle>
          <a:p>
            <a:pPr>
              <a:defRPr/>
            </a:pPr>
            <a:fld id="{9D405A5A-1C9A-4207-A9CA-C616B2FD322C}" type="slidenum">
              <a:rPr lang="en-MY"/>
              <a:pPr>
                <a:defRPr/>
              </a:pPr>
              <a:t>‹#›</a:t>
            </a:fld>
            <a:endParaRPr lang="en-MY"/>
          </a:p>
        </p:txBody>
      </p:sp>
    </p:spTree>
    <p:extLst>
      <p:ext uri="{BB962C8B-B14F-4D97-AF65-F5344CB8AC3E}">
        <p14:creationId xmlns:p14="http://schemas.microsoft.com/office/powerpoint/2010/main" val="25391307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Divider Slide - Citrus">
    <p:spTree>
      <p:nvGrpSpPr>
        <p:cNvPr id="1" name=""/>
        <p:cNvGrpSpPr/>
        <p:nvPr/>
      </p:nvGrpSpPr>
      <p:grpSpPr>
        <a:xfrm>
          <a:off x="0" y="0"/>
          <a:ext cx="0" cy="0"/>
          <a:chOff x="0" y="0"/>
          <a:chExt cx="0" cy="0"/>
        </a:xfrm>
      </p:grpSpPr>
      <p:sp>
        <p:nvSpPr>
          <p:cNvPr id="5" name="Rectangle 32">
            <a:extLst>
              <a:ext uri="{FF2B5EF4-FFF2-40B4-BE49-F238E27FC236}">
                <a16:creationId xmlns:a16="http://schemas.microsoft.com/office/drawing/2014/main" id="{9591F171-6CCF-4C80-A062-2D52B3BC8EE4}"/>
              </a:ext>
            </a:extLst>
          </p:cNvPr>
          <p:cNvSpPr>
            <a:spLocks noChangeArrowheads="1"/>
          </p:cNvSpPr>
          <p:nvPr/>
        </p:nvSpPr>
        <p:spPr bwMode="auto">
          <a:xfrm>
            <a:off x="1" y="0"/>
            <a:ext cx="11642970" cy="5430838"/>
          </a:xfrm>
          <a:prstGeom prst="rect">
            <a:avLst/>
          </a:prstGeom>
          <a:solidFill>
            <a:srgbClr val="F898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457200" indent="-342900"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spcBef>
                <a:spcPct val="20000"/>
              </a:spcBef>
              <a:buFontTx/>
              <a:buAutoNum type="arabicPeriod"/>
            </a:pPr>
            <a:endParaRPr lang="en-US" altLang="en-US" sz="1800">
              <a:cs typeface="Arial" panose="020B0604020202020204" pitchFamily="34" charset="0"/>
            </a:endParaRPr>
          </a:p>
        </p:txBody>
      </p:sp>
      <p:sp>
        <p:nvSpPr>
          <p:cNvPr id="6" name="TextBox 11">
            <a:extLst>
              <a:ext uri="{FF2B5EF4-FFF2-40B4-BE49-F238E27FC236}">
                <a16:creationId xmlns:a16="http://schemas.microsoft.com/office/drawing/2014/main" id="{D7097780-52C5-44B9-84F3-1AD97EA9F58F}"/>
              </a:ext>
            </a:extLst>
          </p:cNvPr>
          <p:cNvSpPr txBox="1">
            <a:spLocks noChangeArrowheads="1"/>
          </p:cNvSpPr>
          <p:nvPr/>
        </p:nvSpPr>
        <p:spPr bwMode="auto">
          <a:xfrm>
            <a:off x="353647" y="6492876"/>
            <a:ext cx="660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900">
                <a:solidFill>
                  <a:srgbClr val="58595B"/>
                </a:solidFill>
                <a:latin typeface="Arial" panose="020B0604020202020204" pitchFamily="34" charset="0"/>
                <a:ea typeface="MS PGothic" panose="020B0600070205080204" pitchFamily="34" charset="-128"/>
                <a:cs typeface="Arial" panose="020B0604020202020204" pitchFamily="34" charset="0"/>
              </a:rPr>
              <a:t>AIA confidential and proprietary information. Not for distribution. </a:t>
            </a:r>
          </a:p>
        </p:txBody>
      </p:sp>
      <p:sp>
        <p:nvSpPr>
          <p:cNvPr id="10" name="Title 1"/>
          <p:cNvSpPr>
            <a:spLocks noGrp="1"/>
          </p:cNvSpPr>
          <p:nvPr>
            <p:ph type="ctrTitle"/>
          </p:nvPr>
        </p:nvSpPr>
        <p:spPr>
          <a:xfrm>
            <a:off x="2423584" y="2347026"/>
            <a:ext cx="9369386" cy="395112"/>
          </a:xfrm>
        </p:spPr>
        <p:txBody>
          <a:bodyPr rIns="0" bIns="0"/>
          <a:lstStyle>
            <a:lvl1pPr>
              <a:defRPr baseline="0">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24933" y="1288805"/>
            <a:ext cx="1898651" cy="1585031"/>
          </a:xfrm>
        </p:spPr>
        <p:txBody>
          <a:bodyPr lIns="0" tIns="0" rIns="0" bIns="0" anchor="b">
            <a:noAutofit/>
          </a:bodyPr>
          <a:lstStyle>
            <a:lvl1pPr algn="l">
              <a:spcBef>
                <a:spcPts val="0"/>
              </a:spcBef>
              <a:spcAft>
                <a:spcPts val="0"/>
              </a:spcAft>
              <a:defRPr sz="8800" b="1">
                <a:solidFill>
                  <a:schemeClr val="bg1"/>
                </a:solidFill>
              </a:defRPr>
            </a:lvl1pPr>
            <a:lvl2pPr marL="457200" indent="0" algn="r">
              <a:buNone/>
              <a:defRPr sz="8800" b="1">
                <a:solidFill>
                  <a:schemeClr val="bg1"/>
                </a:solidFill>
              </a:defRPr>
            </a:lvl2pPr>
            <a:lvl3pPr marL="914400" indent="0" algn="r">
              <a:buNone/>
              <a:defRPr sz="8800" b="1">
                <a:solidFill>
                  <a:schemeClr val="bg1"/>
                </a:solidFill>
              </a:defRPr>
            </a:lvl3pPr>
            <a:lvl4pPr algn="r">
              <a:defRPr sz="8800" b="1">
                <a:solidFill>
                  <a:schemeClr val="bg1"/>
                </a:solidFill>
              </a:defRPr>
            </a:lvl4pPr>
            <a:lvl5pPr marL="1828800" indent="0" algn="r">
              <a:buNone/>
              <a:defRPr sz="8800" b="1">
                <a:solidFill>
                  <a:schemeClr val="bg1"/>
                </a:solidFill>
              </a:defRPr>
            </a:lvl5pPr>
          </a:lstStyle>
          <a:p>
            <a:pPr lvl="0"/>
            <a:r>
              <a:rPr lang="en-US"/>
              <a:t>Click to edit Master text styles</a:t>
            </a:r>
          </a:p>
        </p:txBody>
      </p:sp>
      <p:sp>
        <p:nvSpPr>
          <p:cNvPr id="7" name="Text Placeholder 6"/>
          <p:cNvSpPr>
            <a:spLocks noGrp="1"/>
          </p:cNvSpPr>
          <p:nvPr>
            <p:ph type="body" sz="quarter" idx="11"/>
          </p:nvPr>
        </p:nvSpPr>
        <p:spPr>
          <a:xfrm>
            <a:off x="524935" y="2874611"/>
            <a:ext cx="8518721" cy="2666354"/>
          </a:xfrm>
        </p:spPr>
        <p:txBody>
          <a:bodyPr lIns="0" tIns="0" rIns="0" bIns="0">
            <a:normAutofit/>
          </a:bodyPr>
          <a:lstStyle>
            <a:lvl1pPr>
              <a:defRPr sz="1600">
                <a:solidFill>
                  <a:srgbClr val="FFFFFF"/>
                </a:solidFill>
              </a:defRPr>
            </a:lvl1pPr>
            <a:lvl2pPr>
              <a:defRPr sz="1600">
                <a:solidFill>
                  <a:srgbClr val="FFFFFF"/>
                </a:solidFill>
              </a:defRPr>
            </a:lvl2pPr>
            <a:lvl3pPr>
              <a:defRPr sz="1600">
                <a:solidFill>
                  <a:srgbClr val="FFFFFF"/>
                </a:solidFill>
              </a:defRPr>
            </a:lvl3pPr>
            <a:lvl4pPr>
              <a:defRPr sz="1600">
                <a:solidFill>
                  <a:srgbClr val="FFFFFF"/>
                </a:solidFill>
              </a:defRPr>
            </a:lvl4pPr>
            <a:lvl5pPr>
              <a:defRPr sz="16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1E0AB6E1-4BD8-43B9-80F5-8B7F91D41B18}"/>
              </a:ext>
            </a:extLst>
          </p:cNvPr>
          <p:cNvSpPr>
            <a:spLocks noGrp="1"/>
          </p:cNvSpPr>
          <p:nvPr>
            <p:ph type="sldNum" sz="quarter" idx="12"/>
          </p:nvPr>
        </p:nvSpPr>
        <p:spPr>
          <a:xfrm>
            <a:off x="11324492" y="6356351"/>
            <a:ext cx="609600" cy="365125"/>
          </a:xfrm>
          <a:prstGeom prst="rect">
            <a:avLst/>
          </a:prstGeom>
        </p:spPr>
        <p:txBody>
          <a:bodyPr/>
          <a:lstStyle>
            <a:lvl1pPr eaLnBrk="1" fontAlgn="auto" hangingPunct="1">
              <a:spcBef>
                <a:spcPts val="0"/>
              </a:spcBef>
              <a:spcAft>
                <a:spcPts val="0"/>
              </a:spcAft>
              <a:defRPr sz="1000" smtClean="0">
                <a:solidFill>
                  <a:schemeClr val="tx1"/>
                </a:solidFill>
                <a:latin typeface="Arial" panose="020B0604020202020204" pitchFamily="34" charset="0"/>
                <a:cs typeface="Arial" panose="020B0604020202020204" pitchFamily="34" charset="0"/>
              </a:defRPr>
            </a:lvl1pPr>
          </a:lstStyle>
          <a:p>
            <a:pPr>
              <a:defRPr/>
            </a:pPr>
            <a:fld id="{65E8BA4B-3185-4CC2-B719-DD121032808D}" type="slidenum">
              <a:rPr lang="en-MY"/>
              <a:pPr>
                <a:defRPr/>
              </a:pPr>
              <a:t>‹#›</a:t>
            </a:fld>
            <a:endParaRPr lang="en-MY"/>
          </a:p>
        </p:txBody>
      </p:sp>
    </p:spTree>
    <p:extLst>
      <p:ext uri="{BB962C8B-B14F-4D97-AF65-F5344CB8AC3E}">
        <p14:creationId xmlns:p14="http://schemas.microsoft.com/office/powerpoint/2010/main" val="29299309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Divider Slide - Lime">
    <p:spTree>
      <p:nvGrpSpPr>
        <p:cNvPr id="1" name=""/>
        <p:cNvGrpSpPr/>
        <p:nvPr/>
      </p:nvGrpSpPr>
      <p:grpSpPr>
        <a:xfrm>
          <a:off x="0" y="0"/>
          <a:ext cx="0" cy="0"/>
          <a:chOff x="0" y="0"/>
          <a:chExt cx="0" cy="0"/>
        </a:xfrm>
      </p:grpSpPr>
      <p:sp>
        <p:nvSpPr>
          <p:cNvPr id="5" name="Rectangle 32">
            <a:extLst>
              <a:ext uri="{FF2B5EF4-FFF2-40B4-BE49-F238E27FC236}">
                <a16:creationId xmlns:a16="http://schemas.microsoft.com/office/drawing/2014/main" id="{BD2F0742-9266-4ED1-A904-BFD7DA2936C1}"/>
              </a:ext>
            </a:extLst>
          </p:cNvPr>
          <p:cNvSpPr>
            <a:spLocks noChangeArrowheads="1"/>
          </p:cNvSpPr>
          <p:nvPr/>
        </p:nvSpPr>
        <p:spPr bwMode="auto">
          <a:xfrm>
            <a:off x="1" y="0"/>
            <a:ext cx="11642970" cy="5430838"/>
          </a:xfrm>
          <a:prstGeom prst="rect">
            <a:avLst/>
          </a:prstGeom>
          <a:solidFill>
            <a:srgbClr val="C1D82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457200" indent="-342900"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spcBef>
                <a:spcPct val="20000"/>
              </a:spcBef>
              <a:buFontTx/>
              <a:buAutoNum type="arabicPeriod"/>
            </a:pPr>
            <a:endParaRPr lang="en-US" altLang="en-US" sz="1800">
              <a:cs typeface="Arial" panose="020B0604020202020204" pitchFamily="34" charset="0"/>
            </a:endParaRPr>
          </a:p>
        </p:txBody>
      </p:sp>
      <p:sp>
        <p:nvSpPr>
          <p:cNvPr id="6" name="TextBox 11">
            <a:extLst>
              <a:ext uri="{FF2B5EF4-FFF2-40B4-BE49-F238E27FC236}">
                <a16:creationId xmlns:a16="http://schemas.microsoft.com/office/drawing/2014/main" id="{E18B6841-7E2C-4A32-AA49-DED0993CC6B2}"/>
              </a:ext>
            </a:extLst>
          </p:cNvPr>
          <p:cNvSpPr txBox="1">
            <a:spLocks noChangeArrowheads="1"/>
          </p:cNvSpPr>
          <p:nvPr/>
        </p:nvSpPr>
        <p:spPr bwMode="auto">
          <a:xfrm>
            <a:off x="353647" y="6492876"/>
            <a:ext cx="660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900">
                <a:solidFill>
                  <a:srgbClr val="58595B"/>
                </a:solidFill>
                <a:latin typeface="Arial" panose="020B0604020202020204" pitchFamily="34" charset="0"/>
                <a:ea typeface="MS PGothic" panose="020B0600070205080204" pitchFamily="34" charset="-128"/>
                <a:cs typeface="Arial" panose="020B0604020202020204" pitchFamily="34" charset="0"/>
              </a:rPr>
              <a:t>AIA confidential and proprietary information. Not for distribution. </a:t>
            </a:r>
          </a:p>
        </p:txBody>
      </p:sp>
      <p:sp>
        <p:nvSpPr>
          <p:cNvPr id="10" name="Title 1"/>
          <p:cNvSpPr>
            <a:spLocks noGrp="1"/>
          </p:cNvSpPr>
          <p:nvPr>
            <p:ph type="ctrTitle"/>
          </p:nvPr>
        </p:nvSpPr>
        <p:spPr>
          <a:xfrm>
            <a:off x="2423584" y="2347026"/>
            <a:ext cx="9369386" cy="395112"/>
          </a:xfrm>
        </p:spPr>
        <p:txBody>
          <a:bodyPr rIns="0" bIns="0"/>
          <a:lstStyle>
            <a:lvl1pPr>
              <a:defRPr baseline="0">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24933" y="1288805"/>
            <a:ext cx="1898651" cy="1585031"/>
          </a:xfrm>
        </p:spPr>
        <p:txBody>
          <a:bodyPr lIns="0" tIns="0" rIns="0" bIns="0" anchor="b">
            <a:noAutofit/>
          </a:bodyPr>
          <a:lstStyle>
            <a:lvl1pPr algn="l">
              <a:spcBef>
                <a:spcPts val="0"/>
              </a:spcBef>
              <a:spcAft>
                <a:spcPts val="0"/>
              </a:spcAft>
              <a:defRPr sz="8800" b="1">
                <a:solidFill>
                  <a:schemeClr val="bg1"/>
                </a:solidFill>
              </a:defRPr>
            </a:lvl1pPr>
            <a:lvl2pPr marL="457200" indent="0" algn="r">
              <a:buNone/>
              <a:defRPr sz="8800" b="1">
                <a:solidFill>
                  <a:schemeClr val="bg1"/>
                </a:solidFill>
              </a:defRPr>
            </a:lvl2pPr>
            <a:lvl3pPr marL="914400" indent="0" algn="r">
              <a:buNone/>
              <a:defRPr sz="8800" b="1">
                <a:solidFill>
                  <a:schemeClr val="bg1"/>
                </a:solidFill>
              </a:defRPr>
            </a:lvl3pPr>
            <a:lvl4pPr algn="r">
              <a:defRPr sz="8800" b="1">
                <a:solidFill>
                  <a:schemeClr val="bg1"/>
                </a:solidFill>
              </a:defRPr>
            </a:lvl4pPr>
            <a:lvl5pPr marL="1828800" indent="0" algn="r">
              <a:buNone/>
              <a:defRPr sz="8800" b="1">
                <a:solidFill>
                  <a:schemeClr val="bg1"/>
                </a:solidFill>
              </a:defRPr>
            </a:lvl5pPr>
          </a:lstStyle>
          <a:p>
            <a:pPr lvl="0"/>
            <a:r>
              <a:rPr lang="en-US"/>
              <a:t>Click to edit Master text styles</a:t>
            </a:r>
          </a:p>
        </p:txBody>
      </p:sp>
      <p:sp>
        <p:nvSpPr>
          <p:cNvPr id="7" name="Text Placeholder 6"/>
          <p:cNvSpPr>
            <a:spLocks noGrp="1"/>
          </p:cNvSpPr>
          <p:nvPr>
            <p:ph type="body" sz="quarter" idx="11"/>
          </p:nvPr>
        </p:nvSpPr>
        <p:spPr>
          <a:xfrm>
            <a:off x="524935" y="2874611"/>
            <a:ext cx="8518721" cy="2666354"/>
          </a:xfrm>
        </p:spPr>
        <p:txBody>
          <a:bodyPr lIns="0" tIns="0" rIns="0" bIns="0">
            <a:normAutofit/>
          </a:bodyPr>
          <a:lstStyle>
            <a:lvl1pPr>
              <a:defRPr sz="1600">
                <a:solidFill>
                  <a:srgbClr val="FFFFFF"/>
                </a:solidFill>
              </a:defRPr>
            </a:lvl1pPr>
            <a:lvl2pPr>
              <a:defRPr sz="1600">
                <a:solidFill>
                  <a:srgbClr val="FFFFFF"/>
                </a:solidFill>
              </a:defRPr>
            </a:lvl2pPr>
            <a:lvl3pPr>
              <a:defRPr sz="1600">
                <a:solidFill>
                  <a:srgbClr val="FFFFFF"/>
                </a:solidFill>
              </a:defRPr>
            </a:lvl3pPr>
            <a:lvl4pPr>
              <a:defRPr sz="1600">
                <a:solidFill>
                  <a:srgbClr val="FFFFFF"/>
                </a:solidFill>
              </a:defRPr>
            </a:lvl4pPr>
            <a:lvl5pPr>
              <a:defRPr sz="16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F835B8ED-8356-4C7D-B45E-7BC0594F9A03}"/>
              </a:ext>
            </a:extLst>
          </p:cNvPr>
          <p:cNvSpPr>
            <a:spLocks noGrp="1"/>
          </p:cNvSpPr>
          <p:nvPr>
            <p:ph type="sldNum" sz="quarter" idx="12"/>
          </p:nvPr>
        </p:nvSpPr>
        <p:spPr>
          <a:xfrm>
            <a:off x="11324492" y="6356351"/>
            <a:ext cx="609600" cy="365125"/>
          </a:xfrm>
          <a:prstGeom prst="rect">
            <a:avLst/>
          </a:prstGeom>
        </p:spPr>
        <p:txBody>
          <a:bodyPr/>
          <a:lstStyle>
            <a:lvl1pPr eaLnBrk="1" fontAlgn="auto" hangingPunct="1">
              <a:spcBef>
                <a:spcPts val="0"/>
              </a:spcBef>
              <a:spcAft>
                <a:spcPts val="0"/>
              </a:spcAft>
              <a:defRPr sz="1000" smtClean="0">
                <a:solidFill>
                  <a:schemeClr val="tx1"/>
                </a:solidFill>
                <a:latin typeface="Arial" panose="020B0604020202020204" pitchFamily="34" charset="0"/>
                <a:cs typeface="Arial" panose="020B0604020202020204" pitchFamily="34" charset="0"/>
              </a:defRPr>
            </a:lvl1pPr>
          </a:lstStyle>
          <a:p>
            <a:pPr>
              <a:defRPr/>
            </a:pPr>
            <a:fld id="{C12E302D-C05D-49AC-A304-2C440FE5C497}" type="slidenum">
              <a:rPr lang="en-MY"/>
              <a:pPr>
                <a:defRPr/>
              </a:pPr>
              <a:t>‹#›</a:t>
            </a:fld>
            <a:endParaRPr lang="en-MY"/>
          </a:p>
        </p:txBody>
      </p:sp>
    </p:spTree>
    <p:extLst>
      <p:ext uri="{BB962C8B-B14F-4D97-AF65-F5344CB8AC3E}">
        <p14:creationId xmlns:p14="http://schemas.microsoft.com/office/powerpoint/2010/main" val="17287120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IA_EditableImage_HLBL">
    <p:spTree>
      <p:nvGrpSpPr>
        <p:cNvPr id="1" name=""/>
        <p:cNvGrpSpPr/>
        <p:nvPr/>
      </p:nvGrpSpPr>
      <p:grpSpPr>
        <a:xfrm>
          <a:off x="0" y="0"/>
          <a:ext cx="0" cy="0"/>
          <a:chOff x="0" y="0"/>
          <a:chExt cx="0" cy="0"/>
        </a:xfrm>
      </p:grpSpPr>
      <p:pic>
        <p:nvPicPr>
          <p:cNvPr id="8" name="Picture 7" descr="Two people standing in front of a beach&#10;&#10;Description automatically generated">
            <a:extLst>
              <a:ext uri="{FF2B5EF4-FFF2-40B4-BE49-F238E27FC236}">
                <a16:creationId xmlns:a16="http://schemas.microsoft.com/office/drawing/2014/main" id="{67068EC8-9CE7-7148-B0A0-BFA10171261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77E08907-9B30-8344-9846-E866B6F5B703}"/>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193" r="13080" b="17184"/>
          <a:stretch/>
        </p:blipFill>
        <p:spPr>
          <a:xfrm>
            <a:off x="6096000" y="-1"/>
            <a:ext cx="6096000" cy="6858001"/>
          </a:xfrm>
          <a:prstGeom prst="rect">
            <a:avLst/>
          </a:prstGeom>
        </p:spPr>
      </p:pic>
      <p:sp>
        <p:nvSpPr>
          <p:cNvPr id="23" name="Text Placeholder 11">
            <a:extLst>
              <a:ext uri="{FF2B5EF4-FFF2-40B4-BE49-F238E27FC236}">
                <a16:creationId xmlns:a16="http://schemas.microsoft.com/office/drawing/2014/main" id="{5D14133A-957B-2D4F-A873-33C1AAC059A6}"/>
              </a:ext>
            </a:extLst>
          </p:cNvPr>
          <p:cNvSpPr>
            <a:spLocks noGrp="1"/>
          </p:cNvSpPr>
          <p:nvPr>
            <p:ph type="body" sz="quarter" idx="12" hasCustomPrompt="1"/>
          </p:nvPr>
        </p:nvSpPr>
        <p:spPr>
          <a:xfrm>
            <a:off x="6480000" y="2520000"/>
            <a:ext cx="4992000" cy="1269000"/>
          </a:xfrm>
          <a:prstGeom prst="rect">
            <a:avLst/>
          </a:prstGeom>
          <a:noFill/>
        </p:spPr>
        <p:txBody>
          <a:bodyPr>
            <a:noAutofit/>
          </a:bodyPr>
          <a:lstStyle>
            <a:lvl1pPr>
              <a:lnSpc>
                <a:spcPct val="80000"/>
              </a:lnSpc>
              <a:defRPr sz="4800">
                <a:solidFill>
                  <a:schemeClr val="bg1"/>
                </a:solidFill>
              </a:defRPr>
            </a:lvl1pPr>
            <a:lvl2pPr marL="457200" indent="0">
              <a:buNone/>
              <a:defRPr/>
            </a:lvl2pPr>
          </a:lstStyle>
          <a:p>
            <a:pPr lvl="0"/>
            <a:r>
              <a:rPr lang="en-US"/>
              <a:t>Section </a:t>
            </a:r>
            <a:br>
              <a:rPr lang="en-US"/>
            </a:br>
            <a:r>
              <a:rPr lang="en-US"/>
              <a:t>header</a:t>
            </a:r>
          </a:p>
        </p:txBody>
      </p:sp>
      <p:sp>
        <p:nvSpPr>
          <p:cNvPr id="11" name="TextBox 10">
            <a:extLst>
              <a:ext uri="{FF2B5EF4-FFF2-40B4-BE49-F238E27FC236}">
                <a16:creationId xmlns:a16="http://schemas.microsoft.com/office/drawing/2014/main" id="{CF298809-14E8-954C-B8F8-1877D8788726}"/>
              </a:ext>
            </a:extLst>
          </p:cNvPr>
          <p:cNvSpPr txBox="1"/>
          <p:nvPr/>
        </p:nvSpPr>
        <p:spPr>
          <a:xfrm>
            <a:off x="-1440000" y="2440800"/>
            <a:ext cx="1356078" cy="2477601"/>
          </a:xfrm>
          <a:prstGeom prst="rect">
            <a:avLst/>
          </a:prstGeom>
          <a:solidFill>
            <a:schemeClr val="bg1"/>
          </a:solidFill>
        </p:spPr>
        <p:txBody>
          <a:bodyPr wrap="square" rtlCol="0">
            <a:spAutoFit/>
          </a:bodyPr>
          <a:lstStyle/>
          <a:p>
            <a:pPr algn="l">
              <a:spcBef>
                <a:spcPts val="600"/>
              </a:spcBef>
            </a:pPr>
            <a:r>
              <a:rPr lang="en-US" sz="1000">
                <a:solidFill>
                  <a:srgbClr val="333D47"/>
                </a:solidFill>
                <a:latin typeface="Arial" panose="020B0604020202020204" pitchFamily="34" charset="0"/>
                <a:cs typeface="Arial" panose="020B0604020202020204" pitchFamily="34" charset="0"/>
              </a:rPr>
              <a:t>The image can be replaced in master view. </a:t>
            </a:r>
          </a:p>
          <a:p>
            <a:pPr algn="l">
              <a:spcBef>
                <a:spcPts val="600"/>
              </a:spcBef>
            </a:pPr>
            <a:r>
              <a:rPr lang="en-US" sz="1000">
                <a:solidFill>
                  <a:srgbClr val="333D47"/>
                </a:solidFill>
                <a:latin typeface="Arial" panose="020B0604020202020204" pitchFamily="34" charset="0"/>
                <a:cs typeface="Arial" panose="020B0604020202020204" pitchFamily="34" charset="0"/>
              </a:rPr>
              <a:t>Please note image sits behind the Moving Mountains image. Be mindful the AIA logo should be top left and clear and visible on the image.</a:t>
            </a:r>
          </a:p>
          <a:p>
            <a:pPr algn="l"/>
            <a:r>
              <a:rPr lang="en-GB" sz="1000">
                <a:latin typeface="Helvetica Neue" panose="02000503000000020004" pitchFamily="2" charset="0"/>
              </a:rPr>
              <a:t>Please </a:t>
            </a:r>
            <a:r>
              <a:rPr lang="en-GB" sz="1000" b="1">
                <a:latin typeface="Helvetica Neue" panose="02000503000000020004" pitchFamily="2" charset="0"/>
              </a:rPr>
              <a:t>do not </a:t>
            </a:r>
            <a:r>
              <a:rPr lang="en-GB" sz="1000">
                <a:latin typeface="Helvetica Neue" panose="02000503000000020004" pitchFamily="2" charset="0"/>
              </a:rPr>
              <a:t>use any internal photo competition participants’ images</a:t>
            </a:r>
            <a:endParaRPr lang="en-US" sz="1000">
              <a:solidFill>
                <a:srgbClr val="333D47"/>
              </a:solidFill>
            </a:endParaRPr>
          </a:p>
        </p:txBody>
      </p:sp>
      <p:pic>
        <p:nvPicPr>
          <p:cNvPr id="7" name="Graphic 6">
            <a:extLst>
              <a:ext uri="{FF2B5EF4-FFF2-40B4-BE49-F238E27FC236}">
                <a16:creationId xmlns:a16="http://schemas.microsoft.com/office/drawing/2014/main" id="{5BC7F0D3-38A6-8744-A15E-F38C21D7CAB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0000" y="360000"/>
            <a:ext cx="1828800" cy="660400"/>
          </a:xfrm>
          <a:prstGeom prst="rect">
            <a:avLst/>
          </a:prstGeom>
        </p:spPr>
      </p:pic>
    </p:spTree>
    <p:extLst>
      <p:ext uri="{BB962C8B-B14F-4D97-AF65-F5344CB8AC3E}">
        <p14:creationId xmlns:p14="http://schemas.microsoft.com/office/powerpoint/2010/main" val="16198609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Divider Slide - Sea Blue">
    <p:spTree>
      <p:nvGrpSpPr>
        <p:cNvPr id="1" name=""/>
        <p:cNvGrpSpPr/>
        <p:nvPr/>
      </p:nvGrpSpPr>
      <p:grpSpPr>
        <a:xfrm>
          <a:off x="0" y="0"/>
          <a:ext cx="0" cy="0"/>
          <a:chOff x="0" y="0"/>
          <a:chExt cx="0" cy="0"/>
        </a:xfrm>
      </p:grpSpPr>
      <p:sp>
        <p:nvSpPr>
          <p:cNvPr id="5" name="Rectangle 32">
            <a:extLst>
              <a:ext uri="{FF2B5EF4-FFF2-40B4-BE49-F238E27FC236}">
                <a16:creationId xmlns:a16="http://schemas.microsoft.com/office/drawing/2014/main" id="{50275977-9659-4099-9EE8-C48AABC1C7FF}"/>
              </a:ext>
            </a:extLst>
          </p:cNvPr>
          <p:cNvSpPr>
            <a:spLocks noChangeArrowheads="1"/>
          </p:cNvSpPr>
          <p:nvPr/>
        </p:nvSpPr>
        <p:spPr bwMode="auto">
          <a:xfrm>
            <a:off x="1" y="0"/>
            <a:ext cx="11642970" cy="5430838"/>
          </a:xfrm>
          <a:prstGeom prst="rect">
            <a:avLst/>
          </a:prstGeom>
          <a:solidFill>
            <a:srgbClr val="0073AE"/>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457200" indent="-342900"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spcBef>
                <a:spcPct val="20000"/>
              </a:spcBef>
              <a:buFontTx/>
              <a:buAutoNum type="arabicPeriod"/>
            </a:pPr>
            <a:endParaRPr lang="en-US" altLang="en-US" sz="1800">
              <a:cs typeface="Arial" panose="020B0604020202020204" pitchFamily="34" charset="0"/>
            </a:endParaRPr>
          </a:p>
        </p:txBody>
      </p:sp>
      <p:sp>
        <p:nvSpPr>
          <p:cNvPr id="6" name="TextBox 11">
            <a:extLst>
              <a:ext uri="{FF2B5EF4-FFF2-40B4-BE49-F238E27FC236}">
                <a16:creationId xmlns:a16="http://schemas.microsoft.com/office/drawing/2014/main" id="{680EC40B-C6C9-48DC-AFCF-379372703D50}"/>
              </a:ext>
            </a:extLst>
          </p:cNvPr>
          <p:cNvSpPr txBox="1">
            <a:spLocks noChangeArrowheads="1"/>
          </p:cNvSpPr>
          <p:nvPr/>
        </p:nvSpPr>
        <p:spPr bwMode="auto">
          <a:xfrm>
            <a:off x="353647" y="6492876"/>
            <a:ext cx="660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900">
                <a:solidFill>
                  <a:srgbClr val="58595B"/>
                </a:solidFill>
                <a:latin typeface="Arial" panose="020B0604020202020204" pitchFamily="34" charset="0"/>
                <a:ea typeface="MS PGothic" panose="020B0600070205080204" pitchFamily="34" charset="-128"/>
                <a:cs typeface="Arial" panose="020B0604020202020204" pitchFamily="34" charset="0"/>
              </a:rPr>
              <a:t>AIA confidential and proprietary information. Not for distribution. </a:t>
            </a:r>
          </a:p>
        </p:txBody>
      </p:sp>
      <p:sp>
        <p:nvSpPr>
          <p:cNvPr id="10" name="Title 1"/>
          <p:cNvSpPr>
            <a:spLocks noGrp="1"/>
          </p:cNvSpPr>
          <p:nvPr>
            <p:ph type="ctrTitle"/>
          </p:nvPr>
        </p:nvSpPr>
        <p:spPr>
          <a:xfrm>
            <a:off x="2423584" y="2347026"/>
            <a:ext cx="9369386" cy="395112"/>
          </a:xfrm>
        </p:spPr>
        <p:txBody>
          <a:bodyPr rIns="0" bIns="0"/>
          <a:lstStyle>
            <a:lvl1pPr>
              <a:defRPr baseline="0">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24933" y="1288805"/>
            <a:ext cx="1898651" cy="1585031"/>
          </a:xfrm>
        </p:spPr>
        <p:txBody>
          <a:bodyPr lIns="0" tIns="0" rIns="0" bIns="0" anchor="b">
            <a:noAutofit/>
          </a:bodyPr>
          <a:lstStyle>
            <a:lvl1pPr algn="l">
              <a:spcBef>
                <a:spcPts val="0"/>
              </a:spcBef>
              <a:spcAft>
                <a:spcPts val="0"/>
              </a:spcAft>
              <a:defRPr sz="8800" b="1">
                <a:solidFill>
                  <a:schemeClr val="bg1"/>
                </a:solidFill>
              </a:defRPr>
            </a:lvl1pPr>
            <a:lvl2pPr marL="457200" indent="0" algn="r">
              <a:buNone/>
              <a:defRPr sz="8800" b="1">
                <a:solidFill>
                  <a:schemeClr val="bg1"/>
                </a:solidFill>
              </a:defRPr>
            </a:lvl2pPr>
            <a:lvl3pPr marL="914400" indent="0" algn="r">
              <a:buNone/>
              <a:defRPr sz="8800" b="1">
                <a:solidFill>
                  <a:schemeClr val="bg1"/>
                </a:solidFill>
              </a:defRPr>
            </a:lvl3pPr>
            <a:lvl4pPr algn="r">
              <a:defRPr sz="8800" b="1">
                <a:solidFill>
                  <a:schemeClr val="bg1"/>
                </a:solidFill>
              </a:defRPr>
            </a:lvl4pPr>
            <a:lvl5pPr marL="1828800" indent="0" algn="r">
              <a:buNone/>
              <a:defRPr sz="8800" b="1">
                <a:solidFill>
                  <a:schemeClr val="bg1"/>
                </a:solidFill>
              </a:defRPr>
            </a:lvl5pPr>
          </a:lstStyle>
          <a:p>
            <a:pPr lvl="0"/>
            <a:r>
              <a:rPr lang="en-US"/>
              <a:t>Click to edit Master text styles</a:t>
            </a:r>
          </a:p>
        </p:txBody>
      </p:sp>
      <p:sp>
        <p:nvSpPr>
          <p:cNvPr id="7" name="Text Placeholder 6"/>
          <p:cNvSpPr>
            <a:spLocks noGrp="1"/>
          </p:cNvSpPr>
          <p:nvPr>
            <p:ph type="body" sz="quarter" idx="11"/>
          </p:nvPr>
        </p:nvSpPr>
        <p:spPr>
          <a:xfrm>
            <a:off x="524935" y="2874611"/>
            <a:ext cx="8518721" cy="2666354"/>
          </a:xfrm>
        </p:spPr>
        <p:txBody>
          <a:bodyPr lIns="0" tIns="0" rIns="0" bIns="0">
            <a:normAutofit/>
          </a:bodyPr>
          <a:lstStyle>
            <a:lvl1pPr>
              <a:defRPr sz="1600">
                <a:solidFill>
                  <a:srgbClr val="FFFFFF"/>
                </a:solidFill>
              </a:defRPr>
            </a:lvl1pPr>
            <a:lvl2pPr>
              <a:defRPr sz="1600">
                <a:solidFill>
                  <a:srgbClr val="FFFFFF"/>
                </a:solidFill>
              </a:defRPr>
            </a:lvl2pPr>
            <a:lvl3pPr>
              <a:defRPr sz="1600">
                <a:solidFill>
                  <a:srgbClr val="FFFFFF"/>
                </a:solidFill>
              </a:defRPr>
            </a:lvl3pPr>
            <a:lvl4pPr>
              <a:defRPr sz="1600">
                <a:solidFill>
                  <a:srgbClr val="FFFFFF"/>
                </a:solidFill>
              </a:defRPr>
            </a:lvl4pPr>
            <a:lvl5pPr>
              <a:defRPr sz="16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43D84F85-DF75-445B-8006-83EB8E6FBD5E}"/>
              </a:ext>
            </a:extLst>
          </p:cNvPr>
          <p:cNvSpPr>
            <a:spLocks noGrp="1"/>
          </p:cNvSpPr>
          <p:nvPr>
            <p:ph type="sldNum" sz="quarter" idx="12"/>
          </p:nvPr>
        </p:nvSpPr>
        <p:spPr>
          <a:xfrm>
            <a:off x="11324492" y="6356351"/>
            <a:ext cx="609600" cy="365125"/>
          </a:xfrm>
          <a:prstGeom prst="rect">
            <a:avLst/>
          </a:prstGeom>
        </p:spPr>
        <p:txBody>
          <a:bodyPr/>
          <a:lstStyle>
            <a:lvl1pPr eaLnBrk="1" fontAlgn="auto" hangingPunct="1">
              <a:spcBef>
                <a:spcPts val="0"/>
              </a:spcBef>
              <a:spcAft>
                <a:spcPts val="0"/>
              </a:spcAft>
              <a:defRPr sz="1000" smtClean="0">
                <a:solidFill>
                  <a:schemeClr val="tx1"/>
                </a:solidFill>
                <a:latin typeface="Arial" panose="020B0604020202020204" pitchFamily="34" charset="0"/>
                <a:cs typeface="Arial" panose="020B0604020202020204" pitchFamily="34" charset="0"/>
              </a:defRPr>
            </a:lvl1pPr>
          </a:lstStyle>
          <a:p>
            <a:pPr>
              <a:defRPr/>
            </a:pPr>
            <a:fld id="{4A0A320F-C668-47FD-A14C-F9ED6876A987}" type="slidenum">
              <a:rPr lang="en-MY"/>
              <a:pPr>
                <a:defRPr/>
              </a:pPr>
              <a:t>‹#›</a:t>
            </a:fld>
            <a:endParaRPr lang="en-MY"/>
          </a:p>
        </p:txBody>
      </p:sp>
    </p:spTree>
    <p:extLst>
      <p:ext uri="{BB962C8B-B14F-4D97-AF65-F5344CB8AC3E}">
        <p14:creationId xmlns:p14="http://schemas.microsoft.com/office/powerpoint/2010/main" val="25119118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Divider Slide - Grey">
    <p:spTree>
      <p:nvGrpSpPr>
        <p:cNvPr id="1" name=""/>
        <p:cNvGrpSpPr/>
        <p:nvPr/>
      </p:nvGrpSpPr>
      <p:grpSpPr>
        <a:xfrm>
          <a:off x="0" y="0"/>
          <a:ext cx="0" cy="0"/>
          <a:chOff x="0" y="0"/>
          <a:chExt cx="0" cy="0"/>
        </a:xfrm>
      </p:grpSpPr>
      <p:sp>
        <p:nvSpPr>
          <p:cNvPr id="5" name="Rectangle 32">
            <a:extLst>
              <a:ext uri="{FF2B5EF4-FFF2-40B4-BE49-F238E27FC236}">
                <a16:creationId xmlns:a16="http://schemas.microsoft.com/office/drawing/2014/main" id="{15BAF6B5-E48C-48A6-9D7A-CF32F0B241FA}"/>
              </a:ext>
            </a:extLst>
          </p:cNvPr>
          <p:cNvSpPr>
            <a:spLocks noChangeArrowheads="1"/>
          </p:cNvSpPr>
          <p:nvPr/>
        </p:nvSpPr>
        <p:spPr bwMode="auto">
          <a:xfrm>
            <a:off x="1" y="0"/>
            <a:ext cx="11642970" cy="5430838"/>
          </a:xfrm>
          <a:prstGeom prst="rect">
            <a:avLst/>
          </a:pr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457200" indent="-342900"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spcBef>
                <a:spcPct val="20000"/>
              </a:spcBef>
              <a:buFontTx/>
              <a:buAutoNum type="arabicPeriod"/>
            </a:pPr>
            <a:endParaRPr lang="en-US" altLang="en-US" sz="1800">
              <a:cs typeface="Arial" panose="020B0604020202020204" pitchFamily="34" charset="0"/>
            </a:endParaRPr>
          </a:p>
        </p:txBody>
      </p:sp>
      <p:sp>
        <p:nvSpPr>
          <p:cNvPr id="6" name="TextBox 11">
            <a:extLst>
              <a:ext uri="{FF2B5EF4-FFF2-40B4-BE49-F238E27FC236}">
                <a16:creationId xmlns:a16="http://schemas.microsoft.com/office/drawing/2014/main" id="{3BC30FDF-3877-4DB7-9706-AADEBC4E9A96}"/>
              </a:ext>
            </a:extLst>
          </p:cNvPr>
          <p:cNvSpPr txBox="1">
            <a:spLocks noChangeArrowheads="1"/>
          </p:cNvSpPr>
          <p:nvPr/>
        </p:nvSpPr>
        <p:spPr bwMode="auto">
          <a:xfrm>
            <a:off x="353647" y="6492876"/>
            <a:ext cx="660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900">
                <a:solidFill>
                  <a:srgbClr val="58595B"/>
                </a:solidFill>
                <a:latin typeface="Arial" panose="020B0604020202020204" pitchFamily="34" charset="0"/>
                <a:ea typeface="MS PGothic" panose="020B0600070205080204" pitchFamily="34" charset="-128"/>
                <a:cs typeface="Arial" panose="020B0604020202020204" pitchFamily="34" charset="0"/>
              </a:rPr>
              <a:t>AIA confidential and proprietary information. Not for distribution. </a:t>
            </a:r>
          </a:p>
        </p:txBody>
      </p:sp>
      <p:sp>
        <p:nvSpPr>
          <p:cNvPr id="10" name="Title 1"/>
          <p:cNvSpPr>
            <a:spLocks noGrp="1"/>
          </p:cNvSpPr>
          <p:nvPr>
            <p:ph type="ctrTitle"/>
          </p:nvPr>
        </p:nvSpPr>
        <p:spPr>
          <a:xfrm>
            <a:off x="2423584" y="2347026"/>
            <a:ext cx="9369386" cy="395112"/>
          </a:xfrm>
        </p:spPr>
        <p:txBody>
          <a:bodyPr rIns="0" bIns="0"/>
          <a:lstStyle>
            <a:lvl1pPr>
              <a:defRPr baseline="0">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24933" y="1288805"/>
            <a:ext cx="1898651" cy="1585031"/>
          </a:xfrm>
        </p:spPr>
        <p:txBody>
          <a:bodyPr lIns="0" tIns="0" rIns="0" bIns="0" anchor="b">
            <a:noAutofit/>
          </a:bodyPr>
          <a:lstStyle>
            <a:lvl1pPr algn="l">
              <a:spcBef>
                <a:spcPts val="0"/>
              </a:spcBef>
              <a:spcAft>
                <a:spcPts val="0"/>
              </a:spcAft>
              <a:defRPr sz="8800" b="1">
                <a:solidFill>
                  <a:schemeClr val="bg1"/>
                </a:solidFill>
              </a:defRPr>
            </a:lvl1pPr>
            <a:lvl2pPr marL="457200" indent="0" algn="r">
              <a:buNone/>
              <a:defRPr sz="8800" b="1">
                <a:solidFill>
                  <a:schemeClr val="bg1"/>
                </a:solidFill>
              </a:defRPr>
            </a:lvl2pPr>
            <a:lvl3pPr marL="914400" indent="0" algn="r">
              <a:buNone/>
              <a:defRPr sz="8800" b="1">
                <a:solidFill>
                  <a:schemeClr val="bg1"/>
                </a:solidFill>
              </a:defRPr>
            </a:lvl3pPr>
            <a:lvl4pPr algn="r">
              <a:defRPr sz="8800" b="1">
                <a:solidFill>
                  <a:schemeClr val="bg1"/>
                </a:solidFill>
              </a:defRPr>
            </a:lvl4pPr>
            <a:lvl5pPr marL="1828800" indent="0" algn="r">
              <a:buNone/>
              <a:defRPr sz="8800" b="1">
                <a:solidFill>
                  <a:schemeClr val="bg1"/>
                </a:solidFill>
              </a:defRPr>
            </a:lvl5pPr>
          </a:lstStyle>
          <a:p>
            <a:pPr lvl="0"/>
            <a:r>
              <a:rPr lang="en-US"/>
              <a:t>Click to edit Master text styles</a:t>
            </a:r>
          </a:p>
        </p:txBody>
      </p:sp>
      <p:sp>
        <p:nvSpPr>
          <p:cNvPr id="7" name="Text Placeholder 6"/>
          <p:cNvSpPr>
            <a:spLocks noGrp="1"/>
          </p:cNvSpPr>
          <p:nvPr>
            <p:ph type="body" sz="quarter" idx="11"/>
          </p:nvPr>
        </p:nvSpPr>
        <p:spPr>
          <a:xfrm>
            <a:off x="524935" y="2874611"/>
            <a:ext cx="8518721" cy="2666354"/>
          </a:xfrm>
        </p:spPr>
        <p:txBody>
          <a:bodyPr lIns="0" tIns="0" rIns="0" bIns="0">
            <a:normAutofit/>
          </a:bodyPr>
          <a:lstStyle>
            <a:lvl1pPr>
              <a:defRPr sz="1600">
                <a:solidFill>
                  <a:srgbClr val="FFFFFF"/>
                </a:solidFill>
              </a:defRPr>
            </a:lvl1pPr>
            <a:lvl2pPr>
              <a:defRPr sz="1600">
                <a:solidFill>
                  <a:srgbClr val="FFFFFF"/>
                </a:solidFill>
              </a:defRPr>
            </a:lvl2pPr>
            <a:lvl3pPr>
              <a:defRPr sz="1600">
                <a:solidFill>
                  <a:srgbClr val="FFFFFF"/>
                </a:solidFill>
              </a:defRPr>
            </a:lvl3pPr>
            <a:lvl4pPr>
              <a:defRPr sz="1600">
                <a:solidFill>
                  <a:srgbClr val="FFFFFF"/>
                </a:solidFill>
              </a:defRPr>
            </a:lvl4pPr>
            <a:lvl5pPr>
              <a:defRPr sz="16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6F048645-CB68-4274-B2F7-996BC9A66BA4}"/>
              </a:ext>
            </a:extLst>
          </p:cNvPr>
          <p:cNvSpPr>
            <a:spLocks noGrp="1"/>
          </p:cNvSpPr>
          <p:nvPr>
            <p:ph type="sldNum" sz="quarter" idx="12"/>
          </p:nvPr>
        </p:nvSpPr>
        <p:spPr>
          <a:xfrm>
            <a:off x="11324492" y="6356351"/>
            <a:ext cx="609600" cy="365125"/>
          </a:xfrm>
          <a:prstGeom prst="rect">
            <a:avLst/>
          </a:prstGeom>
        </p:spPr>
        <p:txBody>
          <a:bodyPr/>
          <a:lstStyle>
            <a:lvl1pPr eaLnBrk="1" fontAlgn="auto" hangingPunct="1">
              <a:spcBef>
                <a:spcPts val="0"/>
              </a:spcBef>
              <a:spcAft>
                <a:spcPts val="0"/>
              </a:spcAft>
              <a:defRPr sz="1000" smtClean="0">
                <a:solidFill>
                  <a:schemeClr val="tx1"/>
                </a:solidFill>
                <a:latin typeface="Arial" panose="020B0604020202020204" pitchFamily="34" charset="0"/>
                <a:cs typeface="Arial" panose="020B0604020202020204" pitchFamily="34" charset="0"/>
              </a:defRPr>
            </a:lvl1pPr>
          </a:lstStyle>
          <a:p>
            <a:pPr>
              <a:defRPr/>
            </a:pPr>
            <a:fld id="{66D4E3D4-FF2C-4288-ADC6-8548E960E40D}" type="slidenum">
              <a:rPr lang="en-MY"/>
              <a:pPr>
                <a:defRPr/>
              </a:pPr>
              <a:t>‹#›</a:t>
            </a:fld>
            <a:endParaRPr lang="en-MY"/>
          </a:p>
        </p:txBody>
      </p:sp>
    </p:spTree>
    <p:extLst>
      <p:ext uri="{BB962C8B-B14F-4D97-AF65-F5344CB8AC3E}">
        <p14:creationId xmlns:p14="http://schemas.microsoft.com/office/powerpoint/2010/main" val="349409262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1787E0-CF82-487A-B855-DA45122B1AC9}"/>
              </a:ext>
            </a:extLst>
          </p:cNvPr>
          <p:cNvSpPr/>
          <p:nvPr/>
        </p:nvSpPr>
        <p:spPr>
          <a:xfrm>
            <a:off x="0" y="0"/>
            <a:ext cx="12192000" cy="6858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800"/>
          </a:p>
        </p:txBody>
      </p:sp>
      <p:pic>
        <p:nvPicPr>
          <p:cNvPr id="3" name="Picture 11">
            <a:extLst>
              <a:ext uri="{FF2B5EF4-FFF2-40B4-BE49-F238E27FC236}">
                <a16:creationId xmlns:a16="http://schemas.microsoft.com/office/drawing/2014/main" id="{FC98AF32-D4C3-4BEA-ACBC-D0DE938C72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26324" y="2303464"/>
            <a:ext cx="7662985" cy="225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932535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sp>
        <p:nvSpPr>
          <p:cNvPr id="5" name="Rectangle 32">
            <a:extLst>
              <a:ext uri="{FF2B5EF4-FFF2-40B4-BE49-F238E27FC236}">
                <a16:creationId xmlns:a16="http://schemas.microsoft.com/office/drawing/2014/main" id="{6F923CCA-A85A-4B02-B8DF-DE6AD869BE58}"/>
              </a:ext>
            </a:extLst>
          </p:cNvPr>
          <p:cNvSpPr>
            <a:spLocks noChangeArrowheads="1"/>
          </p:cNvSpPr>
          <p:nvPr/>
        </p:nvSpPr>
        <p:spPr bwMode="auto">
          <a:xfrm>
            <a:off x="1" y="0"/>
            <a:ext cx="11642970" cy="5430838"/>
          </a:xfrm>
          <a:prstGeom prst="rect">
            <a:avLst/>
          </a:prstGeom>
          <a:solidFill>
            <a:srgbClr val="D3114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457200" indent="-342900"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spcBef>
                <a:spcPct val="20000"/>
              </a:spcBef>
              <a:buFontTx/>
              <a:buAutoNum type="arabicPeriod"/>
            </a:pPr>
            <a:endParaRPr lang="en-US" altLang="en-US" sz="1800">
              <a:cs typeface="Arial" panose="020B0604020202020204" pitchFamily="34" charset="0"/>
            </a:endParaRPr>
          </a:p>
        </p:txBody>
      </p:sp>
      <p:sp>
        <p:nvSpPr>
          <p:cNvPr id="6" name="TextBox 11">
            <a:extLst>
              <a:ext uri="{FF2B5EF4-FFF2-40B4-BE49-F238E27FC236}">
                <a16:creationId xmlns:a16="http://schemas.microsoft.com/office/drawing/2014/main" id="{2D051E6A-BABD-43D4-AF47-A62D6E62B896}"/>
              </a:ext>
            </a:extLst>
          </p:cNvPr>
          <p:cNvSpPr txBox="1">
            <a:spLocks noChangeArrowheads="1"/>
          </p:cNvSpPr>
          <p:nvPr/>
        </p:nvSpPr>
        <p:spPr bwMode="auto">
          <a:xfrm>
            <a:off x="609600" y="6477000"/>
            <a:ext cx="66040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900">
                <a:solidFill>
                  <a:srgbClr val="58595B"/>
                </a:solidFill>
                <a:latin typeface="Arial" panose="020B0604020202020204" pitchFamily="34" charset="0"/>
                <a:ea typeface="MS PGothic" panose="020B0600070205080204" pitchFamily="34" charset="-128"/>
                <a:cs typeface="Arial" panose="020B0604020202020204" pitchFamily="34" charset="0"/>
              </a:rPr>
              <a:t>AIA confidential and proprietary information. Not for distribution. </a:t>
            </a:r>
          </a:p>
        </p:txBody>
      </p:sp>
      <p:sp>
        <p:nvSpPr>
          <p:cNvPr id="10" name="Title 1"/>
          <p:cNvSpPr>
            <a:spLocks noGrp="1"/>
          </p:cNvSpPr>
          <p:nvPr>
            <p:ph type="ctrTitle"/>
          </p:nvPr>
        </p:nvSpPr>
        <p:spPr>
          <a:xfrm>
            <a:off x="2423584" y="2347026"/>
            <a:ext cx="9369386" cy="395112"/>
          </a:xfrm>
        </p:spPr>
        <p:txBody>
          <a:bodyPr rIns="0" bIns="0"/>
          <a:lstStyle>
            <a:lvl1pPr>
              <a:defRPr b="1" baseline="0">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24933" y="1288805"/>
            <a:ext cx="1898651" cy="1585031"/>
          </a:xfrm>
        </p:spPr>
        <p:txBody>
          <a:bodyPr lIns="0" tIns="0" rIns="0" bIns="0" anchor="b">
            <a:noAutofit/>
          </a:bodyPr>
          <a:lstStyle>
            <a:lvl1pPr algn="l">
              <a:spcBef>
                <a:spcPts val="0"/>
              </a:spcBef>
              <a:spcAft>
                <a:spcPts val="0"/>
              </a:spcAft>
              <a:defRPr sz="8800" b="1">
                <a:solidFill>
                  <a:schemeClr val="bg1"/>
                </a:solidFill>
              </a:defRPr>
            </a:lvl1pPr>
            <a:lvl2pPr marL="457200" indent="0" algn="r">
              <a:buNone/>
              <a:defRPr sz="8800" b="1">
                <a:solidFill>
                  <a:schemeClr val="bg1"/>
                </a:solidFill>
              </a:defRPr>
            </a:lvl2pPr>
            <a:lvl3pPr marL="914400" indent="0" algn="r">
              <a:buNone/>
              <a:defRPr sz="8800" b="1">
                <a:solidFill>
                  <a:schemeClr val="bg1"/>
                </a:solidFill>
              </a:defRPr>
            </a:lvl3pPr>
            <a:lvl4pPr algn="r">
              <a:defRPr sz="8800" b="1">
                <a:solidFill>
                  <a:schemeClr val="bg1"/>
                </a:solidFill>
              </a:defRPr>
            </a:lvl4pPr>
            <a:lvl5pPr marL="1828800" indent="0" algn="r">
              <a:buNone/>
              <a:defRPr sz="8800" b="1">
                <a:solidFill>
                  <a:schemeClr val="bg1"/>
                </a:solidFill>
              </a:defRPr>
            </a:lvl5pPr>
          </a:lstStyle>
          <a:p>
            <a:pPr lvl="0"/>
            <a:r>
              <a:rPr lang="en-US"/>
              <a:t>Click to edit Master text styles</a:t>
            </a:r>
          </a:p>
        </p:txBody>
      </p:sp>
      <p:sp>
        <p:nvSpPr>
          <p:cNvPr id="7" name="Text Placeholder 6"/>
          <p:cNvSpPr>
            <a:spLocks noGrp="1"/>
          </p:cNvSpPr>
          <p:nvPr>
            <p:ph type="body" sz="quarter" idx="11"/>
          </p:nvPr>
        </p:nvSpPr>
        <p:spPr>
          <a:xfrm>
            <a:off x="524935" y="2874611"/>
            <a:ext cx="8518721" cy="2666354"/>
          </a:xfrm>
        </p:spPr>
        <p:txBody>
          <a:bodyPr lIns="0" tIns="0" rIns="0" bIns="0">
            <a:normAutofit/>
          </a:bodyPr>
          <a:lstStyle>
            <a:lvl1pPr>
              <a:defRPr sz="1600">
                <a:solidFill>
                  <a:srgbClr val="FFFFFF"/>
                </a:solidFill>
              </a:defRPr>
            </a:lvl1pPr>
            <a:lvl2pPr>
              <a:defRPr sz="1600">
                <a:solidFill>
                  <a:srgbClr val="FFFFFF"/>
                </a:solidFill>
              </a:defRPr>
            </a:lvl2pPr>
            <a:lvl3pPr>
              <a:defRPr sz="1600">
                <a:solidFill>
                  <a:srgbClr val="FFFFFF"/>
                </a:solidFill>
              </a:defRPr>
            </a:lvl3pPr>
            <a:lvl4pPr>
              <a:defRPr sz="1600">
                <a:solidFill>
                  <a:srgbClr val="FFFFFF"/>
                </a:solidFill>
              </a:defRPr>
            </a:lvl4pPr>
            <a:lvl5pPr>
              <a:defRPr sz="16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80365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AD719D2-1FB9-4627-AA31-A8A3A771EC25}"/>
              </a:ext>
            </a:extLst>
          </p:cNvPr>
          <p:cNvSpPr>
            <a:spLocks noGrp="1"/>
          </p:cNvSpPr>
          <p:nvPr>
            <p:ph type="dt" sz="half" idx="10"/>
          </p:nvPr>
        </p:nvSpPr>
        <p:spPr/>
        <p:txBody>
          <a:bodyPr/>
          <a:lstStyle>
            <a:lvl1pPr>
              <a:defRPr/>
            </a:lvl1pPr>
          </a:lstStyle>
          <a:p>
            <a:pPr>
              <a:defRPr/>
            </a:pPr>
            <a:fld id="{70109676-41DE-4A29-AF76-AF453A6AE32A}" type="datetimeFigureOut">
              <a:rPr lang="en-US"/>
              <a:pPr>
                <a:defRPr/>
              </a:pPr>
              <a:t>9/23/2021</a:t>
            </a:fld>
            <a:endParaRPr lang="en-US"/>
          </a:p>
        </p:txBody>
      </p:sp>
      <p:sp>
        <p:nvSpPr>
          <p:cNvPr id="3" name="Footer Placeholder 2">
            <a:extLst>
              <a:ext uri="{FF2B5EF4-FFF2-40B4-BE49-F238E27FC236}">
                <a16:creationId xmlns:a16="http://schemas.microsoft.com/office/drawing/2014/main" id="{AF18ECF0-360A-4EC6-ADDA-635F4C19F088}"/>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3">
            <a:extLst>
              <a:ext uri="{FF2B5EF4-FFF2-40B4-BE49-F238E27FC236}">
                <a16:creationId xmlns:a16="http://schemas.microsoft.com/office/drawing/2014/main" id="{563DBE6F-18A7-483B-8874-98B8EA427DD6}"/>
              </a:ext>
            </a:extLst>
          </p:cNvPr>
          <p:cNvSpPr>
            <a:spLocks noGrp="1"/>
          </p:cNvSpPr>
          <p:nvPr>
            <p:ph type="sldNum" sz="quarter" idx="12"/>
          </p:nvPr>
        </p:nvSpPr>
        <p:spPr>
          <a:xfrm>
            <a:off x="0" y="0"/>
            <a:ext cx="0" cy="0"/>
          </a:xfrm>
        </p:spPr>
        <p:txBody>
          <a:bodyPr/>
          <a:lstStyle>
            <a:lvl1pPr eaLnBrk="1" fontAlgn="auto" hangingPunct="1">
              <a:spcBef>
                <a:spcPts val="0"/>
              </a:spcBef>
              <a:spcAft>
                <a:spcPts val="0"/>
              </a:spcAft>
              <a:defRPr>
                <a:latin typeface="+mn-lt"/>
              </a:defRPr>
            </a:lvl1pPr>
          </a:lstStyle>
          <a:p>
            <a:pPr>
              <a:defRPr/>
            </a:pPr>
            <a:fld id="{F750F8CE-5F7C-42D0-951D-6F104F157500}" type="slidenum">
              <a:rPr lang="en-US"/>
              <a:pPr>
                <a:defRPr/>
              </a:pPr>
              <a:t>‹#›</a:t>
            </a:fld>
            <a:endParaRPr lang="en-US"/>
          </a:p>
        </p:txBody>
      </p:sp>
    </p:spTree>
    <p:extLst>
      <p:ext uri="{BB962C8B-B14F-4D97-AF65-F5344CB8AC3E}">
        <p14:creationId xmlns:p14="http://schemas.microsoft.com/office/powerpoint/2010/main" val="25614725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a_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4B5E797-4ED5-864F-BBCD-B0D9C7C394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Subtitle 2"/>
          <p:cNvSpPr>
            <a:spLocks noGrp="1"/>
          </p:cNvSpPr>
          <p:nvPr>
            <p:ph type="subTitle" idx="1" hasCustomPrompt="1"/>
          </p:nvPr>
        </p:nvSpPr>
        <p:spPr>
          <a:xfrm>
            <a:off x="375138" y="5588002"/>
            <a:ext cx="5080000" cy="358775"/>
          </a:xfrm>
          <a:prstGeom prst="rect">
            <a:avLst/>
          </a:prstGeom>
        </p:spPr>
        <p:txBody>
          <a:bodyPr>
            <a:normAutofit/>
          </a:bodyPr>
          <a:lstStyle>
            <a:lvl1pPr marL="0" indent="0" algn="l">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date</a:t>
            </a:r>
          </a:p>
        </p:txBody>
      </p:sp>
      <p:sp>
        <p:nvSpPr>
          <p:cNvPr id="9" name="TextBox 8"/>
          <p:cNvSpPr txBox="1"/>
          <p:nvPr/>
        </p:nvSpPr>
        <p:spPr>
          <a:xfrm>
            <a:off x="359508" y="6493172"/>
            <a:ext cx="6604000" cy="230832"/>
          </a:xfrm>
          <a:prstGeom prst="rect">
            <a:avLst/>
          </a:prstGeom>
          <a:noFill/>
        </p:spPr>
        <p:txBody>
          <a:bodyPr wrap="square" rtlCol="0">
            <a:spAutoFit/>
          </a:bodyPr>
          <a:lstStyle/>
          <a:p>
            <a:r>
              <a:rPr lang="en-US" sz="900">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p>
        </p:txBody>
      </p:sp>
      <p:sp>
        <p:nvSpPr>
          <p:cNvPr id="6" name="Text Placeholder 11">
            <a:extLst>
              <a:ext uri="{FF2B5EF4-FFF2-40B4-BE49-F238E27FC236}">
                <a16:creationId xmlns:a16="http://schemas.microsoft.com/office/drawing/2014/main" id="{C4B34AF1-3AD0-DE4E-91C8-39A92B566589}"/>
              </a:ext>
            </a:extLst>
          </p:cNvPr>
          <p:cNvSpPr>
            <a:spLocks noGrp="1"/>
          </p:cNvSpPr>
          <p:nvPr>
            <p:ph type="body" sz="quarter" idx="10" hasCustomPrompt="1"/>
          </p:nvPr>
        </p:nvSpPr>
        <p:spPr>
          <a:xfrm>
            <a:off x="375138" y="1905001"/>
            <a:ext cx="8418562" cy="741045"/>
          </a:xfrm>
          <a:prstGeom prst="rect">
            <a:avLst/>
          </a:prstGeom>
        </p:spPr>
        <p:txBody>
          <a:bodyPr/>
          <a:lstStyle>
            <a:lvl1pPr>
              <a:defRPr sz="3200">
                <a:solidFill>
                  <a:schemeClr val="bg1"/>
                </a:solidFill>
              </a:defRPr>
            </a:lvl1pPr>
            <a:lvl2pPr marL="457200" indent="0">
              <a:buNone/>
              <a:defRPr/>
            </a:lvl2pPr>
          </a:lstStyle>
          <a:p>
            <a:pPr lvl="0"/>
            <a:r>
              <a:rPr lang="en-US"/>
              <a:t>Title of Presentation</a:t>
            </a:r>
          </a:p>
        </p:txBody>
      </p:sp>
    </p:spTree>
    <p:extLst>
      <p:ext uri="{BB962C8B-B14F-4D97-AF65-F5344CB8AC3E}">
        <p14:creationId xmlns:p14="http://schemas.microsoft.com/office/powerpoint/2010/main" val="3764592667"/>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b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D8654B-F30B-1F46-ACE1-4B3F4787B4A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Subtitle 2"/>
          <p:cNvSpPr>
            <a:spLocks noGrp="1"/>
          </p:cNvSpPr>
          <p:nvPr>
            <p:ph type="subTitle" idx="1" hasCustomPrompt="1"/>
          </p:nvPr>
        </p:nvSpPr>
        <p:spPr>
          <a:xfrm>
            <a:off x="375138" y="5588002"/>
            <a:ext cx="5080000" cy="358775"/>
          </a:xfrm>
          <a:prstGeom prst="rect">
            <a:avLst/>
          </a:prstGeom>
        </p:spPr>
        <p:txBody>
          <a:bodyPr>
            <a:normAutofit/>
          </a:bodyPr>
          <a:lstStyle>
            <a:lvl1pPr marL="0" indent="0" algn="l">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date</a:t>
            </a:r>
          </a:p>
        </p:txBody>
      </p:sp>
      <p:sp>
        <p:nvSpPr>
          <p:cNvPr id="9" name="TextBox 8"/>
          <p:cNvSpPr txBox="1"/>
          <p:nvPr/>
        </p:nvSpPr>
        <p:spPr>
          <a:xfrm>
            <a:off x="359508" y="6493172"/>
            <a:ext cx="6604000" cy="230832"/>
          </a:xfrm>
          <a:prstGeom prst="rect">
            <a:avLst/>
          </a:prstGeom>
          <a:noFill/>
        </p:spPr>
        <p:txBody>
          <a:bodyPr wrap="square" rtlCol="0">
            <a:spAutoFit/>
          </a:bodyPr>
          <a:lstStyle/>
          <a:p>
            <a:r>
              <a:rPr lang="en-US" sz="900">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p>
        </p:txBody>
      </p:sp>
      <p:sp>
        <p:nvSpPr>
          <p:cNvPr id="6" name="Text Placeholder 11">
            <a:extLst>
              <a:ext uri="{FF2B5EF4-FFF2-40B4-BE49-F238E27FC236}">
                <a16:creationId xmlns:a16="http://schemas.microsoft.com/office/drawing/2014/main" id="{31EFB72A-6998-9B48-9EFC-57DE8F0B36A3}"/>
              </a:ext>
            </a:extLst>
          </p:cNvPr>
          <p:cNvSpPr>
            <a:spLocks noGrp="1"/>
          </p:cNvSpPr>
          <p:nvPr>
            <p:ph type="body" sz="quarter" idx="10" hasCustomPrompt="1"/>
          </p:nvPr>
        </p:nvSpPr>
        <p:spPr>
          <a:xfrm>
            <a:off x="375138" y="1905001"/>
            <a:ext cx="8418562" cy="741045"/>
          </a:xfrm>
          <a:prstGeom prst="rect">
            <a:avLst/>
          </a:prstGeom>
        </p:spPr>
        <p:txBody>
          <a:bodyPr/>
          <a:lstStyle>
            <a:lvl1pPr>
              <a:defRPr sz="3200">
                <a:solidFill>
                  <a:schemeClr val="bg1"/>
                </a:solidFill>
              </a:defRPr>
            </a:lvl1pPr>
            <a:lvl2pPr marL="457200" indent="0">
              <a:buNone/>
              <a:defRPr/>
            </a:lvl2pPr>
          </a:lstStyle>
          <a:p>
            <a:pPr lvl="0"/>
            <a:r>
              <a:rPr lang="en-US"/>
              <a:t>Title of Presentation</a:t>
            </a:r>
          </a:p>
        </p:txBody>
      </p:sp>
    </p:spTree>
    <p:extLst>
      <p:ext uri="{BB962C8B-B14F-4D97-AF65-F5344CB8AC3E}">
        <p14:creationId xmlns:p14="http://schemas.microsoft.com/office/powerpoint/2010/main" val="15924736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c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8FE1FFE-D6D1-6E4B-94D4-04AA8B9AF08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044363" cy="6493172"/>
          </a:xfrm>
          <a:prstGeom prst="rect">
            <a:avLst/>
          </a:prstGeom>
        </p:spPr>
      </p:pic>
      <p:pic>
        <p:nvPicPr>
          <p:cNvPr id="7" name="Picture 6">
            <a:extLst>
              <a:ext uri="{FF2B5EF4-FFF2-40B4-BE49-F238E27FC236}">
                <a16:creationId xmlns:a16="http://schemas.microsoft.com/office/drawing/2014/main" id="{7B852073-36C7-0144-BAA1-0A8C76881E5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DCD4D57-4458-E047-90A3-00B1CADAA97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Subtitle 2"/>
          <p:cNvSpPr>
            <a:spLocks noGrp="1"/>
          </p:cNvSpPr>
          <p:nvPr>
            <p:ph type="subTitle" idx="1" hasCustomPrompt="1"/>
          </p:nvPr>
        </p:nvSpPr>
        <p:spPr>
          <a:xfrm>
            <a:off x="375138" y="5588002"/>
            <a:ext cx="5080000" cy="358775"/>
          </a:xfrm>
          <a:prstGeom prst="rect">
            <a:avLst/>
          </a:prstGeom>
        </p:spPr>
        <p:txBody>
          <a:bodyPr>
            <a:normAutofit/>
          </a:bodyPr>
          <a:lstStyle>
            <a:lvl1pPr marL="0" indent="0" algn="l">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date</a:t>
            </a:r>
          </a:p>
        </p:txBody>
      </p:sp>
      <p:sp>
        <p:nvSpPr>
          <p:cNvPr id="9" name="TextBox 8"/>
          <p:cNvSpPr txBox="1"/>
          <p:nvPr/>
        </p:nvSpPr>
        <p:spPr>
          <a:xfrm>
            <a:off x="359508" y="6493172"/>
            <a:ext cx="6604000" cy="230832"/>
          </a:xfrm>
          <a:prstGeom prst="rect">
            <a:avLst/>
          </a:prstGeom>
          <a:noFill/>
        </p:spPr>
        <p:txBody>
          <a:bodyPr wrap="square" rtlCol="0">
            <a:spAutoFit/>
          </a:bodyPr>
          <a:lstStyle/>
          <a:p>
            <a:r>
              <a:rPr lang="en-US" sz="900">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p>
        </p:txBody>
      </p:sp>
      <p:sp>
        <p:nvSpPr>
          <p:cNvPr id="10" name="Text Placeholder 11">
            <a:extLst>
              <a:ext uri="{FF2B5EF4-FFF2-40B4-BE49-F238E27FC236}">
                <a16:creationId xmlns:a16="http://schemas.microsoft.com/office/drawing/2014/main" id="{D6483828-3A97-F349-897B-E5C4D0CDDFF9}"/>
              </a:ext>
            </a:extLst>
          </p:cNvPr>
          <p:cNvSpPr>
            <a:spLocks noGrp="1"/>
          </p:cNvSpPr>
          <p:nvPr>
            <p:ph type="body" sz="quarter" idx="10" hasCustomPrompt="1"/>
          </p:nvPr>
        </p:nvSpPr>
        <p:spPr>
          <a:xfrm>
            <a:off x="375138" y="1905001"/>
            <a:ext cx="8418562" cy="741045"/>
          </a:xfrm>
          <a:prstGeom prst="rect">
            <a:avLst/>
          </a:prstGeom>
        </p:spPr>
        <p:txBody>
          <a:bodyPr/>
          <a:lstStyle>
            <a:lvl1pPr>
              <a:defRPr sz="3200">
                <a:solidFill>
                  <a:schemeClr val="bg1"/>
                </a:solidFill>
              </a:defRPr>
            </a:lvl1pPr>
            <a:lvl2pPr marL="457200" indent="0">
              <a:buNone/>
              <a:defRPr/>
            </a:lvl2pPr>
          </a:lstStyle>
          <a:p>
            <a:pPr lvl="0"/>
            <a:r>
              <a:rPr lang="en-US"/>
              <a:t>Title of Presentation</a:t>
            </a:r>
          </a:p>
        </p:txBody>
      </p:sp>
    </p:spTree>
    <p:extLst>
      <p:ext uri="{BB962C8B-B14F-4D97-AF65-F5344CB8AC3E}">
        <p14:creationId xmlns:p14="http://schemas.microsoft.com/office/powerpoint/2010/main" val="2721789266"/>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d_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EA756DF-927A-DA4B-AA62-6F3A55678D8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044363" cy="6493172"/>
          </a:xfrm>
          <a:prstGeom prst="rect">
            <a:avLst/>
          </a:prstGeom>
        </p:spPr>
      </p:pic>
      <p:pic>
        <p:nvPicPr>
          <p:cNvPr id="8" name="Picture 7">
            <a:extLst>
              <a:ext uri="{FF2B5EF4-FFF2-40B4-BE49-F238E27FC236}">
                <a16:creationId xmlns:a16="http://schemas.microsoft.com/office/drawing/2014/main" id="{2366DA16-0AE4-9D47-AF97-E06CAF9F844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79697D20-8BAA-3E4C-887B-114B29E6F37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Subtitle 2"/>
          <p:cNvSpPr>
            <a:spLocks noGrp="1"/>
          </p:cNvSpPr>
          <p:nvPr>
            <p:ph type="subTitle" idx="1" hasCustomPrompt="1"/>
          </p:nvPr>
        </p:nvSpPr>
        <p:spPr>
          <a:xfrm>
            <a:off x="375138" y="5588002"/>
            <a:ext cx="5080000" cy="358775"/>
          </a:xfrm>
          <a:prstGeom prst="rect">
            <a:avLst/>
          </a:prstGeom>
        </p:spPr>
        <p:txBody>
          <a:bodyPr>
            <a:normAutofit/>
          </a:bodyPr>
          <a:lstStyle>
            <a:lvl1pPr marL="0" indent="0" algn="l">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date</a:t>
            </a:r>
          </a:p>
        </p:txBody>
      </p:sp>
      <p:sp>
        <p:nvSpPr>
          <p:cNvPr id="9" name="TextBox 8"/>
          <p:cNvSpPr txBox="1"/>
          <p:nvPr/>
        </p:nvSpPr>
        <p:spPr>
          <a:xfrm>
            <a:off x="359508" y="6493172"/>
            <a:ext cx="6604000" cy="230832"/>
          </a:xfrm>
          <a:prstGeom prst="rect">
            <a:avLst/>
          </a:prstGeom>
          <a:noFill/>
        </p:spPr>
        <p:txBody>
          <a:bodyPr wrap="square" rtlCol="0">
            <a:spAutoFit/>
          </a:bodyPr>
          <a:lstStyle/>
          <a:p>
            <a:r>
              <a:rPr lang="en-US" sz="900">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p>
        </p:txBody>
      </p:sp>
      <p:sp>
        <p:nvSpPr>
          <p:cNvPr id="10" name="Text Placeholder 11">
            <a:extLst>
              <a:ext uri="{FF2B5EF4-FFF2-40B4-BE49-F238E27FC236}">
                <a16:creationId xmlns:a16="http://schemas.microsoft.com/office/drawing/2014/main" id="{C4569D4F-2297-2449-B1D4-3D809F16C6E5}"/>
              </a:ext>
            </a:extLst>
          </p:cNvPr>
          <p:cNvSpPr>
            <a:spLocks noGrp="1"/>
          </p:cNvSpPr>
          <p:nvPr>
            <p:ph type="body" sz="quarter" idx="10" hasCustomPrompt="1"/>
          </p:nvPr>
        </p:nvSpPr>
        <p:spPr>
          <a:xfrm>
            <a:off x="375138" y="1905001"/>
            <a:ext cx="8418562" cy="741045"/>
          </a:xfrm>
          <a:prstGeom prst="rect">
            <a:avLst/>
          </a:prstGeom>
        </p:spPr>
        <p:txBody>
          <a:bodyPr/>
          <a:lstStyle>
            <a:lvl1pPr>
              <a:defRPr sz="3200">
                <a:solidFill>
                  <a:schemeClr val="bg1"/>
                </a:solidFill>
              </a:defRPr>
            </a:lvl1pPr>
            <a:lvl2pPr marL="457200" indent="0">
              <a:buNone/>
              <a:defRPr/>
            </a:lvl2pPr>
          </a:lstStyle>
          <a:p>
            <a:pPr lvl="0"/>
            <a:r>
              <a:rPr lang="en-US"/>
              <a:t>Title of Presentation</a:t>
            </a:r>
          </a:p>
        </p:txBody>
      </p:sp>
    </p:spTree>
    <p:extLst>
      <p:ext uri="{BB962C8B-B14F-4D97-AF65-F5344CB8AC3E}">
        <p14:creationId xmlns:p14="http://schemas.microsoft.com/office/powerpoint/2010/main" val="949649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e_Title Slide_Custom Image">
    <p:bg>
      <p:bgPr>
        <a:solidFill>
          <a:schemeClr val="bg1">
            <a:lumMod val="85000"/>
          </a:schemeClr>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E30A63B-FDEF-9545-A6F8-8A612A3F69B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DCD4D57-4458-E047-90A3-00B1CADAA97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Subtitle 2"/>
          <p:cNvSpPr>
            <a:spLocks noGrp="1"/>
          </p:cNvSpPr>
          <p:nvPr>
            <p:ph type="subTitle" idx="1" hasCustomPrompt="1"/>
          </p:nvPr>
        </p:nvSpPr>
        <p:spPr>
          <a:xfrm>
            <a:off x="375138" y="5588002"/>
            <a:ext cx="5080000" cy="358775"/>
          </a:xfrm>
          <a:prstGeom prst="rect">
            <a:avLst/>
          </a:prstGeom>
        </p:spPr>
        <p:txBody>
          <a:bodyPr>
            <a:normAutofit/>
          </a:bodyPr>
          <a:lstStyle>
            <a:lvl1pPr marL="0" indent="0" algn="l">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date</a:t>
            </a:r>
          </a:p>
        </p:txBody>
      </p:sp>
      <p:sp>
        <p:nvSpPr>
          <p:cNvPr id="9" name="TextBox 8"/>
          <p:cNvSpPr txBox="1"/>
          <p:nvPr/>
        </p:nvSpPr>
        <p:spPr>
          <a:xfrm>
            <a:off x="359508" y="6493172"/>
            <a:ext cx="6604000" cy="230832"/>
          </a:xfrm>
          <a:prstGeom prst="rect">
            <a:avLst/>
          </a:prstGeom>
          <a:noFill/>
        </p:spPr>
        <p:txBody>
          <a:bodyPr wrap="square" rtlCol="0">
            <a:spAutoFit/>
          </a:bodyPr>
          <a:lstStyle/>
          <a:p>
            <a:r>
              <a:rPr lang="en-US" sz="900">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p>
        </p:txBody>
      </p:sp>
      <p:sp>
        <p:nvSpPr>
          <p:cNvPr id="10" name="TextBox 9">
            <a:extLst>
              <a:ext uri="{FF2B5EF4-FFF2-40B4-BE49-F238E27FC236}">
                <a16:creationId xmlns:a16="http://schemas.microsoft.com/office/drawing/2014/main" id="{24091E49-036B-1C4C-9065-A3BB3DA8D57A}"/>
              </a:ext>
            </a:extLst>
          </p:cNvPr>
          <p:cNvSpPr txBox="1"/>
          <p:nvPr/>
        </p:nvSpPr>
        <p:spPr>
          <a:xfrm>
            <a:off x="-5498166" y="5079946"/>
            <a:ext cx="5292360" cy="1778054"/>
          </a:xfrm>
          <a:prstGeom prst="rect">
            <a:avLst/>
          </a:prstGeom>
          <a:solidFill>
            <a:schemeClr val="bg1">
              <a:lumMod val="95000"/>
            </a:schemeClr>
          </a:solidFill>
          <a:ln w="3175">
            <a:solidFill>
              <a:schemeClr val="bg1">
                <a:lumMod val="75000"/>
              </a:schemeClr>
            </a:solidFill>
          </a:ln>
        </p:spPr>
        <p:txBody>
          <a:bodyPr wrap="square" lIns="90000" tIns="90000" rIns="90000" bIns="90000" rtlCol="0">
            <a:noAutofit/>
          </a:bodyPr>
          <a:lstStyle/>
          <a:p>
            <a:r>
              <a:rPr lang="en-US" sz="1400" b="1" i="0">
                <a:solidFill>
                  <a:schemeClr val="bg1">
                    <a:lumMod val="50000"/>
                  </a:schemeClr>
                </a:solidFill>
                <a:latin typeface="Arial" panose="020B0604020202020204" pitchFamily="34" charset="0"/>
                <a:cs typeface="Arial" panose="020B0604020202020204" pitchFamily="34" charset="0"/>
              </a:rPr>
              <a:t>How to change your background image:</a:t>
            </a:r>
          </a:p>
          <a:p>
            <a:r>
              <a:rPr lang="en-US" sz="1400" b="0" i="0">
                <a:solidFill>
                  <a:schemeClr val="bg1">
                    <a:lumMod val="50000"/>
                  </a:schemeClr>
                </a:solidFill>
                <a:latin typeface="Arial" panose="020B0604020202020204" pitchFamily="34" charset="0"/>
                <a:cs typeface="Arial" panose="020B0604020202020204" pitchFamily="34" charset="0"/>
              </a:rPr>
              <a:t>- Right click to select “Format Background”</a:t>
            </a:r>
          </a:p>
          <a:p>
            <a:r>
              <a:rPr lang="en-US" sz="1400" b="0" i="0">
                <a:solidFill>
                  <a:schemeClr val="bg1">
                    <a:lumMod val="50000"/>
                  </a:schemeClr>
                </a:solidFill>
                <a:latin typeface="Arial" panose="020B0604020202020204" pitchFamily="34" charset="0"/>
                <a:cs typeface="Arial" panose="020B0604020202020204" pitchFamily="34" charset="0"/>
              </a:rPr>
              <a:t>- Go to “Fill”</a:t>
            </a:r>
          </a:p>
          <a:p>
            <a:r>
              <a:rPr lang="en-US" sz="1400" b="0" i="0">
                <a:solidFill>
                  <a:schemeClr val="bg1">
                    <a:lumMod val="50000"/>
                  </a:schemeClr>
                </a:solidFill>
                <a:latin typeface="Arial" panose="020B0604020202020204" pitchFamily="34" charset="0"/>
                <a:cs typeface="Arial" panose="020B0604020202020204" pitchFamily="34" charset="0"/>
              </a:rPr>
              <a:t>- Select “Picture or texture fill”</a:t>
            </a:r>
          </a:p>
          <a:p>
            <a:r>
              <a:rPr lang="en-US" sz="1400" b="0" i="0">
                <a:solidFill>
                  <a:schemeClr val="bg1">
                    <a:lumMod val="50000"/>
                  </a:schemeClr>
                </a:solidFill>
                <a:latin typeface="Arial" panose="020B0604020202020204" pitchFamily="34" charset="0"/>
                <a:cs typeface="Arial" panose="020B0604020202020204" pitchFamily="34" charset="0"/>
              </a:rPr>
              <a:t>- Click Insert from “File” and you can select your own picture</a:t>
            </a:r>
          </a:p>
        </p:txBody>
      </p:sp>
      <p:sp>
        <p:nvSpPr>
          <p:cNvPr id="13" name="Text Placeholder 11">
            <a:extLst>
              <a:ext uri="{FF2B5EF4-FFF2-40B4-BE49-F238E27FC236}">
                <a16:creationId xmlns:a16="http://schemas.microsoft.com/office/drawing/2014/main" id="{723429B5-F274-DB4C-8E36-E3FA50891F41}"/>
              </a:ext>
            </a:extLst>
          </p:cNvPr>
          <p:cNvSpPr>
            <a:spLocks noGrp="1"/>
          </p:cNvSpPr>
          <p:nvPr>
            <p:ph type="body" sz="quarter" idx="10" hasCustomPrompt="1"/>
          </p:nvPr>
        </p:nvSpPr>
        <p:spPr>
          <a:xfrm>
            <a:off x="375138" y="1905001"/>
            <a:ext cx="8418562" cy="741045"/>
          </a:xfrm>
          <a:prstGeom prst="rect">
            <a:avLst/>
          </a:prstGeom>
        </p:spPr>
        <p:txBody>
          <a:bodyPr/>
          <a:lstStyle>
            <a:lvl1pPr>
              <a:defRPr sz="3200">
                <a:solidFill>
                  <a:schemeClr val="bg1"/>
                </a:solidFill>
              </a:defRPr>
            </a:lvl1pPr>
            <a:lvl2pPr marL="457200" indent="0">
              <a:buNone/>
              <a:defRPr/>
            </a:lvl2pPr>
          </a:lstStyle>
          <a:p>
            <a:pPr lvl="0"/>
            <a:r>
              <a:rPr lang="en-US"/>
              <a:t>Title of Presentation</a:t>
            </a:r>
          </a:p>
        </p:txBody>
      </p:sp>
    </p:spTree>
    <p:extLst>
      <p:ext uri="{BB962C8B-B14F-4D97-AF65-F5344CB8AC3E}">
        <p14:creationId xmlns:p14="http://schemas.microsoft.com/office/powerpoint/2010/main" val="26428501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IA_EditableImage_logo">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28687CF-95FB-434B-8CD4-718FF5AF0747}"/>
              </a:ext>
            </a:extLst>
          </p:cNvPr>
          <p:cNvSpPr>
            <a:spLocks noGrp="1"/>
          </p:cNvSpPr>
          <p:nvPr>
            <p:ph type="sldNum" sz="quarter" idx="10"/>
          </p:nvPr>
        </p:nvSpPr>
        <p:spPr>
          <a:xfrm>
            <a:off x="359999" y="6264872"/>
            <a:ext cx="360000" cy="360000"/>
          </a:xfrm>
          <a:prstGeom prst="rect">
            <a:avLst/>
          </a:prstGeom>
        </p:spPr>
        <p:txBody>
          <a:bodyPr/>
          <a:lstStyle/>
          <a:p>
            <a:fld id="{52BD4378-72E1-444F-8B73-E4C8D03E6D72}" type="slidenum">
              <a:rPr lang="en-MY" smtClean="0"/>
              <a:t>‹#›</a:t>
            </a:fld>
            <a:endParaRPr lang="en-MY"/>
          </a:p>
        </p:txBody>
      </p:sp>
      <p:pic>
        <p:nvPicPr>
          <p:cNvPr id="5" name="Picture 4" descr="Two people standing in front of a beach&#10;&#10;Description automatically generated">
            <a:extLst>
              <a:ext uri="{FF2B5EF4-FFF2-40B4-BE49-F238E27FC236}">
                <a16:creationId xmlns:a16="http://schemas.microsoft.com/office/drawing/2014/main" id="{DDA1BD26-33D8-5840-8A5F-B3164084B2E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TextBox 9">
            <a:extLst>
              <a:ext uri="{FF2B5EF4-FFF2-40B4-BE49-F238E27FC236}">
                <a16:creationId xmlns:a16="http://schemas.microsoft.com/office/drawing/2014/main" id="{DFCE824B-55D2-EF48-B5FC-069BC69FFE6E}"/>
              </a:ext>
            </a:extLst>
          </p:cNvPr>
          <p:cNvSpPr txBox="1"/>
          <p:nvPr/>
        </p:nvSpPr>
        <p:spPr>
          <a:xfrm>
            <a:off x="-1440000" y="2440800"/>
            <a:ext cx="1356078" cy="2477601"/>
          </a:xfrm>
          <a:prstGeom prst="rect">
            <a:avLst/>
          </a:prstGeom>
          <a:solidFill>
            <a:schemeClr val="bg1"/>
          </a:solidFill>
        </p:spPr>
        <p:txBody>
          <a:bodyPr wrap="square" rtlCol="0">
            <a:spAutoFit/>
          </a:bodyPr>
          <a:lstStyle/>
          <a:p>
            <a:pPr algn="l">
              <a:spcBef>
                <a:spcPts val="600"/>
              </a:spcBef>
            </a:pPr>
            <a:r>
              <a:rPr lang="en-US" sz="1000">
                <a:solidFill>
                  <a:srgbClr val="333D47"/>
                </a:solidFill>
                <a:latin typeface="Arial" panose="020B0604020202020204" pitchFamily="34" charset="0"/>
                <a:cs typeface="Arial" panose="020B0604020202020204" pitchFamily="34" charset="0"/>
              </a:rPr>
              <a:t>The image can be replaced in master view. </a:t>
            </a:r>
          </a:p>
          <a:p>
            <a:pPr algn="l">
              <a:spcBef>
                <a:spcPts val="600"/>
              </a:spcBef>
            </a:pPr>
            <a:r>
              <a:rPr lang="en-US" sz="1000">
                <a:solidFill>
                  <a:srgbClr val="333D47"/>
                </a:solidFill>
                <a:latin typeface="Arial" panose="020B0604020202020204" pitchFamily="34" charset="0"/>
                <a:cs typeface="Arial" panose="020B0604020202020204" pitchFamily="34" charset="0"/>
              </a:rPr>
              <a:t>Please note image sits behind the Moving Mountains image. Be mindful the AIA logo should be top left and clear and visible on the image.</a:t>
            </a:r>
          </a:p>
          <a:p>
            <a:pPr algn="l"/>
            <a:r>
              <a:rPr lang="en-GB" sz="1000">
                <a:latin typeface="Helvetica Neue" panose="02000503000000020004" pitchFamily="2" charset="0"/>
              </a:rPr>
              <a:t>Please </a:t>
            </a:r>
            <a:r>
              <a:rPr lang="en-GB" sz="1000" b="1">
                <a:latin typeface="Helvetica Neue" panose="02000503000000020004" pitchFamily="2" charset="0"/>
              </a:rPr>
              <a:t>do not </a:t>
            </a:r>
            <a:r>
              <a:rPr lang="en-GB" sz="1000">
                <a:latin typeface="Helvetica Neue" panose="02000503000000020004" pitchFamily="2" charset="0"/>
              </a:rPr>
              <a:t>use any internal photo competition participants’ images</a:t>
            </a:r>
            <a:endParaRPr lang="en-US" sz="1000">
              <a:solidFill>
                <a:srgbClr val="333D47"/>
              </a:solidFill>
            </a:endParaRPr>
          </a:p>
        </p:txBody>
      </p:sp>
      <p:pic>
        <p:nvPicPr>
          <p:cNvPr id="8" name="Graphic 7">
            <a:extLst>
              <a:ext uri="{FF2B5EF4-FFF2-40B4-BE49-F238E27FC236}">
                <a16:creationId xmlns:a16="http://schemas.microsoft.com/office/drawing/2014/main" id="{E56A1A07-FFFA-1D40-8F1A-6189ECAEFABD}"/>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193" r="13080" b="17184"/>
          <a:stretch/>
        </p:blipFill>
        <p:spPr>
          <a:xfrm>
            <a:off x="6096000" y="-1"/>
            <a:ext cx="6096000" cy="6858001"/>
          </a:xfrm>
          <a:prstGeom prst="rect">
            <a:avLst/>
          </a:prstGeom>
        </p:spPr>
      </p:pic>
      <p:sp>
        <p:nvSpPr>
          <p:cNvPr id="11" name="Text Placeholder 11">
            <a:extLst>
              <a:ext uri="{FF2B5EF4-FFF2-40B4-BE49-F238E27FC236}">
                <a16:creationId xmlns:a16="http://schemas.microsoft.com/office/drawing/2014/main" id="{9CFAE758-C957-2543-A5D7-133362BC6A36}"/>
              </a:ext>
            </a:extLst>
          </p:cNvPr>
          <p:cNvSpPr>
            <a:spLocks noGrp="1"/>
          </p:cNvSpPr>
          <p:nvPr>
            <p:ph type="body" sz="quarter" idx="12" hasCustomPrompt="1"/>
          </p:nvPr>
        </p:nvSpPr>
        <p:spPr>
          <a:xfrm>
            <a:off x="6480000" y="2520000"/>
            <a:ext cx="4992000" cy="1269000"/>
          </a:xfrm>
          <a:prstGeom prst="rect">
            <a:avLst/>
          </a:prstGeom>
          <a:noFill/>
        </p:spPr>
        <p:txBody>
          <a:bodyPr>
            <a:noAutofit/>
          </a:bodyPr>
          <a:lstStyle>
            <a:lvl1pPr>
              <a:lnSpc>
                <a:spcPct val="80000"/>
              </a:lnSpc>
              <a:defRPr sz="4800">
                <a:solidFill>
                  <a:schemeClr val="bg1"/>
                </a:solidFill>
              </a:defRPr>
            </a:lvl1pPr>
            <a:lvl2pPr marL="457200" indent="0">
              <a:buNone/>
              <a:defRPr/>
            </a:lvl2pPr>
          </a:lstStyle>
          <a:p>
            <a:pPr lvl="0"/>
            <a:r>
              <a:rPr lang="en-US"/>
              <a:t>Section </a:t>
            </a:r>
            <a:br>
              <a:rPr lang="en-US"/>
            </a:br>
            <a:r>
              <a:rPr lang="en-US"/>
              <a:t>header</a:t>
            </a:r>
          </a:p>
        </p:txBody>
      </p:sp>
      <p:pic>
        <p:nvPicPr>
          <p:cNvPr id="9" name="Graphic 8">
            <a:extLst>
              <a:ext uri="{FF2B5EF4-FFF2-40B4-BE49-F238E27FC236}">
                <a16:creationId xmlns:a16="http://schemas.microsoft.com/office/drawing/2014/main" id="{ECBBA1F0-79B7-AB49-B352-21BDD169A7B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3600" y="360000"/>
            <a:ext cx="635000" cy="660400"/>
          </a:xfrm>
          <a:prstGeom prst="rect">
            <a:avLst/>
          </a:prstGeom>
        </p:spPr>
      </p:pic>
    </p:spTree>
    <p:extLst>
      <p:ext uri="{BB962C8B-B14F-4D97-AF65-F5344CB8AC3E}">
        <p14:creationId xmlns:p14="http://schemas.microsoft.com/office/powerpoint/2010/main" val="4514514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f_Title Slide_Custom Image">
    <p:bg>
      <p:bgPr>
        <a:solidFill>
          <a:schemeClr val="bg1">
            <a:lumMod val="85000"/>
          </a:schemeClr>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6629596-3772-BB43-AB98-3F64C9CBF23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79697D20-8BAA-3E4C-887B-114B29E6F37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Subtitle 2"/>
          <p:cNvSpPr>
            <a:spLocks noGrp="1"/>
          </p:cNvSpPr>
          <p:nvPr>
            <p:ph type="subTitle" idx="1" hasCustomPrompt="1"/>
          </p:nvPr>
        </p:nvSpPr>
        <p:spPr>
          <a:xfrm>
            <a:off x="375138" y="5588002"/>
            <a:ext cx="5080000" cy="358775"/>
          </a:xfrm>
          <a:prstGeom prst="rect">
            <a:avLst/>
          </a:prstGeom>
        </p:spPr>
        <p:txBody>
          <a:bodyPr>
            <a:normAutofit/>
          </a:bodyPr>
          <a:lstStyle>
            <a:lvl1pPr marL="0" indent="0" algn="l">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date</a:t>
            </a:r>
          </a:p>
        </p:txBody>
      </p:sp>
      <p:sp>
        <p:nvSpPr>
          <p:cNvPr id="9" name="TextBox 8"/>
          <p:cNvSpPr txBox="1"/>
          <p:nvPr/>
        </p:nvSpPr>
        <p:spPr>
          <a:xfrm>
            <a:off x="359508" y="6493172"/>
            <a:ext cx="6604000" cy="230832"/>
          </a:xfrm>
          <a:prstGeom prst="rect">
            <a:avLst/>
          </a:prstGeom>
          <a:noFill/>
        </p:spPr>
        <p:txBody>
          <a:bodyPr wrap="square" rtlCol="0">
            <a:spAutoFit/>
          </a:bodyPr>
          <a:lstStyle/>
          <a:p>
            <a:r>
              <a:rPr lang="en-US" sz="900">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p>
        </p:txBody>
      </p:sp>
      <p:sp>
        <p:nvSpPr>
          <p:cNvPr id="8" name="TextBox 7">
            <a:extLst>
              <a:ext uri="{FF2B5EF4-FFF2-40B4-BE49-F238E27FC236}">
                <a16:creationId xmlns:a16="http://schemas.microsoft.com/office/drawing/2014/main" id="{4C7AEAD4-C8D1-AF4B-B036-23DB06AD5EFE}"/>
              </a:ext>
            </a:extLst>
          </p:cNvPr>
          <p:cNvSpPr txBox="1"/>
          <p:nvPr/>
        </p:nvSpPr>
        <p:spPr>
          <a:xfrm>
            <a:off x="-5498166" y="5079946"/>
            <a:ext cx="5292360" cy="1778054"/>
          </a:xfrm>
          <a:prstGeom prst="rect">
            <a:avLst/>
          </a:prstGeom>
          <a:solidFill>
            <a:schemeClr val="bg1">
              <a:lumMod val="95000"/>
            </a:schemeClr>
          </a:solidFill>
          <a:ln w="3175">
            <a:solidFill>
              <a:schemeClr val="bg1">
                <a:lumMod val="75000"/>
              </a:schemeClr>
            </a:solidFill>
          </a:ln>
        </p:spPr>
        <p:txBody>
          <a:bodyPr wrap="square" lIns="90000" tIns="90000" rIns="90000" bIns="90000" rtlCol="0">
            <a:noAutofit/>
          </a:bodyPr>
          <a:lstStyle/>
          <a:p>
            <a:r>
              <a:rPr lang="en-US" sz="1400" b="1" i="0">
                <a:solidFill>
                  <a:schemeClr val="bg1">
                    <a:lumMod val="50000"/>
                  </a:schemeClr>
                </a:solidFill>
                <a:latin typeface="Arial" panose="020B0604020202020204" pitchFamily="34" charset="0"/>
                <a:cs typeface="Arial" panose="020B0604020202020204" pitchFamily="34" charset="0"/>
              </a:rPr>
              <a:t>How to change your background image:</a:t>
            </a:r>
          </a:p>
          <a:p>
            <a:r>
              <a:rPr lang="en-US" sz="1400" b="0" i="0">
                <a:solidFill>
                  <a:schemeClr val="bg1">
                    <a:lumMod val="50000"/>
                  </a:schemeClr>
                </a:solidFill>
                <a:latin typeface="Arial" panose="020B0604020202020204" pitchFamily="34" charset="0"/>
                <a:cs typeface="Arial" panose="020B0604020202020204" pitchFamily="34" charset="0"/>
              </a:rPr>
              <a:t>- Right click to select “Format Background”</a:t>
            </a:r>
          </a:p>
          <a:p>
            <a:r>
              <a:rPr lang="en-US" sz="1400" b="0" i="0">
                <a:solidFill>
                  <a:schemeClr val="bg1">
                    <a:lumMod val="50000"/>
                  </a:schemeClr>
                </a:solidFill>
                <a:latin typeface="Arial" panose="020B0604020202020204" pitchFamily="34" charset="0"/>
                <a:cs typeface="Arial" panose="020B0604020202020204" pitchFamily="34" charset="0"/>
              </a:rPr>
              <a:t>- Go to “Fill”</a:t>
            </a:r>
          </a:p>
          <a:p>
            <a:r>
              <a:rPr lang="en-US" sz="1400" b="0" i="0">
                <a:solidFill>
                  <a:schemeClr val="bg1">
                    <a:lumMod val="50000"/>
                  </a:schemeClr>
                </a:solidFill>
                <a:latin typeface="Arial" panose="020B0604020202020204" pitchFamily="34" charset="0"/>
                <a:cs typeface="Arial" panose="020B0604020202020204" pitchFamily="34" charset="0"/>
              </a:rPr>
              <a:t>- Select “Picture or texture fill”</a:t>
            </a:r>
          </a:p>
          <a:p>
            <a:r>
              <a:rPr lang="en-US" sz="1400" b="0" i="0">
                <a:solidFill>
                  <a:schemeClr val="bg1">
                    <a:lumMod val="50000"/>
                  </a:schemeClr>
                </a:solidFill>
                <a:latin typeface="Arial" panose="020B0604020202020204" pitchFamily="34" charset="0"/>
                <a:cs typeface="Arial" panose="020B0604020202020204" pitchFamily="34" charset="0"/>
              </a:rPr>
              <a:t>- Click Insert from “File” and you can select your own picture</a:t>
            </a:r>
          </a:p>
        </p:txBody>
      </p:sp>
      <p:sp>
        <p:nvSpPr>
          <p:cNvPr id="14" name="Text Placeholder 11">
            <a:extLst>
              <a:ext uri="{FF2B5EF4-FFF2-40B4-BE49-F238E27FC236}">
                <a16:creationId xmlns:a16="http://schemas.microsoft.com/office/drawing/2014/main" id="{EE0F4218-70F1-D94B-BCA5-54CA47E99E70}"/>
              </a:ext>
            </a:extLst>
          </p:cNvPr>
          <p:cNvSpPr>
            <a:spLocks noGrp="1"/>
          </p:cNvSpPr>
          <p:nvPr>
            <p:ph type="body" sz="quarter" idx="10" hasCustomPrompt="1"/>
          </p:nvPr>
        </p:nvSpPr>
        <p:spPr>
          <a:xfrm>
            <a:off x="375138" y="1905001"/>
            <a:ext cx="8418562" cy="741045"/>
          </a:xfrm>
          <a:prstGeom prst="rect">
            <a:avLst/>
          </a:prstGeom>
        </p:spPr>
        <p:txBody>
          <a:bodyPr/>
          <a:lstStyle>
            <a:lvl1pPr>
              <a:defRPr sz="3200">
                <a:solidFill>
                  <a:schemeClr val="bg1"/>
                </a:solidFill>
              </a:defRPr>
            </a:lvl1pPr>
            <a:lvl2pPr marL="457200" indent="0">
              <a:buNone/>
              <a:defRPr/>
            </a:lvl2pPr>
          </a:lstStyle>
          <a:p>
            <a:pPr lvl="0"/>
            <a:r>
              <a:rPr lang="en-US"/>
              <a:t>Title of Presentation</a:t>
            </a:r>
          </a:p>
        </p:txBody>
      </p:sp>
    </p:spTree>
    <p:extLst>
      <p:ext uri="{BB962C8B-B14F-4D97-AF65-F5344CB8AC3E}">
        <p14:creationId xmlns:p14="http://schemas.microsoft.com/office/powerpoint/2010/main" val="41827861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6DEA8AF-48B4-3044-AAC9-09B82866649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93629" y="6227545"/>
            <a:ext cx="385011" cy="428324"/>
          </a:xfrm>
          <a:prstGeom prst="rect">
            <a:avLst/>
          </a:prstGeom>
        </p:spPr>
      </p:pic>
      <p:sp>
        <p:nvSpPr>
          <p:cNvPr id="12" name="TextBox 11">
            <a:extLst>
              <a:ext uri="{FF2B5EF4-FFF2-40B4-BE49-F238E27FC236}">
                <a16:creationId xmlns:a16="http://schemas.microsoft.com/office/drawing/2014/main" id="{78D90CB1-28ED-E14A-A814-D09DD83203BB}"/>
              </a:ext>
            </a:extLst>
          </p:cNvPr>
          <p:cNvSpPr txBox="1"/>
          <p:nvPr/>
        </p:nvSpPr>
        <p:spPr>
          <a:xfrm>
            <a:off x="359508" y="6493172"/>
            <a:ext cx="6604000" cy="230832"/>
          </a:xfrm>
          <a:prstGeom prst="rect">
            <a:avLst/>
          </a:prstGeom>
          <a:noFill/>
        </p:spPr>
        <p:txBody>
          <a:bodyPr wrap="square" rtlCol="0">
            <a:spAutoFit/>
          </a:bodyPr>
          <a:lstStyle/>
          <a:p>
            <a:r>
              <a:rPr lang="en-US" sz="900">
                <a:solidFill>
                  <a:schemeClr val="tx1">
                    <a:lumMod val="50000"/>
                    <a:lumOff val="50000"/>
                  </a:schemeClr>
                </a:solidFill>
                <a:latin typeface="Arial" panose="020B0604020202020204" pitchFamily="34" charset="0"/>
                <a:ea typeface="MS PGothic" pitchFamily="34" charset="-128"/>
                <a:cs typeface="Arial" panose="020B0604020202020204" pitchFamily="34" charset="0"/>
              </a:rPr>
              <a:t>AIA confidential and proprietary information. Not for distribution. </a:t>
            </a:r>
          </a:p>
        </p:txBody>
      </p:sp>
      <p:sp>
        <p:nvSpPr>
          <p:cNvPr id="13" name="Text Placeholder 12">
            <a:extLst>
              <a:ext uri="{FF2B5EF4-FFF2-40B4-BE49-F238E27FC236}">
                <a16:creationId xmlns:a16="http://schemas.microsoft.com/office/drawing/2014/main" id="{FB39D6F7-7364-5042-AA40-2DF56C72FF4A}"/>
              </a:ext>
            </a:extLst>
          </p:cNvPr>
          <p:cNvSpPr>
            <a:spLocks noGrp="1"/>
          </p:cNvSpPr>
          <p:nvPr>
            <p:ph type="body" sz="quarter" idx="10" hasCustomPrompt="1"/>
          </p:nvPr>
        </p:nvSpPr>
        <p:spPr>
          <a:xfrm>
            <a:off x="457199" y="1096962"/>
            <a:ext cx="10897565" cy="5083918"/>
          </a:xfrm>
          <a:prstGeom prst="rect">
            <a:avLst/>
          </a:prstGeom>
        </p:spPr>
        <p:txBody>
          <a:bodyPr lIns="0" tIns="0" rIns="0" bIns="0" anchor="t"/>
          <a:lstStyle>
            <a:lvl1pPr>
              <a:lnSpc>
                <a:spcPct val="125000"/>
              </a:lnSpc>
              <a:defRPr sz="1400">
                <a:solidFill>
                  <a:srgbClr val="585858"/>
                </a:solidFill>
              </a:defRPr>
            </a:lvl1pPr>
            <a:lvl2pPr marL="457200" indent="0">
              <a:buNone/>
              <a:defRPr/>
            </a:lvl2pPr>
          </a:lstStyle>
          <a:p>
            <a:pPr lvl="0"/>
            <a:r>
              <a:rPr lang="en-US"/>
              <a:t>Content</a:t>
            </a:r>
          </a:p>
        </p:txBody>
      </p:sp>
      <p:sp>
        <p:nvSpPr>
          <p:cNvPr id="17" name="Text Placeholder 16">
            <a:extLst>
              <a:ext uri="{FF2B5EF4-FFF2-40B4-BE49-F238E27FC236}">
                <a16:creationId xmlns:a16="http://schemas.microsoft.com/office/drawing/2014/main" id="{1C887C4D-4D8E-5941-88BE-BECE9C947E6F}"/>
              </a:ext>
            </a:extLst>
          </p:cNvPr>
          <p:cNvSpPr>
            <a:spLocks noGrp="1"/>
          </p:cNvSpPr>
          <p:nvPr>
            <p:ph type="body" sz="quarter" idx="11" hasCustomPrompt="1"/>
          </p:nvPr>
        </p:nvSpPr>
        <p:spPr>
          <a:xfrm>
            <a:off x="457198" y="266217"/>
            <a:ext cx="10897566" cy="758577"/>
          </a:xfrm>
          <a:prstGeom prst="rect">
            <a:avLst/>
          </a:prstGeom>
        </p:spPr>
        <p:txBody>
          <a:bodyPr lIns="0" tIns="0" rIns="0" bIns="0" anchor="t"/>
          <a:lstStyle>
            <a:lvl1pPr>
              <a:lnSpc>
                <a:spcPts val="2400"/>
              </a:lnSpc>
              <a:defRPr sz="2400">
                <a:solidFill>
                  <a:srgbClr val="D31145"/>
                </a:solidFill>
              </a:defRPr>
            </a:lvl1pPr>
          </a:lstStyle>
          <a:p>
            <a:pPr lvl="0"/>
            <a:r>
              <a:rPr lang="en-US"/>
              <a:t>Content Title</a:t>
            </a:r>
            <a:br>
              <a:rPr lang="en-US"/>
            </a:br>
            <a:r>
              <a:rPr lang="en-US"/>
              <a:t>Divider</a:t>
            </a:r>
          </a:p>
        </p:txBody>
      </p:sp>
      <p:cxnSp>
        <p:nvCxnSpPr>
          <p:cNvPr id="19" name="Straight Connector 18">
            <a:extLst>
              <a:ext uri="{FF2B5EF4-FFF2-40B4-BE49-F238E27FC236}">
                <a16:creationId xmlns:a16="http://schemas.microsoft.com/office/drawing/2014/main" id="{BB89D574-0DC7-D24A-A878-081E980D7EB2}"/>
              </a:ext>
            </a:extLst>
          </p:cNvPr>
          <p:cNvCxnSpPr>
            <a:cxnSpLocks/>
          </p:cNvCxnSpPr>
          <p:nvPr/>
        </p:nvCxnSpPr>
        <p:spPr>
          <a:xfrm>
            <a:off x="0" y="6435524"/>
            <a:ext cx="11354764" cy="0"/>
          </a:xfrm>
          <a:prstGeom prst="line">
            <a:avLst/>
          </a:prstGeom>
          <a:ln w="12700">
            <a:solidFill>
              <a:srgbClr val="585858"/>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B8D70E18-B604-8342-97F2-BD443AA442D6}"/>
              </a:ext>
            </a:extLst>
          </p:cNvPr>
          <p:cNvSpPr txBox="1"/>
          <p:nvPr/>
        </p:nvSpPr>
        <p:spPr>
          <a:xfrm>
            <a:off x="7425807" y="6508516"/>
            <a:ext cx="3945779" cy="153888"/>
          </a:xfrm>
          <a:prstGeom prst="rect">
            <a:avLst/>
          </a:prstGeom>
          <a:noFill/>
        </p:spPr>
        <p:txBody>
          <a:bodyPr wrap="square" lIns="0" tIns="0" rIns="0" bIns="0" rtlCol="0">
            <a:spAutoFit/>
          </a:bodyPr>
          <a:lstStyle/>
          <a:p>
            <a:pPr algn="r"/>
            <a:fld id="{6FE44530-26CC-4F42-A475-9489E3A0E8D7}" type="slidenum">
              <a:rPr lang="en-US" sz="1000" smtClean="0">
                <a:solidFill>
                  <a:schemeClr val="tx1">
                    <a:lumMod val="65000"/>
                    <a:lumOff val="35000"/>
                  </a:schemeClr>
                </a:solidFill>
                <a:latin typeface="Arial" panose="020B0604020202020204" pitchFamily="34" charset="0"/>
                <a:cs typeface="Arial" panose="020B0604020202020204" pitchFamily="34" charset="0"/>
              </a:rPr>
              <a:pPr algn="r"/>
              <a:t>‹#›</a:t>
            </a:fld>
            <a:endParaRPr lang="en-US" sz="1000" err="1">
              <a:solidFill>
                <a:schemeClr val="tx1">
                  <a:lumMod val="65000"/>
                  <a:lumOff val="3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71240031"/>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63481"/>
            <a:ext cx="10515600" cy="739056"/>
          </a:xfrm>
        </p:spPr>
        <p:txBody>
          <a:bodyPr>
            <a:normAutofit/>
          </a:bodyPr>
          <a:lstStyle>
            <a:lvl1pPr>
              <a:defRPr sz="3600"/>
            </a:lvl1pPr>
          </a:lstStyle>
          <a:p>
            <a:r>
              <a:rPr lang="en-US"/>
              <a:t>Click to edit Master title style</a:t>
            </a:r>
          </a:p>
        </p:txBody>
      </p:sp>
      <p:grpSp>
        <p:nvGrpSpPr>
          <p:cNvPr id="3" name="Group 2">
            <a:extLst>
              <a:ext uri="{FF2B5EF4-FFF2-40B4-BE49-F238E27FC236}">
                <a16:creationId xmlns:a16="http://schemas.microsoft.com/office/drawing/2014/main" id="{75930DF0-104B-4293-A7F6-66AEFF3E6AF8}"/>
              </a:ext>
            </a:extLst>
          </p:cNvPr>
          <p:cNvGrpSpPr/>
          <p:nvPr userDrawn="1"/>
        </p:nvGrpSpPr>
        <p:grpSpPr>
          <a:xfrm>
            <a:off x="12554553" y="1"/>
            <a:ext cx="1647523" cy="1816099"/>
            <a:chOff x="12554553" y="1"/>
            <a:chExt cx="1647523" cy="1816099"/>
          </a:xfrm>
        </p:grpSpPr>
        <p:sp>
          <p:nvSpPr>
            <p:cNvPr id="4" name="Rectangle: Folded Corner 3">
              <a:extLst>
                <a:ext uri="{FF2B5EF4-FFF2-40B4-BE49-F238E27FC236}">
                  <a16:creationId xmlns:a16="http://schemas.microsoft.com/office/drawing/2014/main" id="{9FDF5E90-AE29-4303-979F-161F791D98BB}"/>
                </a:ext>
              </a:extLst>
            </p:cNvPr>
            <p:cNvSpPr/>
            <p:nvPr userDrawn="1"/>
          </p:nvSpPr>
          <p:spPr>
            <a:xfrm>
              <a:off x="12554553" y="1"/>
              <a:ext cx="1644047" cy="1816099"/>
            </a:xfrm>
            <a:prstGeom prst="foldedCorner">
              <a:avLst/>
            </a:prstGeom>
            <a:ln>
              <a:noFill/>
            </a:ln>
            <a:effectLst>
              <a:outerShdw blurRad="101600" dist="635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Ins="0" rtlCol="0" anchor="t"/>
            <a:lstStyle/>
            <a:p>
              <a:r>
                <a:rPr lang="en-US" sz="1400">
                  <a:solidFill>
                    <a:schemeClr val="accent2">
                      <a:lumMod val="50000"/>
                    </a:schemeClr>
                  </a:solidFill>
                </a:rPr>
                <a:t>To insert your own icons*:</a:t>
              </a:r>
            </a:p>
            <a:p>
              <a:endParaRPr lang="en-US" sz="1400">
                <a:solidFill>
                  <a:schemeClr val="accent2">
                    <a:lumMod val="50000"/>
                  </a:schemeClr>
                </a:solidFill>
              </a:endParaRPr>
            </a:p>
            <a:p>
              <a:r>
                <a:rPr lang="en-US" sz="1400" b="1">
                  <a:solidFill>
                    <a:schemeClr val="accent2">
                      <a:lumMod val="50000"/>
                    </a:schemeClr>
                  </a:solidFill>
                </a:rPr>
                <a:t>Insert</a:t>
              </a:r>
              <a:r>
                <a:rPr lang="en-US" sz="1400">
                  <a:solidFill>
                    <a:schemeClr val="accent2">
                      <a:lumMod val="50000"/>
                    </a:schemeClr>
                  </a:solidFill>
                </a:rPr>
                <a:t> &gt;&gt; </a:t>
              </a:r>
              <a:r>
                <a:rPr lang="en-US" sz="1400" b="1">
                  <a:solidFill>
                    <a:schemeClr val="accent2">
                      <a:lumMod val="50000"/>
                    </a:schemeClr>
                  </a:solidFill>
                </a:rPr>
                <a:t>Icons</a:t>
              </a:r>
            </a:p>
            <a:p>
              <a:endParaRPr lang="en-US" sz="1400">
                <a:solidFill>
                  <a:schemeClr val="accent2">
                    <a:lumMod val="50000"/>
                  </a:schemeClr>
                </a:solidFill>
              </a:endParaRPr>
            </a:p>
            <a:p>
              <a:r>
                <a:rPr lang="en-US" sz="1200" i="1">
                  <a:solidFill>
                    <a:schemeClr val="accent2">
                      <a:lumMod val="50000"/>
                    </a:schemeClr>
                  </a:solidFill>
                </a:rPr>
                <a:t>(*Only available to Office 365 subscribers)</a:t>
              </a:r>
            </a:p>
          </p:txBody>
        </p:sp>
        <p:pic>
          <p:nvPicPr>
            <p:cNvPr id="5" name="Picture 4">
              <a:extLst>
                <a:ext uri="{FF2B5EF4-FFF2-40B4-BE49-F238E27FC236}">
                  <a16:creationId xmlns:a16="http://schemas.microsoft.com/office/drawing/2014/main" id="{9C25032D-D31A-446E-BBAA-A896C50E8CFA}"/>
                </a:ext>
              </a:extLst>
            </p:cNvPr>
            <p:cNvPicPr>
              <a:picLocks noChangeAspect="1"/>
            </p:cNvPicPr>
            <p:nvPr userDrawn="1"/>
          </p:nvPicPr>
          <p:blipFill>
            <a:blip r:embed="rId2"/>
            <a:stretch>
              <a:fillRect/>
            </a:stretch>
          </p:blipFill>
          <p:spPr>
            <a:xfrm>
              <a:off x="13802026" y="424090"/>
              <a:ext cx="400050" cy="657225"/>
            </a:xfrm>
            <a:prstGeom prst="rect">
              <a:avLst/>
            </a:prstGeom>
          </p:spPr>
        </p:pic>
      </p:grpSp>
    </p:spTree>
    <p:extLst>
      <p:ext uri="{BB962C8B-B14F-4D97-AF65-F5344CB8AC3E}">
        <p14:creationId xmlns:p14="http://schemas.microsoft.com/office/powerpoint/2010/main" val="441985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 Custom Image - Purple">
    <p:bg>
      <p:bgPr>
        <a:solidFill>
          <a:schemeClr val="bg1">
            <a:lumMod val="85000"/>
          </a:schemeClr>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54AF190-CD09-D14C-898A-7E53BF7BBE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B071002B-1CF4-394C-9B15-0D45F845B2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1875"/>
          <a:stretch/>
        </p:blipFill>
        <p:spPr>
          <a:xfrm>
            <a:off x="0" y="0"/>
            <a:ext cx="11963400" cy="6858000"/>
          </a:xfrm>
          <a:prstGeom prst="rect">
            <a:avLst/>
          </a:prstGeom>
        </p:spPr>
      </p:pic>
      <p:sp>
        <p:nvSpPr>
          <p:cNvPr id="9" name="TextBox 8"/>
          <p:cNvSpPr txBox="1"/>
          <p:nvPr userDrawn="1"/>
        </p:nvSpPr>
        <p:spPr>
          <a:xfrm>
            <a:off x="359508" y="6493172"/>
            <a:ext cx="6604000" cy="230832"/>
          </a:xfrm>
          <a:prstGeom prst="rect">
            <a:avLst/>
          </a:prstGeom>
          <a:noFill/>
        </p:spPr>
        <p:txBody>
          <a:bodyPr wrap="square" rtlCol="0">
            <a:spAutoFit/>
          </a:bodyPr>
          <a:lstStyle/>
          <a:p>
            <a:r>
              <a:rPr lang="en-US" sz="900">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p>
        </p:txBody>
      </p:sp>
      <p:sp>
        <p:nvSpPr>
          <p:cNvPr id="15" name="Text Placeholder 14" descr="Number of Chapter&#10;" title="01">
            <a:extLst>
              <a:ext uri="{FF2B5EF4-FFF2-40B4-BE49-F238E27FC236}">
                <a16:creationId xmlns:a16="http://schemas.microsoft.com/office/drawing/2014/main" id="{D70DF96B-1B5E-574B-92D3-91D8DC96D02F}"/>
              </a:ext>
            </a:extLst>
          </p:cNvPr>
          <p:cNvSpPr>
            <a:spLocks noGrp="1"/>
          </p:cNvSpPr>
          <p:nvPr>
            <p:ph type="body" sz="quarter" idx="10" hasCustomPrompt="1"/>
          </p:nvPr>
        </p:nvSpPr>
        <p:spPr>
          <a:xfrm>
            <a:off x="7476564" y="1943861"/>
            <a:ext cx="4187472" cy="3598586"/>
          </a:xfrm>
          <a:prstGeom prst="rect">
            <a:avLst/>
          </a:prstGeom>
        </p:spPr>
        <p:txBody>
          <a:bodyPr lIns="0" tIns="0" rIns="0" bIns="0" anchor="b" anchorCtr="0">
            <a:noAutofit/>
          </a:bodyPr>
          <a:lstStyle>
            <a:lvl1pPr marL="0" indent="0" algn="r">
              <a:buNone/>
              <a:defRPr sz="22000" b="1" i="0">
                <a:solidFill>
                  <a:srgbClr val="87027B"/>
                </a:solidFill>
                <a:latin typeface="Arial" panose="020B0604020202020204" pitchFamily="34" charset="0"/>
                <a:cs typeface="Arial" panose="020B0604020202020204" pitchFamily="34" charset="0"/>
              </a:defRPr>
            </a:lvl1pPr>
          </a:lstStyle>
          <a:p>
            <a:pPr lvl="0"/>
            <a:r>
              <a:rPr lang="en-US"/>
              <a:t>01</a:t>
            </a:r>
          </a:p>
        </p:txBody>
      </p:sp>
      <p:sp>
        <p:nvSpPr>
          <p:cNvPr id="18" name="Text Placeholder 17" descr="Title of Section Divider" title="Title of Section Divider">
            <a:extLst>
              <a:ext uri="{FF2B5EF4-FFF2-40B4-BE49-F238E27FC236}">
                <a16:creationId xmlns:a16="http://schemas.microsoft.com/office/drawing/2014/main" id="{D498A091-36CE-6E49-8044-C6DDD9552CC2}"/>
              </a:ext>
            </a:extLst>
          </p:cNvPr>
          <p:cNvSpPr>
            <a:spLocks noGrp="1"/>
          </p:cNvSpPr>
          <p:nvPr>
            <p:ph type="body" sz="quarter" idx="11" hasCustomPrompt="1"/>
          </p:nvPr>
        </p:nvSpPr>
        <p:spPr>
          <a:xfrm>
            <a:off x="440189" y="1943363"/>
            <a:ext cx="7708727" cy="920861"/>
          </a:xfrm>
          <a:prstGeom prst="rect">
            <a:avLst/>
          </a:prstGeom>
        </p:spPr>
        <p:txBody>
          <a:bodyPr lIns="0" tIns="0" rIns="0" bIns="0">
            <a:normAutofit/>
          </a:bodyPr>
          <a:lstStyle>
            <a:lvl1pPr marL="0" indent="0">
              <a:buNone/>
              <a:defRPr sz="3200" b="0" i="0">
                <a:solidFill>
                  <a:srgbClr val="87027B"/>
                </a:solidFill>
                <a:latin typeface="Arial" panose="020B0604020202020204" pitchFamily="34" charset="0"/>
                <a:cs typeface="Arial" panose="020B0604020202020204" pitchFamily="34" charset="0"/>
              </a:defRPr>
            </a:lvl1pPr>
          </a:lstStyle>
          <a:p>
            <a:pPr lvl="0"/>
            <a:r>
              <a:rPr lang="en-US"/>
              <a:t>Title of Section Divider</a:t>
            </a:r>
          </a:p>
        </p:txBody>
      </p:sp>
      <p:sp>
        <p:nvSpPr>
          <p:cNvPr id="2" name="TextBox 1">
            <a:extLst>
              <a:ext uri="{FF2B5EF4-FFF2-40B4-BE49-F238E27FC236}">
                <a16:creationId xmlns:a16="http://schemas.microsoft.com/office/drawing/2014/main" id="{C6E47CA0-70B7-4B48-82BD-FC8DC5F2BEFA}"/>
              </a:ext>
            </a:extLst>
          </p:cNvPr>
          <p:cNvSpPr txBox="1"/>
          <p:nvPr userDrawn="1"/>
        </p:nvSpPr>
        <p:spPr>
          <a:xfrm>
            <a:off x="-5498166" y="5079946"/>
            <a:ext cx="5292360" cy="1778054"/>
          </a:xfrm>
          <a:prstGeom prst="rect">
            <a:avLst/>
          </a:prstGeom>
          <a:solidFill>
            <a:schemeClr val="bg1">
              <a:lumMod val="95000"/>
            </a:schemeClr>
          </a:solidFill>
          <a:ln w="3175">
            <a:solidFill>
              <a:schemeClr val="bg1">
                <a:lumMod val="75000"/>
              </a:schemeClr>
            </a:solidFill>
          </a:ln>
        </p:spPr>
        <p:txBody>
          <a:bodyPr wrap="square" lIns="90000" tIns="90000" rIns="90000" bIns="90000" rtlCol="0">
            <a:noAutofit/>
          </a:bodyPr>
          <a:lstStyle/>
          <a:p>
            <a:r>
              <a:rPr lang="en-US" sz="1400" b="1" i="0">
                <a:solidFill>
                  <a:schemeClr val="bg1">
                    <a:lumMod val="50000"/>
                  </a:schemeClr>
                </a:solidFill>
                <a:latin typeface="Arial" panose="020B0604020202020204" pitchFamily="34" charset="0"/>
                <a:cs typeface="Arial" panose="020B0604020202020204" pitchFamily="34" charset="0"/>
              </a:rPr>
              <a:t>How to change your background image:</a:t>
            </a:r>
          </a:p>
          <a:p>
            <a:r>
              <a:rPr lang="en-US" sz="1400" b="0" i="0">
                <a:solidFill>
                  <a:schemeClr val="bg1">
                    <a:lumMod val="50000"/>
                  </a:schemeClr>
                </a:solidFill>
                <a:latin typeface="Arial" panose="020B0604020202020204" pitchFamily="34" charset="0"/>
                <a:cs typeface="Arial" panose="020B0604020202020204" pitchFamily="34" charset="0"/>
              </a:rPr>
              <a:t>- Right click to select “Format Background”</a:t>
            </a:r>
          </a:p>
          <a:p>
            <a:r>
              <a:rPr lang="en-US" sz="1400" b="0" i="0">
                <a:solidFill>
                  <a:schemeClr val="bg1">
                    <a:lumMod val="50000"/>
                  </a:schemeClr>
                </a:solidFill>
                <a:latin typeface="Arial" panose="020B0604020202020204" pitchFamily="34" charset="0"/>
                <a:cs typeface="Arial" panose="020B0604020202020204" pitchFamily="34" charset="0"/>
              </a:rPr>
              <a:t>- Go to “Fill”</a:t>
            </a:r>
          </a:p>
          <a:p>
            <a:r>
              <a:rPr lang="en-US" sz="1400" b="0" i="0">
                <a:solidFill>
                  <a:schemeClr val="bg1">
                    <a:lumMod val="50000"/>
                  </a:schemeClr>
                </a:solidFill>
                <a:latin typeface="Arial" panose="020B0604020202020204" pitchFamily="34" charset="0"/>
                <a:cs typeface="Arial" panose="020B0604020202020204" pitchFamily="34" charset="0"/>
              </a:rPr>
              <a:t>- Select “Picture or texture fill”</a:t>
            </a:r>
          </a:p>
          <a:p>
            <a:r>
              <a:rPr lang="en-US" sz="1400" b="0" i="0">
                <a:solidFill>
                  <a:schemeClr val="bg1">
                    <a:lumMod val="50000"/>
                  </a:schemeClr>
                </a:solidFill>
                <a:latin typeface="Arial" panose="020B0604020202020204" pitchFamily="34" charset="0"/>
                <a:cs typeface="Arial" panose="020B0604020202020204" pitchFamily="34" charset="0"/>
              </a:rPr>
              <a:t>- Click Insert from “File” and you can select your own picture</a:t>
            </a:r>
          </a:p>
        </p:txBody>
      </p:sp>
      <p:sp>
        <p:nvSpPr>
          <p:cNvPr id="37" name="Text Placeholder 21" title="Section Description">
            <a:extLst>
              <a:ext uri="{FF2B5EF4-FFF2-40B4-BE49-F238E27FC236}">
                <a16:creationId xmlns:a16="http://schemas.microsoft.com/office/drawing/2014/main" id="{8328B5F2-95C1-C845-AC35-A36105570107}"/>
              </a:ext>
            </a:extLst>
          </p:cNvPr>
          <p:cNvSpPr>
            <a:spLocks noGrp="1"/>
          </p:cNvSpPr>
          <p:nvPr>
            <p:ph type="body" sz="quarter" idx="12" hasCustomPrompt="1"/>
          </p:nvPr>
        </p:nvSpPr>
        <p:spPr>
          <a:xfrm>
            <a:off x="440189" y="2864225"/>
            <a:ext cx="7708727" cy="2215722"/>
          </a:xfrm>
          <a:prstGeom prst="rect">
            <a:avLst/>
          </a:prstGeom>
        </p:spPr>
        <p:txBody>
          <a:bodyPr lIns="0" tIns="0" rIns="0" bIns="0" anchor="t">
            <a:normAutofit/>
          </a:bodyPr>
          <a:lstStyle>
            <a:lvl1pPr marL="0" indent="0">
              <a:lnSpc>
                <a:spcPts val="2200"/>
              </a:lnSpc>
              <a:buNone/>
              <a:defRPr sz="1600" b="0" i="0">
                <a:solidFill>
                  <a:schemeClr val="bg1"/>
                </a:solidFill>
                <a:latin typeface="Arial" panose="020B0604020202020204" pitchFamily="34" charset="0"/>
                <a:cs typeface="Arial" panose="020B0604020202020204" pitchFamily="34" charset="0"/>
              </a:defRPr>
            </a:lvl1pPr>
            <a:lvl2pPr marL="457200" indent="0">
              <a:buNone/>
              <a:defRPr/>
            </a:lvl2pPr>
          </a:lstStyle>
          <a:p>
            <a:pPr lvl="0"/>
            <a:r>
              <a:rPr lang="en-US"/>
              <a:t>Chapter Description</a:t>
            </a:r>
          </a:p>
        </p:txBody>
      </p:sp>
    </p:spTree>
    <p:extLst>
      <p:ext uri="{BB962C8B-B14F-4D97-AF65-F5344CB8AC3E}">
        <p14:creationId xmlns:p14="http://schemas.microsoft.com/office/powerpoint/2010/main" val="410381647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b_Title Slide">
    <p:spTree>
      <p:nvGrpSpPr>
        <p:cNvPr id="1" name=""/>
        <p:cNvGrpSpPr/>
        <p:nvPr/>
      </p:nvGrpSpPr>
      <p:grpSpPr>
        <a:xfrm>
          <a:off x="0" y="0"/>
          <a:ext cx="0" cy="0"/>
          <a:chOff x="0" y="0"/>
          <a:chExt cx="0" cy="0"/>
        </a:xfrm>
      </p:grpSpPr>
      <p:pic>
        <p:nvPicPr>
          <p:cNvPr id="4" name="Picture 90">
            <a:extLst>
              <a:ext uri="{FF2B5EF4-FFF2-40B4-BE49-F238E27FC236}">
                <a16:creationId xmlns:a16="http://schemas.microsoft.com/office/drawing/2014/main" id="{B1942B82-E23C-4163-A156-401FC1D11B3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91">
            <a:extLst>
              <a:ext uri="{FF2B5EF4-FFF2-40B4-BE49-F238E27FC236}">
                <a16:creationId xmlns:a16="http://schemas.microsoft.com/office/drawing/2014/main" id="{BEC2261F-FF08-48BC-A566-A4CC1E50B6E8}"/>
              </a:ext>
            </a:extLst>
          </p:cNvPr>
          <p:cNvSpPr txBox="1">
            <a:spLocks noChangeArrowheads="1"/>
          </p:cNvSpPr>
          <p:nvPr userDrawn="1"/>
        </p:nvSpPr>
        <p:spPr bwMode="auto">
          <a:xfrm>
            <a:off x="358775" y="6492875"/>
            <a:ext cx="660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900">
                <a:solidFill>
                  <a:schemeClr val="bg1"/>
                </a:solidFill>
                <a:latin typeface="Arial" panose="020B0604020202020204" pitchFamily="34" charset="0"/>
                <a:ea typeface="MS PGothic" panose="020B0600070205080204" pitchFamily="34" charset="-128"/>
                <a:cs typeface="Arial" panose="020B0604020202020204" pitchFamily="34" charset="0"/>
              </a:rPr>
              <a:t>AIA confidential and proprietary information. Not for distribution. </a:t>
            </a:r>
          </a:p>
        </p:txBody>
      </p:sp>
      <p:sp>
        <p:nvSpPr>
          <p:cNvPr id="3" name="Subtitle 2"/>
          <p:cNvSpPr>
            <a:spLocks noGrp="1"/>
          </p:cNvSpPr>
          <p:nvPr>
            <p:ph type="subTitle" idx="1"/>
          </p:nvPr>
        </p:nvSpPr>
        <p:spPr>
          <a:xfrm>
            <a:off x="375138" y="5588002"/>
            <a:ext cx="5080000" cy="358775"/>
          </a:xfrm>
          <a:prstGeom prst="rect">
            <a:avLst/>
          </a:prstGeom>
        </p:spPr>
        <p:txBody>
          <a:bodyPr>
            <a:normAutofit/>
          </a:bodyPr>
          <a:lstStyle>
            <a:lvl1pPr marL="0" indent="0" algn="l">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Text Placeholder 11">
            <a:extLst>
              <a:ext uri="{FF2B5EF4-FFF2-40B4-BE49-F238E27FC236}">
                <a16:creationId xmlns:a16="http://schemas.microsoft.com/office/drawing/2014/main" id="{31EFB72A-6998-9B48-9EFC-57DE8F0B36A3}"/>
              </a:ext>
            </a:extLst>
          </p:cNvPr>
          <p:cNvSpPr>
            <a:spLocks noGrp="1"/>
          </p:cNvSpPr>
          <p:nvPr>
            <p:ph type="body" sz="quarter" idx="10"/>
          </p:nvPr>
        </p:nvSpPr>
        <p:spPr>
          <a:xfrm>
            <a:off x="375138" y="1905001"/>
            <a:ext cx="8418562" cy="741045"/>
          </a:xfrm>
          <a:prstGeom prst="rect">
            <a:avLst/>
          </a:prstGeom>
        </p:spPr>
        <p:txBody>
          <a:bodyPr/>
          <a:lstStyle>
            <a:lvl1pPr>
              <a:defRPr sz="3200">
                <a:solidFill>
                  <a:schemeClr val="bg1"/>
                </a:solidFill>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39589518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d_Title Slide">
    <p:spTree>
      <p:nvGrpSpPr>
        <p:cNvPr id="1" name=""/>
        <p:cNvGrpSpPr/>
        <p:nvPr/>
      </p:nvGrpSpPr>
      <p:grpSpPr>
        <a:xfrm>
          <a:off x="0" y="0"/>
          <a:ext cx="0" cy="0"/>
          <a:chOff x="0" y="0"/>
          <a:chExt cx="0" cy="0"/>
        </a:xfrm>
      </p:grpSpPr>
      <p:pic>
        <p:nvPicPr>
          <p:cNvPr id="4" name="Picture 90">
            <a:extLst>
              <a:ext uri="{FF2B5EF4-FFF2-40B4-BE49-F238E27FC236}">
                <a16:creationId xmlns:a16="http://schemas.microsoft.com/office/drawing/2014/main" id="{E88627B4-C685-4699-9A87-06FDB240B35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044363" cy="649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1">
            <a:extLst>
              <a:ext uri="{FF2B5EF4-FFF2-40B4-BE49-F238E27FC236}">
                <a16:creationId xmlns:a16="http://schemas.microsoft.com/office/drawing/2014/main" id="{6FD07EF7-52A7-44FF-9F1F-375B98EB7F7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92">
            <a:extLst>
              <a:ext uri="{FF2B5EF4-FFF2-40B4-BE49-F238E27FC236}">
                <a16:creationId xmlns:a16="http://schemas.microsoft.com/office/drawing/2014/main" id="{052F0368-82AC-4F89-8203-9A46C1CD8310}"/>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93">
            <a:extLst>
              <a:ext uri="{FF2B5EF4-FFF2-40B4-BE49-F238E27FC236}">
                <a16:creationId xmlns:a16="http://schemas.microsoft.com/office/drawing/2014/main" id="{1E1F9481-384F-4B7E-8BAB-3319595C261F}"/>
              </a:ext>
            </a:extLst>
          </p:cNvPr>
          <p:cNvSpPr txBox="1">
            <a:spLocks noChangeArrowheads="1"/>
          </p:cNvSpPr>
          <p:nvPr userDrawn="1"/>
        </p:nvSpPr>
        <p:spPr bwMode="auto">
          <a:xfrm>
            <a:off x="358775" y="6492875"/>
            <a:ext cx="660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900">
                <a:solidFill>
                  <a:schemeClr val="bg1"/>
                </a:solidFill>
                <a:latin typeface="Arial" panose="020B0604020202020204" pitchFamily="34" charset="0"/>
                <a:ea typeface="MS PGothic" panose="020B0600070205080204" pitchFamily="34" charset="-128"/>
                <a:cs typeface="Arial" panose="020B0604020202020204" pitchFamily="34" charset="0"/>
              </a:rPr>
              <a:t>AIA confidential and proprietary information. Not for distribution. </a:t>
            </a:r>
          </a:p>
        </p:txBody>
      </p:sp>
      <p:sp>
        <p:nvSpPr>
          <p:cNvPr id="3" name="Subtitle 2"/>
          <p:cNvSpPr>
            <a:spLocks noGrp="1"/>
          </p:cNvSpPr>
          <p:nvPr>
            <p:ph type="subTitle" idx="1"/>
          </p:nvPr>
        </p:nvSpPr>
        <p:spPr>
          <a:xfrm>
            <a:off x="375138" y="5588002"/>
            <a:ext cx="5080000" cy="358775"/>
          </a:xfrm>
          <a:prstGeom prst="rect">
            <a:avLst/>
          </a:prstGeom>
        </p:spPr>
        <p:txBody>
          <a:bodyPr>
            <a:normAutofit/>
          </a:bodyPr>
          <a:lstStyle>
            <a:lvl1pPr marL="0" indent="0" algn="l">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0" name="Text Placeholder 11">
            <a:extLst>
              <a:ext uri="{FF2B5EF4-FFF2-40B4-BE49-F238E27FC236}">
                <a16:creationId xmlns:a16="http://schemas.microsoft.com/office/drawing/2014/main" id="{C4569D4F-2297-2449-B1D4-3D809F16C6E5}"/>
              </a:ext>
            </a:extLst>
          </p:cNvPr>
          <p:cNvSpPr>
            <a:spLocks noGrp="1"/>
          </p:cNvSpPr>
          <p:nvPr>
            <p:ph type="body" sz="quarter" idx="10"/>
          </p:nvPr>
        </p:nvSpPr>
        <p:spPr>
          <a:xfrm>
            <a:off x="375138" y="1905001"/>
            <a:ext cx="8418562" cy="741045"/>
          </a:xfrm>
          <a:prstGeom prst="rect">
            <a:avLst/>
          </a:prstGeom>
        </p:spPr>
        <p:txBody>
          <a:bodyPr/>
          <a:lstStyle>
            <a:lvl1pPr>
              <a:defRPr sz="3200">
                <a:solidFill>
                  <a:schemeClr val="bg1"/>
                </a:solidFill>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4324118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Slide - Red">
    <p:spTree>
      <p:nvGrpSpPr>
        <p:cNvPr id="1" name=""/>
        <p:cNvGrpSpPr/>
        <p:nvPr/>
      </p:nvGrpSpPr>
      <p:grpSpPr>
        <a:xfrm>
          <a:off x="0" y="0"/>
          <a:ext cx="0" cy="0"/>
          <a:chOff x="0" y="0"/>
          <a:chExt cx="0" cy="0"/>
        </a:xfrm>
      </p:grpSpPr>
      <p:sp>
        <p:nvSpPr>
          <p:cNvPr id="5" name="Rectangle 32"/>
          <p:cNvSpPr>
            <a:spLocks noChangeArrowheads="1"/>
          </p:cNvSpPr>
          <p:nvPr userDrawn="1"/>
        </p:nvSpPr>
        <p:spPr bwMode="auto">
          <a:xfrm>
            <a:off x="0" y="0"/>
            <a:ext cx="11643785" cy="5430838"/>
          </a:xfrm>
          <a:prstGeom prst="rect">
            <a:avLst/>
          </a:prstGeom>
          <a:solidFill>
            <a:srgbClr val="D3114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457200" indent="-342900" defTabSz="457200">
              <a:spcBef>
                <a:spcPct val="20000"/>
              </a:spcBef>
              <a:buFontTx/>
              <a:buAutoNum type="arabicPeriod"/>
            </a:pPr>
            <a:endParaRPr lang="en-US" sz="1800">
              <a:cs typeface="Arial" charset="0"/>
            </a:endParaRPr>
          </a:p>
        </p:txBody>
      </p:sp>
      <p:sp>
        <p:nvSpPr>
          <p:cNvPr id="10" name="Title 1"/>
          <p:cNvSpPr>
            <a:spLocks noGrp="1"/>
          </p:cNvSpPr>
          <p:nvPr>
            <p:ph type="ctrTitle"/>
          </p:nvPr>
        </p:nvSpPr>
        <p:spPr>
          <a:xfrm>
            <a:off x="2423584" y="2347026"/>
            <a:ext cx="9369386" cy="395112"/>
          </a:xfrm>
        </p:spPr>
        <p:txBody>
          <a:bodyPr rIns="0" bIns="0"/>
          <a:lstStyle>
            <a:lvl1pPr>
              <a:defRPr b="1" baseline="0">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24933" y="1288805"/>
            <a:ext cx="1898651" cy="1585031"/>
          </a:xfrm>
        </p:spPr>
        <p:txBody>
          <a:bodyPr lIns="0" tIns="0" rIns="0" bIns="0" anchor="b">
            <a:noAutofit/>
          </a:bodyPr>
          <a:lstStyle>
            <a:lvl1pPr algn="l">
              <a:spcBef>
                <a:spcPts val="0"/>
              </a:spcBef>
              <a:spcAft>
                <a:spcPts val="0"/>
              </a:spcAft>
              <a:defRPr sz="4000" b="1">
                <a:solidFill>
                  <a:schemeClr val="bg1"/>
                </a:solidFill>
              </a:defRPr>
            </a:lvl1pPr>
            <a:lvl2pPr marL="457200" indent="0" algn="r">
              <a:buNone/>
              <a:defRPr sz="8800" b="1">
                <a:solidFill>
                  <a:schemeClr val="bg1"/>
                </a:solidFill>
              </a:defRPr>
            </a:lvl2pPr>
            <a:lvl3pPr marL="914400" indent="0" algn="r">
              <a:buNone/>
              <a:defRPr sz="8800" b="1">
                <a:solidFill>
                  <a:schemeClr val="bg1"/>
                </a:solidFill>
              </a:defRPr>
            </a:lvl3pPr>
            <a:lvl4pPr algn="r">
              <a:defRPr sz="8800" b="1">
                <a:solidFill>
                  <a:schemeClr val="bg1"/>
                </a:solidFill>
              </a:defRPr>
            </a:lvl4pPr>
            <a:lvl5pPr marL="1828800" indent="0" algn="r">
              <a:buNone/>
              <a:defRPr sz="8800" b="1">
                <a:solidFill>
                  <a:schemeClr val="bg1"/>
                </a:solidFill>
              </a:defRPr>
            </a:lvl5pPr>
          </a:lstStyle>
          <a:p>
            <a:pPr lvl="0"/>
            <a:r>
              <a:rPr lang="en-US"/>
              <a:t>Click to edit Master text styles</a:t>
            </a:r>
          </a:p>
        </p:txBody>
      </p:sp>
      <p:sp>
        <p:nvSpPr>
          <p:cNvPr id="7" name="Text Placeholder 6"/>
          <p:cNvSpPr>
            <a:spLocks noGrp="1"/>
          </p:cNvSpPr>
          <p:nvPr>
            <p:ph type="body" sz="quarter" idx="11"/>
          </p:nvPr>
        </p:nvSpPr>
        <p:spPr>
          <a:xfrm>
            <a:off x="524934" y="2874611"/>
            <a:ext cx="8518721" cy="2666354"/>
          </a:xfrm>
        </p:spPr>
        <p:txBody>
          <a:bodyPr lIns="0" tIns="0" rIns="0" bIns="0">
            <a:normAutofit/>
          </a:bodyPr>
          <a:lstStyle>
            <a:lvl1pPr>
              <a:defRPr sz="1600">
                <a:solidFill>
                  <a:srgbClr val="FFFFFF"/>
                </a:solidFill>
              </a:defRPr>
            </a:lvl1pPr>
            <a:lvl2pPr>
              <a:defRPr sz="1600">
                <a:solidFill>
                  <a:srgbClr val="FFFFFF"/>
                </a:solidFill>
              </a:defRPr>
            </a:lvl2pPr>
            <a:lvl3pPr>
              <a:defRPr sz="1600">
                <a:solidFill>
                  <a:srgbClr val="FFFFFF"/>
                </a:solidFill>
              </a:defRPr>
            </a:lvl3pPr>
            <a:lvl4pPr>
              <a:defRPr sz="1600">
                <a:solidFill>
                  <a:srgbClr val="FFFFFF"/>
                </a:solidFill>
              </a:defRPr>
            </a:lvl4pPr>
            <a:lvl5pPr>
              <a:defRPr sz="16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324889" y="6356352"/>
            <a:ext cx="609600" cy="365125"/>
          </a:xfrm>
          <a:prstGeom prst="rect">
            <a:avLst/>
          </a:prstGeom>
        </p:spPr>
        <p:txBody>
          <a:bodyPr/>
          <a:lstStyle>
            <a:lvl1pPr>
              <a:defRPr sz="1000">
                <a:solidFill>
                  <a:schemeClr val="tx1"/>
                </a:solidFill>
                <a:latin typeface="Arial" panose="020B0604020202020204" pitchFamily="34" charset="0"/>
                <a:cs typeface="Arial" panose="020B0604020202020204" pitchFamily="34" charset="0"/>
              </a:defRPr>
            </a:lvl1pPr>
          </a:lstStyle>
          <a:p>
            <a:fld id="{6FE44530-26CC-4F42-A475-9489E3A0E8D7}" type="slidenum">
              <a:rPr lang="en-US" smtClean="0"/>
              <a:pPr/>
              <a:t>‹#›</a:t>
            </a:fld>
            <a:endParaRPr lang="en-US"/>
          </a:p>
        </p:txBody>
      </p:sp>
      <p:sp>
        <p:nvSpPr>
          <p:cNvPr id="9" name="TextBox 8"/>
          <p:cNvSpPr txBox="1"/>
          <p:nvPr userDrawn="1"/>
        </p:nvSpPr>
        <p:spPr>
          <a:xfrm>
            <a:off x="359508" y="6493172"/>
            <a:ext cx="6604000" cy="230832"/>
          </a:xfrm>
          <a:prstGeom prst="rect">
            <a:avLst/>
          </a:prstGeom>
          <a:noFill/>
        </p:spPr>
        <p:txBody>
          <a:bodyPr wrap="square" rtlCol="0">
            <a:spAutoFit/>
          </a:bodyPr>
          <a:lstStyle/>
          <a:p>
            <a:r>
              <a:rPr lang="en-US" sz="900">
                <a:solidFill>
                  <a:srgbClr val="58595B"/>
                </a:solidFill>
                <a:latin typeface="Arial" panose="020B0604020202020204" pitchFamily="34" charset="0"/>
                <a:ea typeface="MS PGothic" pitchFamily="34" charset="-128"/>
                <a:cs typeface="Arial" panose="020B0604020202020204" pitchFamily="34" charset="0"/>
              </a:rPr>
              <a:t>AIA confidential and proprietary information. Not for distribution. </a:t>
            </a:r>
          </a:p>
        </p:txBody>
      </p:sp>
    </p:spTree>
    <p:extLst>
      <p:ext uri="{BB962C8B-B14F-4D97-AF65-F5344CB8AC3E}">
        <p14:creationId xmlns:p14="http://schemas.microsoft.com/office/powerpoint/2010/main" val="24377913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lide Divi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794A813-8B28-49B5-B78F-B018322A1B6B}"/>
              </a:ext>
            </a:extLst>
          </p:cNvPr>
          <p:cNvSpPr/>
          <p:nvPr userDrawn="1"/>
        </p:nvSpPr>
        <p:spPr>
          <a:xfrm>
            <a:off x="0" y="0"/>
            <a:ext cx="12192000" cy="6858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769702AB-D8A0-4883-BE5C-AFE4216BB15E}"/>
              </a:ext>
            </a:extLst>
          </p:cNvPr>
          <p:cNvSpPr/>
          <p:nvPr userDrawn="1"/>
        </p:nvSpPr>
        <p:spPr>
          <a:xfrm>
            <a:off x="0" y="0"/>
            <a:ext cx="11834191" cy="5910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5" name="Text Placeholder 2">
            <a:extLst>
              <a:ext uri="{FF2B5EF4-FFF2-40B4-BE49-F238E27FC236}">
                <a16:creationId xmlns:a16="http://schemas.microsoft.com/office/drawing/2014/main" id="{D67B4561-FFF4-44D1-A654-27048DBC3ADA}"/>
              </a:ext>
            </a:extLst>
          </p:cNvPr>
          <p:cNvSpPr>
            <a:spLocks noGrp="1"/>
          </p:cNvSpPr>
          <p:nvPr>
            <p:ph type="body" sz="quarter" idx="11"/>
          </p:nvPr>
        </p:nvSpPr>
        <p:spPr>
          <a:xfrm>
            <a:off x="720000" y="1800000"/>
            <a:ext cx="10080000" cy="920861"/>
          </a:xfrm>
          <a:prstGeom prst="rect">
            <a:avLst/>
          </a:prstGeom>
        </p:spPr>
        <p:txBody>
          <a:bodyPr/>
          <a:lstStyle>
            <a:lvl1pPr marL="0" indent="0">
              <a:spcBef>
                <a:spcPts val="0"/>
              </a:spcBef>
              <a:buNone/>
              <a:defRPr sz="3200" b="0">
                <a:solidFill>
                  <a:srgbClr val="D31145"/>
                </a:solidFill>
                <a:latin typeface="Arial" panose="020B0604020202020204" pitchFamily="34" charset="0"/>
                <a:cs typeface="Arial" panose="020B0604020202020204" pitchFamily="34" charset="0"/>
              </a:defRPr>
            </a:lvl1pPr>
          </a:lstStyle>
          <a:p>
            <a:pPr lvl="0"/>
            <a:r>
              <a:rPr lang="en-US" b="1"/>
              <a:t>Click to edit Master text styles</a:t>
            </a:r>
          </a:p>
        </p:txBody>
      </p:sp>
    </p:spTree>
    <p:extLst>
      <p:ext uri="{BB962C8B-B14F-4D97-AF65-F5344CB8AC3E}">
        <p14:creationId xmlns:p14="http://schemas.microsoft.com/office/powerpoint/2010/main" val="2146543798"/>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pic>
        <p:nvPicPr>
          <p:cNvPr id="4" name="Picture 90">
            <a:extLst>
              <a:ext uri="{FF2B5EF4-FFF2-40B4-BE49-F238E27FC236}">
                <a16:creationId xmlns:a16="http://schemas.microsoft.com/office/drawing/2014/main" id="{5FF31DB9-58C4-4686-94C5-17ED00C247E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593513" y="6227763"/>
            <a:ext cx="385762"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91">
            <a:extLst>
              <a:ext uri="{FF2B5EF4-FFF2-40B4-BE49-F238E27FC236}">
                <a16:creationId xmlns:a16="http://schemas.microsoft.com/office/drawing/2014/main" id="{CF6CF07A-7763-48F0-B3AA-D59C389258C6}"/>
              </a:ext>
            </a:extLst>
          </p:cNvPr>
          <p:cNvSpPr txBox="1">
            <a:spLocks noChangeArrowheads="1"/>
          </p:cNvSpPr>
          <p:nvPr userDrawn="1"/>
        </p:nvSpPr>
        <p:spPr bwMode="auto">
          <a:xfrm>
            <a:off x="358775" y="6492875"/>
            <a:ext cx="660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900">
                <a:solidFill>
                  <a:srgbClr val="7F7F7F"/>
                </a:solidFill>
                <a:latin typeface="Arial" panose="020B0604020202020204" pitchFamily="34" charset="0"/>
                <a:ea typeface="MS PGothic" panose="020B0600070205080204" pitchFamily="34" charset="-128"/>
                <a:cs typeface="Arial" panose="020B0604020202020204" pitchFamily="34" charset="0"/>
              </a:rPr>
              <a:t>AIA confidential and proprietary information. Not for distribution. </a:t>
            </a:r>
          </a:p>
        </p:txBody>
      </p:sp>
      <p:cxnSp>
        <p:nvCxnSpPr>
          <p:cNvPr id="6" name="Straight Connector 5">
            <a:extLst>
              <a:ext uri="{FF2B5EF4-FFF2-40B4-BE49-F238E27FC236}">
                <a16:creationId xmlns:a16="http://schemas.microsoft.com/office/drawing/2014/main" id="{25B9CFDF-9EAE-40AC-87E3-271A0DD89037}"/>
              </a:ext>
            </a:extLst>
          </p:cNvPr>
          <p:cNvCxnSpPr>
            <a:cxnSpLocks/>
          </p:cNvCxnSpPr>
          <p:nvPr userDrawn="1"/>
        </p:nvCxnSpPr>
        <p:spPr>
          <a:xfrm>
            <a:off x="0" y="6435725"/>
            <a:ext cx="11355388" cy="0"/>
          </a:xfrm>
          <a:prstGeom prst="line">
            <a:avLst/>
          </a:prstGeom>
          <a:ln w="12700">
            <a:solidFill>
              <a:srgbClr val="585858"/>
            </a:solidFill>
          </a:ln>
        </p:spPr>
        <p:style>
          <a:lnRef idx="1">
            <a:schemeClr val="accent1"/>
          </a:lnRef>
          <a:fillRef idx="0">
            <a:schemeClr val="accent1"/>
          </a:fillRef>
          <a:effectRef idx="0">
            <a:schemeClr val="accent1"/>
          </a:effectRef>
          <a:fontRef idx="minor">
            <a:schemeClr val="tx1"/>
          </a:fontRef>
        </p:style>
      </p:cxnSp>
      <p:sp>
        <p:nvSpPr>
          <p:cNvPr id="7" name="TextBox 93">
            <a:extLst>
              <a:ext uri="{FF2B5EF4-FFF2-40B4-BE49-F238E27FC236}">
                <a16:creationId xmlns:a16="http://schemas.microsoft.com/office/drawing/2014/main" id="{DFBEAA37-1C78-4758-9B84-8E6A02589ABD}"/>
              </a:ext>
            </a:extLst>
          </p:cNvPr>
          <p:cNvSpPr txBox="1">
            <a:spLocks noChangeArrowheads="1"/>
          </p:cNvSpPr>
          <p:nvPr userDrawn="1"/>
        </p:nvSpPr>
        <p:spPr bwMode="auto">
          <a:xfrm>
            <a:off x="7426325" y="6508750"/>
            <a:ext cx="3944938"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fld id="{95352E12-35A0-49B2-8A49-235B88EE05E4}" type="slidenum">
              <a:rPr lang="en-US" altLang="en-US" sz="1000">
                <a:solidFill>
                  <a:srgbClr val="595959"/>
                </a:solidFill>
                <a:latin typeface="Arial" panose="020B0604020202020204" pitchFamily="34" charset="0"/>
                <a:cs typeface="Arial" panose="020B0604020202020204" pitchFamily="34" charset="0"/>
              </a:rPr>
              <a:pPr algn="r" eaLnBrk="1" hangingPunct="1"/>
              <a:t>‹#›</a:t>
            </a:fld>
            <a:endParaRPr lang="en-US" altLang="en-US" sz="1000">
              <a:solidFill>
                <a:srgbClr val="595959"/>
              </a:solidFill>
              <a:latin typeface="Arial" panose="020B0604020202020204" pitchFamily="34" charset="0"/>
              <a:cs typeface="Arial" panose="020B0604020202020204" pitchFamily="34" charset="0"/>
            </a:endParaRPr>
          </a:p>
        </p:txBody>
      </p:sp>
      <p:sp>
        <p:nvSpPr>
          <p:cNvPr id="13" name="Text Placeholder 12">
            <a:extLst>
              <a:ext uri="{FF2B5EF4-FFF2-40B4-BE49-F238E27FC236}">
                <a16:creationId xmlns:a16="http://schemas.microsoft.com/office/drawing/2014/main" id="{FB39D6F7-7364-5042-AA40-2DF56C72FF4A}"/>
              </a:ext>
            </a:extLst>
          </p:cNvPr>
          <p:cNvSpPr>
            <a:spLocks noGrp="1"/>
          </p:cNvSpPr>
          <p:nvPr>
            <p:ph type="body" sz="quarter" idx="10"/>
          </p:nvPr>
        </p:nvSpPr>
        <p:spPr>
          <a:xfrm>
            <a:off x="457199" y="1096962"/>
            <a:ext cx="10897565" cy="5083918"/>
          </a:xfrm>
          <a:prstGeom prst="rect">
            <a:avLst/>
          </a:prstGeom>
        </p:spPr>
        <p:txBody>
          <a:bodyPr lIns="0" tIns="0" rIns="0" bIns="0" anchor="t"/>
          <a:lstStyle>
            <a:lvl1pPr>
              <a:lnSpc>
                <a:spcPct val="125000"/>
              </a:lnSpc>
              <a:defRPr sz="1400">
                <a:solidFill>
                  <a:srgbClr val="585858"/>
                </a:solidFill>
              </a:defRPr>
            </a:lvl1pPr>
            <a:lvl2pPr marL="457200" indent="0">
              <a:buNone/>
              <a:defRPr/>
            </a:lvl2pPr>
          </a:lstStyle>
          <a:p>
            <a:pPr lvl="0"/>
            <a:r>
              <a:rPr lang="en-US"/>
              <a:t>Click to edit Master text styles</a:t>
            </a:r>
          </a:p>
        </p:txBody>
      </p:sp>
      <p:sp>
        <p:nvSpPr>
          <p:cNvPr id="17" name="Text Placeholder 16">
            <a:extLst>
              <a:ext uri="{FF2B5EF4-FFF2-40B4-BE49-F238E27FC236}">
                <a16:creationId xmlns:a16="http://schemas.microsoft.com/office/drawing/2014/main" id="{1C887C4D-4D8E-5941-88BE-BECE9C947E6F}"/>
              </a:ext>
            </a:extLst>
          </p:cNvPr>
          <p:cNvSpPr>
            <a:spLocks noGrp="1"/>
          </p:cNvSpPr>
          <p:nvPr>
            <p:ph type="body" sz="quarter" idx="11"/>
          </p:nvPr>
        </p:nvSpPr>
        <p:spPr>
          <a:xfrm>
            <a:off x="457198" y="108000"/>
            <a:ext cx="10897566" cy="758577"/>
          </a:xfrm>
          <a:prstGeom prst="rect">
            <a:avLst/>
          </a:prstGeom>
        </p:spPr>
        <p:txBody>
          <a:bodyPr lIns="0" tIns="0" rIns="0" bIns="0" anchor="ctr"/>
          <a:lstStyle>
            <a:lvl1pPr>
              <a:lnSpc>
                <a:spcPts val="2400"/>
              </a:lnSpc>
              <a:defRPr sz="2400" b="1">
                <a:solidFill>
                  <a:schemeClr val="tx1">
                    <a:lumMod val="75000"/>
                    <a:lumOff val="25000"/>
                  </a:schemeClr>
                </a:solidFill>
              </a:defRPr>
            </a:lvl1pPr>
          </a:lstStyle>
          <a:p>
            <a:pPr lvl="0"/>
            <a:r>
              <a:rPr lang="en-US"/>
              <a:t>Click to edit Master text styles</a:t>
            </a:r>
          </a:p>
        </p:txBody>
      </p:sp>
    </p:spTree>
    <p:extLst>
      <p:ext uri="{BB962C8B-B14F-4D97-AF65-F5344CB8AC3E}">
        <p14:creationId xmlns:p14="http://schemas.microsoft.com/office/powerpoint/2010/main" val="11393684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Content">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1C887C4D-4D8E-5941-88BE-BECE9C947E6F}"/>
              </a:ext>
            </a:extLst>
          </p:cNvPr>
          <p:cNvSpPr>
            <a:spLocks noGrp="1"/>
          </p:cNvSpPr>
          <p:nvPr>
            <p:ph type="body" sz="quarter" idx="11"/>
          </p:nvPr>
        </p:nvSpPr>
        <p:spPr>
          <a:xfrm>
            <a:off x="457198" y="108000"/>
            <a:ext cx="10897566" cy="758577"/>
          </a:xfrm>
          <a:prstGeom prst="rect">
            <a:avLst/>
          </a:prstGeom>
        </p:spPr>
        <p:txBody>
          <a:bodyPr lIns="0" tIns="0" rIns="0" bIns="0" anchor="ctr"/>
          <a:lstStyle>
            <a:lvl1pPr>
              <a:lnSpc>
                <a:spcPts val="2400"/>
              </a:lnSpc>
              <a:defRPr sz="2400" b="1">
                <a:solidFill>
                  <a:schemeClr val="tx1">
                    <a:lumMod val="75000"/>
                    <a:lumOff val="25000"/>
                  </a:schemeClr>
                </a:solidFill>
              </a:defRPr>
            </a:lvl1pPr>
          </a:lstStyle>
          <a:p>
            <a:pPr lvl="0"/>
            <a:r>
              <a:rPr lang="en-US"/>
              <a:t>Click to edit Master text styles</a:t>
            </a:r>
          </a:p>
        </p:txBody>
      </p:sp>
      <p:sp>
        <p:nvSpPr>
          <p:cNvPr id="8" name="TextBox 91">
            <a:extLst>
              <a:ext uri="{FF2B5EF4-FFF2-40B4-BE49-F238E27FC236}">
                <a16:creationId xmlns:a16="http://schemas.microsoft.com/office/drawing/2014/main" id="{4436F659-3575-4DF6-B2B7-895C9601E8DC}"/>
              </a:ext>
            </a:extLst>
          </p:cNvPr>
          <p:cNvSpPr txBox="1">
            <a:spLocks noChangeArrowheads="1"/>
          </p:cNvSpPr>
          <p:nvPr userDrawn="1"/>
        </p:nvSpPr>
        <p:spPr bwMode="auto">
          <a:xfrm>
            <a:off x="358775" y="6492875"/>
            <a:ext cx="660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900">
                <a:solidFill>
                  <a:srgbClr val="7F7F7F"/>
                </a:solidFill>
                <a:latin typeface="Arial" panose="020B0604020202020204" pitchFamily="34" charset="0"/>
                <a:ea typeface="MS PGothic" panose="020B0600070205080204" pitchFamily="34" charset="-128"/>
                <a:cs typeface="Arial" panose="020B0604020202020204" pitchFamily="34" charset="0"/>
              </a:rPr>
              <a:t>AIA confidential and proprietary information. Not for distribution. </a:t>
            </a:r>
          </a:p>
        </p:txBody>
      </p:sp>
    </p:spTree>
    <p:extLst>
      <p:ext uri="{BB962C8B-B14F-4D97-AF65-F5344CB8AC3E}">
        <p14:creationId xmlns:p14="http://schemas.microsoft.com/office/powerpoint/2010/main" val="27173461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IA_EditImage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F97738A-8783-034C-A761-5152B4197DE2}"/>
              </a:ext>
            </a:extLst>
          </p:cNvPr>
          <p:cNvSpPr/>
          <p:nvPr/>
        </p:nvSpPr>
        <p:spPr>
          <a:xfrm>
            <a:off x="9740053" y="4409440"/>
            <a:ext cx="2451947" cy="2140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47C23F7D-8453-F94C-8F84-D1D66EA4C8EE}"/>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2193" r="13080" b="17184"/>
          <a:stretch/>
        </p:blipFill>
        <p:spPr>
          <a:xfrm>
            <a:off x="6096000" y="-1"/>
            <a:ext cx="6096000" cy="6858001"/>
          </a:xfrm>
          <a:prstGeom prst="rect">
            <a:avLst/>
          </a:prstGeom>
        </p:spPr>
      </p:pic>
      <p:sp>
        <p:nvSpPr>
          <p:cNvPr id="11" name="Slide Number Placeholder 2">
            <a:extLst>
              <a:ext uri="{FF2B5EF4-FFF2-40B4-BE49-F238E27FC236}">
                <a16:creationId xmlns:a16="http://schemas.microsoft.com/office/drawing/2014/main" id="{0DF2777B-38D5-884D-8CBF-3E3DDE23A0C3}"/>
              </a:ext>
            </a:extLst>
          </p:cNvPr>
          <p:cNvSpPr>
            <a:spLocks noGrp="1"/>
          </p:cNvSpPr>
          <p:nvPr>
            <p:ph type="sldNum" sz="quarter" idx="10"/>
          </p:nvPr>
        </p:nvSpPr>
        <p:spPr>
          <a:xfrm>
            <a:off x="359999" y="6264872"/>
            <a:ext cx="360000" cy="360000"/>
          </a:xfrm>
          <a:prstGeom prst="rect">
            <a:avLst/>
          </a:prstGeom>
        </p:spPr>
        <p:txBody>
          <a:bodyPr/>
          <a:lstStyle/>
          <a:p>
            <a:fld id="{52BD4378-72E1-444F-8B73-E4C8D03E6D72}" type="slidenum">
              <a:rPr lang="en-MY" smtClean="0"/>
              <a:t>‹#›</a:t>
            </a:fld>
            <a:endParaRPr lang="en-MY"/>
          </a:p>
        </p:txBody>
      </p:sp>
      <p:sp>
        <p:nvSpPr>
          <p:cNvPr id="15" name="Text Placeholder 11">
            <a:extLst>
              <a:ext uri="{FF2B5EF4-FFF2-40B4-BE49-F238E27FC236}">
                <a16:creationId xmlns:a16="http://schemas.microsoft.com/office/drawing/2014/main" id="{EC832EE1-C469-0F4E-8437-67CBC62E1952}"/>
              </a:ext>
            </a:extLst>
          </p:cNvPr>
          <p:cNvSpPr>
            <a:spLocks noGrp="1"/>
          </p:cNvSpPr>
          <p:nvPr>
            <p:ph type="body" sz="quarter" idx="11" hasCustomPrompt="1"/>
          </p:nvPr>
        </p:nvSpPr>
        <p:spPr>
          <a:xfrm>
            <a:off x="360000" y="1980000"/>
            <a:ext cx="5040000" cy="1800000"/>
          </a:xfrm>
          <a:prstGeom prst="rect">
            <a:avLst/>
          </a:prstGeom>
          <a:noFill/>
        </p:spPr>
        <p:txBody>
          <a:bodyPr anchor="ctr">
            <a:noAutofit/>
          </a:bodyPr>
          <a:lstStyle>
            <a:lvl1pPr>
              <a:lnSpc>
                <a:spcPct val="80000"/>
              </a:lnSpc>
              <a:defRPr sz="4800">
                <a:solidFill>
                  <a:srgbClr val="333D47"/>
                </a:solidFill>
              </a:defRPr>
            </a:lvl1pPr>
            <a:lvl2pPr marL="457200" indent="0">
              <a:buNone/>
              <a:defRPr/>
            </a:lvl2pPr>
          </a:lstStyle>
          <a:p>
            <a:pPr lvl="0"/>
            <a:r>
              <a:rPr lang="en-US"/>
              <a:t>Section </a:t>
            </a:r>
            <a:br>
              <a:rPr lang="en-US"/>
            </a:br>
            <a:r>
              <a:rPr lang="en-US"/>
              <a:t>header</a:t>
            </a:r>
          </a:p>
        </p:txBody>
      </p:sp>
      <p:sp>
        <p:nvSpPr>
          <p:cNvPr id="8" name="TextBox 7">
            <a:extLst>
              <a:ext uri="{FF2B5EF4-FFF2-40B4-BE49-F238E27FC236}">
                <a16:creationId xmlns:a16="http://schemas.microsoft.com/office/drawing/2014/main" id="{867FFC1E-A943-D344-B0E6-AC50DAF7F1D5}"/>
              </a:ext>
            </a:extLst>
          </p:cNvPr>
          <p:cNvSpPr txBox="1"/>
          <p:nvPr/>
        </p:nvSpPr>
        <p:spPr>
          <a:xfrm>
            <a:off x="-1170000" y="2440557"/>
            <a:ext cx="1052488" cy="1785104"/>
          </a:xfrm>
          <a:prstGeom prst="rect">
            <a:avLst/>
          </a:prstGeom>
          <a:solidFill>
            <a:schemeClr val="bg1"/>
          </a:solidFill>
        </p:spPr>
        <p:txBody>
          <a:bodyPr wrap="square" rtlCol="0">
            <a:spAutoFit/>
          </a:bodyPr>
          <a:lstStyle/>
          <a:p>
            <a:pPr algn="l"/>
            <a:r>
              <a:rPr lang="en-US" sz="1000">
                <a:solidFill>
                  <a:srgbClr val="333D47"/>
                </a:solidFill>
                <a:latin typeface="Arial" panose="020B0604020202020204" pitchFamily="34" charset="0"/>
                <a:cs typeface="Arial" panose="020B0604020202020204" pitchFamily="34" charset="0"/>
              </a:rPr>
              <a:t>The image can be replaced here and master view</a:t>
            </a:r>
          </a:p>
          <a:p>
            <a:pPr algn="l"/>
            <a:endParaRPr lang="en-US" sz="1000">
              <a:solidFill>
                <a:srgbClr val="333D47"/>
              </a:solidFill>
              <a:latin typeface="Arial" panose="020B0604020202020204" pitchFamily="34" charset="0"/>
              <a:cs typeface="Arial" panose="020B0604020202020204" pitchFamily="34" charset="0"/>
            </a:endParaRPr>
          </a:p>
          <a:p>
            <a:pPr algn="l"/>
            <a:r>
              <a:rPr lang="en-GB" sz="1000">
                <a:latin typeface="Helvetica Neue" panose="02000503000000020004" pitchFamily="2" charset="0"/>
              </a:rPr>
              <a:t>Please </a:t>
            </a:r>
            <a:r>
              <a:rPr lang="en-GB" sz="1000" b="1">
                <a:latin typeface="Helvetica Neue" panose="02000503000000020004" pitchFamily="2" charset="0"/>
              </a:rPr>
              <a:t>do not </a:t>
            </a:r>
            <a:r>
              <a:rPr lang="en-GB" sz="1000">
                <a:latin typeface="Helvetica Neue" panose="02000503000000020004" pitchFamily="2" charset="0"/>
              </a:rPr>
              <a:t>use any internal photo competition participants’ images</a:t>
            </a:r>
            <a:endParaRPr lang="en-US" sz="1000">
              <a:solidFill>
                <a:srgbClr val="333D47"/>
              </a:solidFill>
            </a:endParaRPr>
          </a:p>
        </p:txBody>
      </p:sp>
      <p:sp>
        <p:nvSpPr>
          <p:cNvPr id="12" name="Snip Same-side Corner of Rectangle 4">
            <a:extLst>
              <a:ext uri="{FF2B5EF4-FFF2-40B4-BE49-F238E27FC236}">
                <a16:creationId xmlns:a16="http://schemas.microsoft.com/office/drawing/2014/main" id="{43AFA998-C295-A841-A965-1A551AA505A9}"/>
              </a:ext>
            </a:extLst>
          </p:cNvPr>
          <p:cNvSpPr>
            <a:spLocks/>
          </p:cNvSpPr>
          <p:nvPr/>
        </p:nvSpPr>
        <p:spPr>
          <a:xfrm>
            <a:off x="6075680" y="1229821"/>
            <a:ext cx="6122003" cy="5640792"/>
          </a:xfrm>
          <a:custGeom>
            <a:avLst/>
            <a:gdLst>
              <a:gd name="connsiteX0" fmla="*/ 576481 w 3458817"/>
              <a:gd name="connsiteY0" fmla="*/ 0 h 3458817"/>
              <a:gd name="connsiteX1" fmla="*/ 2882336 w 3458817"/>
              <a:gd name="connsiteY1" fmla="*/ 0 h 3458817"/>
              <a:gd name="connsiteX2" fmla="*/ 3458817 w 3458817"/>
              <a:gd name="connsiteY2" fmla="*/ 576481 h 3458817"/>
              <a:gd name="connsiteX3" fmla="*/ 3458817 w 3458817"/>
              <a:gd name="connsiteY3" fmla="*/ 3458817 h 3458817"/>
              <a:gd name="connsiteX4" fmla="*/ 3458817 w 3458817"/>
              <a:gd name="connsiteY4" fmla="*/ 3458817 h 3458817"/>
              <a:gd name="connsiteX5" fmla="*/ 0 w 3458817"/>
              <a:gd name="connsiteY5" fmla="*/ 3458817 h 3458817"/>
              <a:gd name="connsiteX6" fmla="*/ 0 w 3458817"/>
              <a:gd name="connsiteY6" fmla="*/ 3458817 h 3458817"/>
              <a:gd name="connsiteX7" fmla="*/ 0 w 3458817"/>
              <a:gd name="connsiteY7" fmla="*/ 576481 h 3458817"/>
              <a:gd name="connsiteX8" fmla="*/ 576481 w 3458817"/>
              <a:gd name="connsiteY8" fmla="*/ 0 h 3458817"/>
              <a:gd name="connsiteX0" fmla="*/ 1182768 w 4065104"/>
              <a:gd name="connsiteY0" fmla="*/ 218650 h 3677467"/>
              <a:gd name="connsiteX1" fmla="*/ 3488623 w 4065104"/>
              <a:gd name="connsiteY1" fmla="*/ 218650 h 3677467"/>
              <a:gd name="connsiteX2" fmla="*/ 4065104 w 4065104"/>
              <a:gd name="connsiteY2" fmla="*/ 795131 h 3677467"/>
              <a:gd name="connsiteX3" fmla="*/ 4065104 w 4065104"/>
              <a:gd name="connsiteY3" fmla="*/ 3677467 h 3677467"/>
              <a:gd name="connsiteX4" fmla="*/ 4065104 w 4065104"/>
              <a:gd name="connsiteY4" fmla="*/ 3677467 h 3677467"/>
              <a:gd name="connsiteX5" fmla="*/ 606287 w 4065104"/>
              <a:gd name="connsiteY5" fmla="*/ 3677467 h 3677467"/>
              <a:gd name="connsiteX6" fmla="*/ 606287 w 4065104"/>
              <a:gd name="connsiteY6" fmla="*/ 3677467 h 3677467"/>
              <a:gd name="connsiteX7" fmla="*/ 0 w 4065104"/>
              <a:gd name="connsiteY7" fmla="*/ 0 h 3677467"/>
              <a:gd name="connsiteX8" fmla="*/ 1182768 w 4065104"/>
              <a:gd name="connsiteY8" fmla="*/ 218650 h 3677467"/>
              <a:gd name="connsiteX0" fmla="*/ 1182768 w 4065104"/>
              <a:gd name="connsiteY0" fmla="*/ 218650 h 3677467"/>
              <a:gd name="connsiteX1" fmla="*/ 3488623 w 4065104"/>
              <a:gd name="connsiteY1" fmla="*/ 218650 h 3677467"/>
              <a:gd name="connsiteX2" fmla="*/ 4065104 w 4065104"/>
              <a:gd name="connsiteY2" fmla="*/ 795131 h 3677467"/>
              <a:gd name="connsiteX3" fmla="*/ 4065104 w 4065104"/>
              <a:gd name="connsiteY3" fmla="*/ 3677467 h 3677467"/>
              <a:gd name="connsiteX4" fmla="*/ 4065104 w 4065104"/>
              <a:gd name="connsiteY4" fmla="*/ 3677467 h 3677467"/>
              <a:gd name="connsiteX5" fmla="*/ 606287 w 4065104"/>
              <a:gd name="connsiteY5" fmla="*/ 3677467 h 3677467"/>
              <a:gd name="connsiteX6" fmla="*/ 0 w 4065104"/>
              <a:gd name="connsiteY6" fmla="*/ 2753128 h 3677467"/>
              <a:gd name="connsiteX7" fmla="*/ 0 w 4065104"/>
              <a:gd name="connsiteY7" fmla="*/ 0 h 3677467"/>
              <a:gd name="connsiteX8" fmla="*/ 1182768 w 4065104"/>
              <a:gd name="connsiteY8" fmla="*/ 218650 h 3677467"/>
              <a:gd name="connsiteX0" fmla="*/ 1182768 w 4065104"/>
              <a:gd name="connsiteY0" fmla="*/ 218650 h 5347241"/>
              <a:gd name="connsiteX1" fmla="*/ 3488623 w 4065104"/>
              <a:gd name="connsiteY1" fmla="*/ 218650 h 5347241"/>
              <a:gd name="connsiteX2" fmla="*/ 4065104 w 4065104"/>
              <a:gd name="connsiteY2" fmla="*/ 795131 h 5347241"/>
              <a:gd name="connsiteX3" fmla="*/ 4065104 w 4065104"/>
              <a:gd name="connsiteY3" fmla="*/ 3677467 h 5347241"/>
              <a:gd name="connsiteX4" fmla="*/ 4065104 w 4065104"/>
              <a:gd name="connsiteY4" fmla="*/ 3677467 h 5347241"/>
              <a:gd name="connsiteX5" fmla="*/ 2077279 w 4065104"/>
              <a:gd name="connsiteY5" fmla="*/ 5347241 h 5347241"/>
              <a:gd name="connsiteX6" fmla="*/ 0 w 4065104"/>
              <a:gd name="connsiteY6" fmla="*/ 2753128 h 5347241"/>
              <a:gd name="connsiteX7" fmla="*/ 0 w 4065104"/>
              <a:gd name="connsiteY7" fmla="*/ 0 h 5347241"/>
              <a:gd name="connsiteX8" fmla="*/ 1182768 w 4065104"/>
              <a:gd name="connsiteY8" fmla="*/ 218650 h 5347241"/>
              <a:gd name="connsiteX0" fmla="*/ 1182768 w 6748669"/>
              <a:gd name="connsiteY0" fmla="*/ 218650 h 5347241"/>
              <a:gd name="connsiteX1" fmla="*/ 3488623 w 6748669"/>
              <a:gd name="connsiteY1" fmla="*/ 218650 h 5347241"/>
              <a:gd name="connsiteX2" fmla="*/ 4065104 w 6748669"/>
              <a:gd name="connsiteY2" fmla="*/ 795131 h 5347241"/>
              <a:gd name="connsiteX3" fmla="*/ 4065104 w 6748669"/>
              <a:gd name="connsiteY3" fmla="*/ 3677467 h 5347241"/>
              <a:gd name="connsiteX4" fmla="*/ 6748669 w 6748669"/>
              <a:gd name="connsiteY4" fmla="*/ 5307484 h 5347241"/>
              <a:gd name="connsiteX5" fmla="*/ 2077279 w 6748669"/>
              <a:gd name="connsiteY5" fmla="*/ 5347241 h 5347241"/>
              <a:gd name="connsiteX6" fmla="*/ 0 w 6748669"/>
              <a:gd name="connsiteY6" fmla="*/ 2753128 h 5347241"/>
              <a:gd name="connsiteX7" fmla="*/ 0 w 6748669"/>
              <a:gd name="connsiteY7" fmla="*/ 0 h 5347241"/>
              <a:gd name="connsiteX8" fmla="*/ 1182768 w 6748669"/>
              <a:gd name="connsiteY8" fmla="*/ 218650 h 5347241"/>
              <a:gd name="connsiteX0" fmla="*/ 1182768 w 8169965"/>
              <a:gd name="connsiteY0" fmla="*/ 218650 h 5347241"/>
              <a:gd name="connsiteX1" fmla="*/ 3488623 w 8169965"/>
              <a:gd name="connsiteY1" fmla="*/ 218650 h 5347241"/>
              <a:gd name="connsiteX2" fmla="*/ 4065104 w 8169965"/>
              <a:gd name="connsiteY2" fmla="*/ 795131 h 5347241"/>
              <a:gd name="connsiteX3" fmla="*/ 8169965 w 8169965"/>
              <a:gd name="connsiteY3" fmla="*/ 3478684 h 5347241"/>
              <a:gd name="connsiteX4" fmla="*/ 6748669 w 8169965"/>
              <a:gd name="connsiteY4" fmla="*/ 5307484 h 5347241"/>
              <a:gd name="connsiteX5" fmla="*/ 2077279 w 8169965"/>
              <a:gd name="connsiteY5" fmla="*/ 5347241 h 5347241"/>
              <a:gd name="connsiteX6" fmla="*/ 0 w 8169965"/>
              <a:gd name="connsiteY6" fmla="*/ 2753128 h 5347241"/>
              <a:gd name="connsiteX7" fmla="*/ 0 w 8169965"/>
              <a:gd name="connsiteY7" fmla="*/ 0 h 5347241"/>
              <a:gd name="connsiteX8" fmla="*/ 1182768 w 8169965"/>
              <a:gd name="connsiteY8" fmla="*/ 218650 h 5347241"/>
              <a:gd name="connsiteX0" fmla="*/ 1182768 w 8169965"/>
              <a:gd name="connsiteY0" fmla="*/ 218650 h 5347241"/>
              <a:gd name="connsiteX1" fmla="*/ 3488623 w 8169965"/>
              <a:gd name="connsiteY1" fmla="*/ 218650 h 5347241"/>
              <a:gd name="connsiteX2" fmla="*/ 8162542 w 8169965"/>
              <a:gd name="connsiteY2" fmla="*/ 1443314 h 5347241"/>
              <a:gd name="connsiteX3" fmla="*/ 8169965 w 8169965"/>
              <a:gd name="connsiteY3" fmla="*/ 3478684 h 5347241"/>
              <a:gd name="connsiteX4" fmla="*/ 6748669 w 8169965"/>
              <a:gd name="connsiteY4" fmla="*/ 5307484 h 5347241"/>
              <a:gd name="connsiteX5" fmla="*/ 2077279 w 8169965"/>
              <a:gd name="connsiteY5" fmla="*/ 5347241 h 5347241"/>
              <a:gd name="connsiteX6" fmla="*/ 0 w 8169965"/>
              <a:gd name="connsiteY6" fmla="*/ 2753128 h 5347241"/>
              <a:gd name="connsiteX7" fmla="*/ 0 w 8169965"/>
              <a:gd name="connsiteY7" fmla="*/ 0 h 5347241"/>
              <a:gd name="connsiteX8" fmla="*/ 1182768 w 8169965"/>
              <a:gd name="connsiteY8" fmla="*/ 218650 h 5347241"/>
              <a:gd name="connsiteX0" fmla="*/ 1182768 w 8169965"/>
              <a:gd name="connsiteY0" fmla="*/ 218650 h 5347241"/>
              <a:gd name="connsiteX1" fmla="*/ 3488623 w 8169965"/>
              <a:gd name="connsiteY1" fmla="*/ 218650 h 5347241"/>
              <a:gd name="connsiteX2" fmla="*/ 8162542 w 8169965"/>
              <a:gd name="connsiteY2" fmla="*/ 1443314 h 5347241"/>
              <a:gd name="connsiteX3" fmla="*/ 8169965 w 8169965"/>
              <a:gd name="connsiteY3" fmla="*/ 3478684 h 5347241"/>
              <a:gd name="connsiteX4" fmla="*/ 6899140 w 8169965"/>
              <a:gd name="connsiteY4" fmla="*/ 5319059 h 5347241"/>
              <a:gd name="connsiteX5" fmla="*/ 2077279 w 8169965"/>
              <a:gd name="connsiteY5" fmla="*/ 5347241 h 5347241"/>
              <a:gd name="connsiteX6" fmla="*/ 0 w 8169965"/>
              <a:gd name="connsiteY6" fmla="*/ 2753128 h 5347241"/>
              <a:gd name="connsiteX7" fmla="*/ 0 w 8169965"/>
              <a:gd name="connsiteY7" fmla="*/ 0 h 5347241"/>
              <a:gd name="connsiteX8" fmla="*/ 1182768 w 8169965"/>
              <a:gd name="connsiteY8" fmla="*/ 218650 h 5347241"/>
              <a:gd name="connsiteX0" fmla="*/ 1182768 w 8169965"/>
              <a:gd name="connsiteY0" fmla="*/ 218650 h 5358816"/>
              <a:gd name="connsiteX1" fmla="*/ 3488623 w 8169965"/>
              <a:gd name="connsiteY1" fmla="*/ 218650 h 5358816"/>
              <a:gd name="connsiteX2" fmla="*/ 8162542 w 8169965"/>
              <a:gd name="connsiteY2" fmla="*/ 1443314 h 5358816"/>
              <a:gd name="connsiteX3" fmla="*/ 8169965 w 8169965"/>
              <a:gd name="connsiteY3" fmla="*/ 3478684 h 5358816"/>
              <a:gd name="connsiteX4" fmla="*/ 6899140 w 8169965"/>
              <a:gd name="connsiteY4" fmla="*/ 5319059 h 5358816"/>
              <a:gd name="connsiteX5" fmla="*/ 2100428 w 8169965"/>
              <a:gd name="connsiteY5" fmla="*/ 5358816 h 5358816"/>
              <a:gd name="connsiteX6" fmla="*/ 0 w 8169965"/>
              <a:gd name="connsiteY6" fmla="*/ 2753128 h 5358816"/>
              <a:gd name="connsiteX7" fmla="*/ 0 w 8169965"/>
              <a:gd name="connsiteY7" fmla="*/ 0 h 5358816"/>
              <a:gd name="connsiteX8" fmla="*/ 1182768 w 8169965"/>
              <a:gd name="connsiteY8" fmla="*/ 218650 h 5358816"/>
              <a:gd name="connsiteX0" fmla="*/ 1182768 w 8169965"/>
              <a:gd name="connsiteY0" fmla="*/ 218650 h 5358816"/>
              <a:gd name="connsiteX1" fmla="*/ 3488623 w 8169965"/>
              <a:gd name="connsiteY1" fmla="*/ 218650 h 5358816"/>
              <a:gd name="connsiteX2" fmla="*/ 8162542 w 8169965"/>
              <a:gd name="connsiteY2" fmla="*/ 1443314 h 5358816"/>
              <a:gd name="connsiteX3" fmla="*/ 8169965 w 8169965"/>
              <a:gd name="connsiteY3" fmla="*/ 3478684 h 5358816"/>
              <a:gd name="connsiteX4" fmla="*/ 6875990 w 8169965"/>
              <a:gd name="connsiteY4" fmla="*/ 5342208 h 5358816"/>
              <a:gd name="connsiteX5" fmla="*/ 2100428 w 8169965"/>
              <a:gd name="connsiteY5" fmla="*/ 5358816 h 5358816"/>
              <a:gd name="connsiteX6" fmla="*/ 0 w 8169965"/>
              <a:gd name="connsiteY6" fmla="*/ 2753128 h 5358816"/>
              <a:gd name="connsiteX7" fmla="*/ 0 w 8169965"/>
              <a:gd name="connsiteY7" fmla="*/ 0 h 5358816"/>
              <a:gd name="connsiteX8" fmla="*/ 1182768 w 8169965"/>
              <a:gd name="connsiteY8" fmla="*/ 218650 h 5358816"/>
              <a:gd name="connsiteX0" fmla="*/ 303092 w 8169965"/>
              <a:gd name="connsiteY0" fmla="*/ 0 h 5869371"/>
              <a:gd name="connsiteX1" fmla="*/ 3488623 w 8169965"/>
              <a:gd name="connsiteY1" fmla="*/ 729205 h 5869371"/>
              <a:gd name="connsiteX2" fmla="*/ 8162542 w 8169965"/>
              <a:gd name="connsiteY2" fmla="*/ 1953869 h 5869371"/>
              <a:gd name="connsiteX3" fmla="*/ 8169965 w 8169965"/>
              <a:gd name="connsiteY3" fmla="*/ 3989239 h 5869371"/>
              <a:gd name="connsiteX4" fmla="*/ 6875990 w 8169965"/>
              <a:gd name="connsiteY4" fmla="*/ 5852763 h 5869371"/>
              <a:gd name="connsiteX5" fmla="*/ 2100428 w 8169965"/>
              <a:gd name="connsiteY5" fmla="*/ 5869371 h 5869371"/>
              <a:gd name="connsiteX6" fmla="*/ 0 w 8169965"/>
              <a:gd name="connsiteY6" fmla="*/ 3263683 h 5869371"/>
              <a:gd name="connsiteX7" fmla="*/ 0 w 8169965"/>
              <a:gd name="connsiteY7" fmla="*/ 510555 h 5869371"/>
              <a:gd name="connsiteX8" fmla="*/ 303092 w 8169965"/>
              <a:gd name="connsiteY8" fmla="*/ 0 h 5869371"/>
              <a:gd name="connsiteX0" fmla="*/ 303092 w 8169965"/>
              <a:gd name="connsiteY0" fmla="*/ 0 h 5869371"/>
              <a:gd name="connsiteX1" fmla="*/ 3731692 w 8169965"/>
              <a:gd name="connsiteY1" fmla="*/ 821802 h 5869371"/>
              <a:gd name="connsiteX2" fmla="*/ 8162542 w 8169965"/>
              <a:gd name="connsiteY2" fmla="*/ 1953869 h 5869371"/>
              <a:gd name="connsiteX3" fmla="*/ 8169965 w 8169965"/>
              <a:gd name="connsiteY3" fmla="*/ 3989239 h 5869371"/>
              <a:gd name="connsiteX4" fmla="*/ 6875990 w 8169965"/>
              <a:gd name="connsiteY4" fmla="*/ 5852763 h 5869371"/>
              <a:gd name="connsiteX5" fmla="*/ 2100428 w 8169965"/>
              <a:gd name="connsiteY5" fmla="*/ 5869371 h 5869371"/>
              <a:gd name="connsiteX6" fmla="*/ 0 w 8169965"/>
              <a:gd name="connsiteY6" fmla="*/ 3263683 h 5869371"/>
              <a:gd name="connsiteX7" fmla="*/ 0 w 8169965"/>
              <a:gd name="connsiteY7" fmla="*/ 510555 h 5869371"/>
              <a:gd name="connsiteX8" fmla="*/ 303092 w 8169965"/>
              <a:gd name="connsiteY8" fmla="*/ 0 h 5869371"/>
              <a:gd name="connsiteX0" fmla="*/ 303092 w 8169965"/>
              <a:gd name="connsiteY0" fmla="*/ 0 h 5869371"/>
              <a:gd name="connsiteX1" fmla="*/ 8162542 w 8169965"/>
              <a:gd name="connsiteY1" fmla="*/ 1953869 h 5869371"/>
              <a:gd name="connsiteX2" fmla="*/ 8169965 w 8169965"/>
              <a:gd name="connsiteY2" fmla="*/ 3989239 h 5869371"/>
              <a:gd name="connsiteX3" fmla="*/ 6875990 w 8169965"/>
              <a:gd name="connsiteY3" fmla="*/ 5852763 h 5869371"/>
              <a:gd name="connsiteX4" fmla="*/ 2100428 w 8169965"/>
              <a:gd name="connsiteY4" fmla="*/ 5869371 h 5869371"/>
              <a:gd name="connsiteX5" fmla="*/ 0 w 8169965"/>
              <a:gd name="connsiteY5" fmla="*/ 3263683 h 5869371"/>
              <a:gd name="connsiteX6" fmla="*/ 0 w 8169965"/>
              <a:gd name="connsiteY6" fmla="*/ 510555 h 5869371"/>
              <a:gd name="connsiteX7" fmla="*/ 303092 w 8169965"/>
              <a:gd name="connsiteY7"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3149 w 8193114"/>
              <a:gd name="connsiteY5" fmla="*/ 3263683 h 5869371"/>
              <a:gd name="connsiteX6" fmla="*/ 0 w 8193114"/>
              <a:gd name="connsiteY6" fmla="*/ 105441 h 5869371"/>
              <a:gd name="connsiteX7" fmla="*/ 326241 w 8193114"/>
              <a:gd name="connsiteY7"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383668 w 8193114"/>
              <a:gd name="connsiteY5" fmla="*/ 3712235 h 5869371"/>
              <a:gd name="connsiteX6" fmla="*/ 23149 w 8193114"/>
              <a:gd name="connsiteY6" fmla="*/ 3263683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58978 w 8193114"/>
              <a:gd name="connsiteY5" fmla="*/ 3706297 h 5869371"/>
              <a:gd name="connsiteX6" fmla="*/ 23149 w 8193114"/>
              <a:gd name="connsiteY6" fmla="*/ 3263683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58978 w 8193114"/>
              <a:gd name="connsiteY5" fmla="*/ 3706297 h 5869371"/>
              <a:gd name="connsiteX6" fmla="*/ 23149 w 8193114"/>
              <a:gd name="connsiteY6" fmla="*/ 3263683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58978 w 8193114"/>
              <a:gd name="connsiteY5" fmla="*/ 3706297 h 5869371"/>
              <a:gd name="connsiteX6" fmla="*/ 23149 w 8193114"/>
              <a:gd name="connsiteY6" fmla="*/ 3263683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58978 w 8193114"/>
              <a:gd name="connsiteY5" fmla="*/ 3706297 h 5869371"/>
              <a:gd name="connsiteX6" fmla="*/ 23149 w 8193114"/>
              <a:gd name="connsiteY6" fmla="*/ 3263683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58978 w 8193114"/>
              <a:gd name="connsiteY5" fmla="*/ 3706297 h 5869371"/>
              <a:gd name="connsiteX6" fmla="*/ 18600 w 8193114"/>
              <a:gd name="connsiteY6" fmla="*/ 3245486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309020 w 8193114"/>
              <a:gd name="connsiteY5" fmla="*/ 3774536 h 5869371"/>
              <a:gd name="connsiteX6" fmla="*/ 18600 w 8193114"/>
              <a:gd name="connsiteY6" fmla="*/ 3245486 h 5869371"/>
              <a:gd name="connsiteX7" fmla="*/ 0 w 8193114"/>
              <a:gd name="connsiteY7" fmla="*/ 105441 h 5869371"/>
              <a:gd name="connsiteX8" fmla="*/ 326241 w 8193114"/>
              <a:gd name="connsiteY8" fmla="*/ 0 h 5869371"/>
              <a:gd name="connsiteX0" fmla="*/ 326241 w 8193114"/>
              <a:gd name="connsiteY0" fmla="*/ 0 h 5852763"/>
              <a:gd name="connsiteX1" fmla="*/ 8185691 w 8193114"/>
              <a:gd name="connsiteY1" fmla="*/ 1953869 h 5852763"/>
              <a:gd name="connsiteX2" fmla="*/ 8193114 w 8193114"/>
              <a:gd name="connsiteY2" fmla="*/ 3989239 h 5852763"/>
              <a:gd name="connsiteX3" fmla="*/ 6899139 w 8193114"/>
              <a:gd name="connsiteY3" fmla="*/ 5852763 h 5852763"/>
              <a:gd name="connsiteX4" fmla="*/ 2123577 w 8193114"/>
              <a:gd name="connsiteY4" fmla="*/ 5839554 h 5852763"/>
              <a:gd name="connsiteX5" fmla="*/ 309020 w 8193114"/>
              <a:gd name="connsiteY5" fmla="*/ 3774536 h 5852763"/>
              <a:gd name="connsiteX6" fmla="*/ 18600 w 8193114"/>
              <a:gd name="connsiteY6" fmla="*/ 3245486 h 5852763"/>
              <a:gd name="connsiteX7" fmla="*/ 0 w 8193114"/>
              <a:gd name="connsiteY7" fmla="*/ 105441 h 5852763"/>
              <a:gd name="connsiteX8" fmla="*/ 326241 w 8193114"/>
              <a:gd name="connsiteY8" fmla="*/ 0 h 5852763"/>
              <a:gd name="connsiteX0" fmla="*/ 286485 w 8193114"/>
              <a:gd name="connsiteY0" fmla="*/ 0 h 5872641"/>
              <a:gd name="connsiteX1" fmla="*/ 8185691 w 8193114"/>
              <a:gd name="connsiteY1" fmla="*/ 1973747 h 5872641"/>
              <a:gd name="connsiteX2" fmla="*/ 8193114 w 8193114"/>
              <a:gd name="connsiteY2" fmla="*/ 4009117 h 5872641"/>
              <a:gd name="connsiteX3" fmla="*/ 6899139 w 8193114"/>
              <a:gd name="connsiteY3" fmla="*/ 5872641 h 5872641"/>
              <a:gd name="connsiteX4" fmla="*/ 2123577 w 8193114"/>
              <a:gd name="connsiteY4" fmla="*/ 5859432 h 5872641"/>
              <a:gd name="connsiteX5" fmla="*/ 309020 w 8193114"/>
              <a:gd name="connsiteY5" fmla="*/ 3794414 h 5872641"/>
              <a:gd name="connsiteX6" fmla="*/ 18600 w 8193114"/>
              <a:gd name="connsiteY6" fmla="*/ 3265364 h 5872641"/>
              <a:gd name="connsiteX7" fmla="*/ 0 w 8193114"/>
              <a:gd name="connsiteY7" fmla="*/ 125319 h 5872641"/>
              <a:gd name="connsiteX8" fmla="*/ 286485 w 8193114"/>
              <a:gd name="connsiteY8" fmla="*/ 0 h 5872641"/>
              <a:gd name="connsiteX0" fmla="*/ 286485 w 8193114"/>
              <a:gd name="connsiteY0" fmla="*/ 0 h 5872641"/>
              <a:gd name="connsiteX1" fmla="*/ 8185691 w 8193114"/>
              <a:gd name="connsiteY1" fmla="*/ 1963808 h 5872641"/>
              <a:gd name="connsiteX2" fmla="*/ 8193114 w 8193114"/>
              <a:gd name="connsiteY2" fmla="*/ 4009117 h 5872641"/>
              <a:gd name="connsiteX3" fmla="*/ 6899139 w 8193114"/>
              <a:gd name="connsiteY3" fmla="*/ 5872641 h 5872641"/>
              <a:gd name="connsiteX4" fmla="*/ 2123577 w 8193114"/>
              <a:gd name="connsiteY4" fmla="*/ 5859432 h 5872641"/>
              <a:gd name="connsiteX5" fmla="*/ 309020 w 8193114"/>
              <a:gd name="connsiteY5" fmla="*/ 3794414 h 5872641"/>
              <a:gd name="connsiteX6" fmla="*/ 18600 w 8193114"/>
              <a:gd name="connsiteY6" fmla="*/ 3265364 h 5872641"/>
              <a:gd name="connsiteX7" fmla="*/ 0 w 8193114"/>
              <a:gd name="connsiteY7" fmla="*/ 125319 h 5872641"/>
              <a:gd name="connsiteX8" fmla="*/ 286485 w 8193114"/>
              <a:gd name="connsiteY8" fmla="*/ 0 h 5872641"/>
              <a:gd name="connsiteX0" fmla="*/ 276546 w 8193114"/>
              <a:gd name="connsiteY0" fmla="*/ 0 h 5882580"/>
              <a:gd name="connsiteX1" fmla="*/ 8185691 w 8193114"/>
              <a:gd name="connsiteY1" fmla="*/ 1973747 h 5882580"/>
              <a:gd name="connsiteX2" fmla="*/ 8193114 w 8193114"/>
              <a:gd name="connsiteY2" fmla="*/ 4019056 h 5882580"/>
              <a:gd name="connsiteX3" fmla="*/ 6899139 w 8193114"/>
              <a:gd name="connsiteY3" fmla="*/ 5882580 h 5882580"/>
              <a:gd name="connsiteX4" fmla="*/ 2123577 w 8193114"/>
              <a:gd name="connsiteY4" fmla="*/ 5869371 h 5882580"/>
              <a:gd name="connsiteX5" fmla="*/ 309020 w 8193114"/>
              <a:gd name="connsiteY5" fmla="*/ 3804353 h 5882580"/>
              <a:gd name="connsiteX6" fmla="*/ 18600 w 8193114"/>
              <a:gd name="connsiteY6" fmla="*/ 3275303 h 5882580"/>
              <a:gd name="connsiteX7" fmla="*/ 0 w 8193114"/>
              <a:gd name="connsiteY7" fmla="*/ 135258 h 5882580"/>
              <a:gd name="connsiteX8" fmla="*/ 276546 w 8193114"/>
              <a:gd name="connsiteY8" fmla="*/ 0 h 5882580"/>
              <a:gd name="connsiteX0" fmla="*/ 276546 w 8193114"/>
              <a:gd name="connsiteY0" fmla="*/ 8851 h 5891431"/>
              <a:gd name="connsiteX1" fmla="*/ 8185691 w 8193114"/>
              <a:gd name="connsiteY1" fmla="*/ 1982598 h 5891431"/>
              <a:gd name="connsiteX2" fmla="*/ 8193114 w 8193114"/>
              <a:gd name="connsiteY2" fmla="*/ 4027907 h 5891431"/>
              <a:gd name="connsiteX3" fmla="*/ 6899139 w 8193114"/>
              <a:gd name="connsiteY3" fmla="*/ 5891431 h 5891431"/>
              <a:gd name="connsiteX4" fmla="*/ 2123577 w 8193114"/>
              <a:gd name="connsiteY4" fmla="*/ 5878222 h 5891431"/>
              <a:gd name="connsiteX5" fmla="*/ 309020 w 8193114"/>
              <a:gd name="connsiteY5" fmla="*/ 3813204 h 5891431"/>
              <a:gd name="connsiteX6" fmla="*/ 18600 w 8193114"/>
              <a:gd name="connsiteY6" fmla="*/ 3284154 h 5891431"/>
              <a:gd name="connsiteX7" fmla="*/ 0 w 8193114"/>
              <a:gd name="connsiteY7" fmla="*/ 144109 h 5891431"/>
              <a:gd name="connsiteX8" fmla="*/ 276546 w 8193114"/>
              <a:gd name="connsiteY8" fmla="*/ 8851 h 5891431"/>
              <a:gd name="connsiteX0" fmla="*/ 276546 w 8193114"/>
              <a:gd name="connsiteY0" fmla="*/ 18576 h 5901156"/>
              <a:gd name="connsiteX1" fmla="*/ 8185691 w 8193114"/>
              <a:gd name="connsiteY1" fmla="*/ 1992323 h 5901156"/>
              <a:gd name="connsiteX2" fmla="*/ 8193114 w 8193114"/>
              <a:gd name="connsiteY2" fmla="*/ 4037632 h 5901156"/>
              <a:gd name="connsiteX3" fmla="*/ 6899139 w 8193114"/>
              <a:gd name="connsiteY3" fmla="*/ 5901156 h 5901156"/>
              <a:gd name="connsiteX4" fmla="*/ 2123577 w 8193114"/>
              <a:gd name="connsiteY4" fmla="*/ 5887947 h 5901156"/>
              <a:gd name="connsiteX5" fmla="*/ 309020 w 8193114"/>
              <a:gd name="connsiteY5" fmla="*/ 3822929 h 5901156"/>
              <a:gd name="connsiteX6" fmla="*/ 18600 w 8193114"/>
              <a:gd name="connsiteY6" fmla="*/ 3293879 h 5901156"/>
              <a:gd name="connsiteX7" fmla="*/ 0 w 8193114"/>
              <a:gd name="connsiteY7" fmla="*/ 153834 h 5901156"/>
              <a:gd name="connsiteX8" fmla="*/ 276546 w 8193114"/>
              <a:gd name="connsiteY8" fmla="*/ 18576 h 5901156"/>
              <a:gd name="connsiteX0" fmla="*/ 276546 w 8193114"/>
              <a:gd name="connsiteY0" fmla="*/ 17428 h 5900008"/>
              <a:gd name="connsiteX1" fmla="*/ 8185691 w 8193114"/>
              <a:gd name="connsiteY1" fmla="*/ 1991175 h 5900008"/>
              <a:gd name="connsiteX2" fmla="*/ 8193114 w 8193114"/>
              <a:gd name="connsiteY2" fmla="*/ 4036484 h 5900008"/>
              <a:gd name="connsiteX3" fmla="*/ 6899139 w 8193114"/>
              <a:gd name="connsiteY3" fmla="*/ 5900008 h 5900008"/>
              <a:gd name="connsiteX4" fmla="*/ 2123577 w 8193114"/>
              <a:gd name="connsiteY4" fmla="*/ 5886799 h 5900008"/>
              <a:gd name="connsiteX5" fmla="*/ 309020 w 8193114"/>
              <a:gd name="connsiteY5" fmla="*/ 3821781 h 5900008"/>
              <a:gd name="connsiteX6" fmla="*/ 18600 w 8193114"/>
              <a:gd name="connsiteY6" fmla="*/ 3292731 h 5900008"/>
              <a:gd name="connsiteX7" fmla="*/ 0 w 8193114"/>
              <a:gd name="connsiteY7" fmla="*/ 152686 h 5900008"/>
              <a:gd name="connsiteX8" fmla="*/ 276546 w 8193114"/>
              <a:gd name="connsiteY8" fmla="*/ 17428 h 5900008"/>
              <a:gd name="connsiteX0" fmla="*/ 276546 w 8193114"/>
              <a:gd name="connsiteY0" fmla="*/ 33372 h 5915952"/>
              <a:gd name="connsiteX1" fmla="*/ 8185691 w 8193114"/>
              <a:gd name="connsiteY1" fmla="*/ 2007119 h 5915952"/>
              <a:gd name="connsiteX2" fmla="*/ 8193114 w 8193114"/>
              <a:gd name="connsiteY2" fmla="*/ 4052428 h 5915952"/>
              <a:gd name="connsiteX3" fmla="*/ 6899139 w 8193114"/>
              <a:gd name="connsiteY3" fmla="*/ 5915952 h 5915952"/>
              <a:gd name="connsiteX4" fmla="*/ 2123577 w 8193114"/>
              <a:gd name="connsiteY4" fmla="*/ 5902743 h 5915952"/>
              <a:gd name="connsiteX5" fmla="*/ 309020 w 8193114"/>
              <a:gd name="connsiteY5" fmla="*/ 3837725 h 5915952"/>
              <a:gd name="connsiteX6" fmla="*/ 18600 w 8193114"/>
              <a:gd name="connsiteY6" fmla="*/ 3308675 h 5915952"/>
              <a:gd name="connsiteX7" fmla="*/ 0 w 8193114"/>
              <a:gd name="connsiteY7" fmla="*/ 168630 h 5915952"/>
              <a:gd name="connsiteX8" fmla="*/ 276546 w 8193114"/>
              <a:gd name="connsiteY8" fmla="*/ 33372 h 5915952"/>
              <a:gd name="connsiteX0" fmla="*/ 276546 w 8193114"/>
              <a:gd name="connsiteY0" fmla="*/ 14294 h 5896874"/>
              <a:gd name="connsiteX1" fmla="*/ 8185691 w 8193114"/>
              <a:gd name="connsiteY1" fmla="*/ 1988041 h 5896874"/>
              <a:gd name="connsiteX2" fmla="*/ 8193114 w 8193114"/>
              <a:gd name="connsiteY2" fmla="*/ 4033350 h 5896874"/>
              <a:gd name="connsiteX3" fmla="*/ 6899139 w 8193114"/>
              <a:gd name="connsiteY3" fmla="*/ 5896874 h 5896874"/>
              <a:gd name="connsiteX4" fmla="*/ 2123577 w 8193114"/>
              <a:gd name="connsiteY4" fmla="*/ 5883665 h 5896874"/>
              <a:gd name="connsiteX5" fmla="*/ 309020 w 8193114"/>
              <a:gd name="connsiteY5" fmla="*/ 3818647 h 5896874"/>
              <a:gd name="connsiteX6" fmla="*/ 18600 w 8193114"/>
              <a:gd name="connsiteY6" fmla="*/ 3289597 h 5896874"/>
              <a:gd name="connsiteX7" fmla="*/ 0 w 8193114"/>
              <a:gd name="connsiteY7" fmla="*/ 149552 h 5896874"/>
              <a:gd name="connsiteX8" fmla="*/ 276546 w 8193114"/>
              <a:gd name="connsiteY8" fmla="*/ 14294 h 5896874"/>
              <a:gd name="connsiteX0" fmla="*/ 276546 w 8193114"/>
              <a:gd name="connsiteY0" fmla="*/ 20586 h 5903166"/>
              <a:gd name="connsiteX1" fmla="*/ 8185691 w 8193114"/>
              <a:gd name="connsiteY1" fmla="*/ 1994333 h 5903166"/>
              <a:gd name="connsiteX2" fmla="*/ 8193114 w 8193114"/>
              <a:gd name="connsiteY2" fmla="*/ 4039642 h 5903166"/>
              <a:gd name="connsiteX3" fmla="*/ 6899139 w 8193114"/>
              <a:gd name="connsiteY3" fmla="*/ 5903166 h 5903166"/>
              <a:gd name="connsiteX4" fmla="*/ 2123577 w 8193114"/>
              <a:gd name="connsiteY4" fmla="*/ 5889957 h 5903166"/>
              <a:gd name="connsiteX5" fmla="*/ 309020 w 8193114"/>
              <a:gd name="connsiteY5" fmla="*/ 3824939 h 5903166"/>
              <a:gd name="connsiteX6" fmla="*/ 18600 w 8193114"/>
              <a:gd name="connsiteY6" fmla="*/ 3295889 h 5903166"/>
              <a:gd name="connsiteX7" fmla="*/ 0 w 8193114"/>
              <a:gd name="connsiteY7" fmla="*/ 155844 h 5903166"/>
              <a:gd name="connsiteX8" fmla="*/ 276546 w 8193114"/>
              <a:gd name="connsiteY8" fmla="*/ 20586 h 5903166"/>
              <a:gd name="connsiteX0" fmla="*/ 276546 w 8193114"/>
              <a:gd name="connsiteY0" fmla="*/ 20586 h 5903166"/>
              <a:gd name="connsiteX1" fmla="*/ 8185691 w 8193114"/>
              <a:gd name="connsiteY1" fmla="*/ 1994333 h 5903166"/>
              <a:gd name="connsiteX2" fmla="*/ 8193114 w 8193114"/>
              <a:gd name="connsiteY2" fmla="*/ 4039642 h 5903166"/>
              <a:gd name="connsiteX3" fmla="*/ 6899139 w 8193114"/>
              <a:gd name="connsiteY3" fmla="*/ 5903166 h 5903166"/>
              <a:gd name="connsiteX4" fmla="*/ 2123577 w 8193114"/>
              <a:gd name="connsiteY4" fmla="*/ 5889957 h 5903166"/>
              <a:gd name="connsiteX5" fmla="*/ 309020 w 8193114"/>
              <a:gd name="connsiteY5" fmla="*/ 3824939 h 5903166"/>
              <a:gd name="connsiteX6" fmla="*/ 18600 w 8193114"/>
              <a:gd name="connsiteY6" fmla="*/ 3295889 h 5903166"/>
              <a:gd name="connsiteX7" fmla="*/ 0 w 8193114"/>
              <a:gd name="connsiteY7" fmla="*/ 155844 h 5903166"/>
              <a:gd name="connsiteX8" fmla="*/ 276546 w 8193114"/>
              <a:gd name="connsiteY8" fmla="*/ 20586 h 5903166"/>
              <a:gd name="connsiteX0" fmla="*/ 276546 w 8193114"/>
              <a:gd name="connsiteY0" fmla="*/ 62247 h 5944827"/>
              <a:gd name="connsiteX1" fmla="*/ 8185691 w 8193114"/>
              <a:gd name="connsiteY1" fmla="*/ 2035994 h 5944827"/>
              <a:gd name="connsiteX2" fmla="*/ 8193114 w 8193114"/>
              <a:gd name="connsiteY2" fmla="*/ 4081303 h 5944827"/>
              <a:gd name="connsiteX3" fmla="*/ 6899139 w 8193114"/>
              <a:gd name="connsiteY3" fmla="*/ 5944827 h 5944827"/>
              <a:gd name="connsiteX4" fmla="*/ 2123577 w 8193114"/>
              <a:gd name="connsiteY4" fmla="*/ 5931618 h 5944827"/>
              <a:gd name="connsiteX5" fmla="*/ 309020 w 8193114"/>
              <a:gd name="connsiteY5" fmla="*/ 3866600 h 5944827"/>
              <a:gd name="connsiteX6" fmla="*/ 18600 w 8193114"/>
              <a:gd name="connsiteY6" fmla="*/ 3337550 h 5944827"/>
              <a:gd name="connsiteX7" fmla="*/ 0 w 8193114"/>
              <a:gd name="connsiteY7" fmla="*/ 197505 h 5944827"/>
              <a:gd name="connsiteX8" fmla="*/ 276546 w 8193114"/>
              <a:gd name="connsiteY8" fmla="*/ 62247 h 5944827"/>
              <a:gd name="connsiteX0" fmla="*/ 276546 w 8193114"/>
              <a:gd name="connsiteY0" fmla="*/ 17865 h 5900445"/>
              <a:gd name="connsiteX1" fmla="*/ 8185691 w 8193114"/>
              <a:gd name="connsiteY1" fmla="*/ 1991612 h 5900445"/>
              <a:gd name="connsiteX2" fmla="*/ 8193114 w 8193114"/>
              <a:gd name="connsiteY2" fmla="*/ 4036921 h 5900445"/>
              <a:gd name="connsiteX3" fmla="*/ 6899139 w 8193114"/>
              <a:gd name="connsiteY3" fmla="*/ 5900445 h 5900445"/>
              <a:gd name="connsiteX4" fmla="*/ 2123577 w 8193114"/>
              <a:gd name="connsiteY4" fmla="*/ 5887236 h 5900445"/>
              <a:gd name="connsiteX5" fmla="*/ 309020 w 8193114"/>
              <a:gd name="connsiteY5" fmla="*/ 3822218 h 5900445"/>
              <a:gd name="connsiteX6" fmla="*/ 18600 w 8193114"/>
              <a:gd name="connsiteY6" fmla="*/ 3293168 h 5900445"/>
              <a:gd name="connsiteX7" fmla="*/ 0 w 8193114"/>
              <a:gd name="connsiteY7" fmla="*/ 153123 h 5900445"/>
              <a:gd name="connsiteX8" fmla="*/ 276546 w 8193114"/>
              <a:gd name="connsiteY8" fmla="*/ 17865 h 5900445"/>
              <a:gd name="connsiteX0" fmla="*/ 276546 w 8193114"/>
              <a:gd name="connsiteY0" fmla="*/ 17865 h 5900445"/>
              <a:gd name="connsiteX1" fmla="*/ 8185691 w 8193114"/>
              <a:gd name="connsiteY1" fmla="*/ 1991612 h 5900445"/>
              <a:gd name="connsiteX2" fmla="*/ 8193114 w 8193114"/>
              <a:gd name="connsiteY2" fmla="*/ 4036921 h 5900445"/>
              <a:gd name="connsiteX3" fmla="*/ 6899139 w 8193114"/>
              <a:gd name="connsiteY3" fmla="*/ 5900445 h 5900445"/>
              <a:gd name="connsiteX4" fmla="*/ 2123577 w 8193114"/>
              <a:gd name="connsiteY4" fmla="*/ 5887236 h 5900445"/>
              <a:gd name="connsiteX5" fmla="*/ 309020 w 8193114"/>
              <a:gd name="connsiteY5" fmla="*/ 3822218 h 5900445"/>
              <a:gd name="connsiteX6" fmla="*/ 18600 w 8193114"/>
              <a:gd name="connsiteY6" fmla="*/ 3293168 h 5900445"/>
              <a:gd name="connsiteX7" fmla="*/ 0 w 8193114"/>
              <a:gd name="connsiteY7" fmla="*/ 153123 h 5900445"/>
              <a:gd name="connsiteX8" fmla="*/ 276546 w 8193114"/>
              <a:gd name="connsiteY8" fmla="*/ 17865 h 5900445"/>
              <a:gd name="connsiteX0" fmla="*/ 276546 w 8193114"/>
              <a:gd name="connsiteY0" fmla="*/ 17865 h 5900445"/>
              <a:gd name="connsiteX1" fmla="*/ 8185691 w 8193114"/>
              <a:gd name="connsiteY1" fmla="*/ 1991612 h 5900445"/>
              <a:gd name="connsiteX2" fmla="*/ 8193114 w 8193114"/>
              <a:gd name="connsiteY2" fmla="*/ 4036921 h 5900445"/>
              <a:gd name="connsiteX3" fmla="*/ 6899139 w 8193114"/>
              <a:gd name="connsiteY3" fmla="*/ 5900445 h 5900445"/>
              <a:gd name="connsiteX4" fmla="*/ 2123577 w 8193114"/>
              <a:gd name="connsiteY4" fmla="*/ 5887236 h 5900445"/>
              <a:gd name="connsiteX5" fmla="*/ 309020 w 8193114"/>
              <a:gd name="connsiteY5" fmla="*/ 3822218 h 5900445"/>
              <a:gd name="connsiteX6" fmla="*/ 18600 w 8193114"/>
              <a:gd name="connsiteY6" fmla="*/ 3293168 h 5900445"/>
              <a:gd name="connsiteX7" fmla="*/ 0 w 8193114"/>
              <a:gd name="connsiteY7" fmla="*/ 153123 h 5900445"/>
              <a:gd name="connsiteX8" fmla="*/ 276546 w 8193114"/>
              <a:gd name="connsiteY8" fmla="*/ 17865 h 5900445"/>
              <a:gd name="connsiteX0" fmla="*/ 276546 w 8193114"/>
              <a:gd name="connsiteY0" fmla="*/ 14556 h 5897136"/>
              <a:gd name="connsiteX1" fmla="*/ 8185691 w 8193114"/>
              <a:gd name="connsiteY1" fmla="*/ 1988303 h 5897136"/>
              <a:gd name="connsiteX2" fmla="*/ 8193114 w 8193114"/>
              <a:gd name="connsiteY2" fmla="*/ 4033612 h 5897136"/>
              <a:gd name="connsiteX3" fmla="*/ 6899139 w 8193114"/>
              <a:gd name="connsiteY3" fmla="*/ 5897136 h 5897136"/>
              <a:gd name="connsiteX4" fmla="*/ 2123577 w 8193114"/>
              <a:gd name="connsiteY4" fmla="*/ 5883927 h 5897136"/>
              <a:gd name="connsiteX5" fmla="*/ 309020 w 8193114"/>
              <a:gd name="connsiteY5" fmla="*/ 3818909 h 5897136"/>
              <a:gd name="connsiteX6" fmla="*/ 18600 w 8193114"/>
              <a:gd name="connsiteY6" fmla="*/ 3289859 h 5897136"/>
              <a:gd name="connsiteX7" fmla="*/ 0 w 8193114"/>
              <a:gd name="connsiteY7" fmla="*/ 149814 h 5897136"/>
              <a:gd name="connsiteX8" fmla="*/ 276546 w 8193114"/>
              <a:gd name="connsiteY8" fmla="*/ 14556 h 5897136"/>
              <a:gd name="connsiteX0" fmla="*/ 276546 w 8193114"/>
              <a:gd name="connsiteY0" fmla="*/ 14556 h 5897136"/>
              <a:gd name="connsiteX1" fmla="*/ 8185691 w 8193114"/>
              <a:gd name="connsiteY1" fmla="*/ 1988303 h 5897136"/>
              <a:gd name="connsiteX2" fmla="*/ 8193114 w 8193114"/>
              <a:gd name="connsiteY2" fmla="*/ 4033612 h 5897136"/>
              <a:gd name="connsiteX3" fmla="*/ 6899139 w 8193114"/>
              <a:gd name="connsiteY3" fmla="*/ 5897136 h 5897136"/>
              <a:gd name="connsiteX4" fmla="*/ 2123577 w 8193114"/>
              <a:gd name="connsiteY4" fmla="*/ 5883927 h 5897136"/>
              <a:gd name="connsiteX5" fmla="*/ 309020 w 8193114"/>
              <a:gd name="connsiteY5" fmla="*/ 3818909 h 5897136"/>
              <a:gd name="connsiteX6" fmla="*/ 18600 w 8193114"/>
              <a:gd name="connsiteY6" fmla="*/ 3289859 h 5897136"/>
              <a:gd name="connsiteX7" fmla="*/ 0 w 8193114"/>
              <a:gd name="connsiteY7" fmla="*/ 149814 h 5897136"/>
              <a:gd name="connsiteX8" fmla="*/ 276546 w 8193114"/>
              <a:gd name="connsiteY8" fmla="*/ 14556 h 5897136"/>
              <a:gd name="connsiteX0" fmla="*/ 270196 w 8193114"/>
              <a:gd name="connsiteY0" fmla="*/ 13136 h 5908416"/>
              <a:gd name="connsiteX1" fmla="*/ 8185691 w 8193114"/>
              <a:gd name="connsiteY1" fmla="*/ 1999583 h 5908416"/>
              <a:gd name="connsiteX2" fmla="*/ 8193114 w 8193114"/>
              <a:gd name="connsiteY2" fmla="*/ 4044892 h 5908416"/>
              <a:gd name="connsiteX3" fmla="*/ 6899139 w 8193114"/>
              <a:gd name="connsiteY3" fmla="*/ 5908416 h 5908416"/>
              <a:gd name="connsiteX4" fmla="*/ 2123577 w 8193114"/>
              <a:gd name="connsiteY4" fmla="*/ 5895207 h 5908416"/>
              <a:gd name="connsiteX5" fmla="*/ 309020 w 8193114"/>
              <a:gd name="connsiteY5" fmla="*/ 3830189 h 5908416"/>
              <a:gd name="connsiteX6" fmla="*/ 18600 w 8193114"/>
              <a:gd name="connsiteY6" fmla="*/ 3301139 h 5908416"/>
              <a:gd name="connsiteX7" fmla="*/ 0 w 8193114"/>
              <a:gd name="connsiteY7" fmla="*/ 161094 h 5908416"/>
              <a:gd name="connsiteX8" fmla="*/ 270196 w 8193114"/>
              <a:gd name="connsiteY8" fmla="*/ 13136 h 5908416"/>
              <a:gd name="connsiteX0" fmla="*/ 270196 w 8193114"/>
              <a:gd name="connsiteY0" fmla="*/ 8433 h 5903713"/>
              <a:gd name="connsiteX1" fmla="*/ 8185691 w 8193114"/>
              <a:gd name="connsiteY1" fmla="*/ 1994880 h 5903713"/>
              <a:gd name="connsiteX2" fmla="*/ 8193114 w 8193114"/>
              <a:gd name="connsiteY2" fmla="*/ 4040189 h 5903713"/>
              <a:gd name="connsiteX3" fmla="*/ 6899139 w 8193114"/>
              <a:gd name="connsiteY3" fmla="*/ 5903713 h 5903713"/>
              <a:gd name="connsiteX4" fmla="*/ 2123577 w 8193114"/>
              <a:gd name="connsiteY4" fmla="*/ 5890504 h 5903713"/>
              <a:gd name="connsiteX5" fmla="*/ 309020 w 8193114"/>
              <a:gd name="connsiteY5" fmla="*/ 3825486 h 5903713"/>
              <a:gd name="connsiteX6" fmla="*/ 18600 w 8193114"/>
              <a:gd name="connsiteY6" fmla="*/ 3296436 h 5903713"/>
              <a:gd name="connsiteX7" fmla="*/ 0 w 8193114"/>
              <a:gd name="connsiteY7" fmla="*/ 156391 h 5903713"/>
              <a:gd name="connsiteX8" fmla="*/ 270196 w 8193114"/>
              <a:gd name="connsiteY8" fmla="*/ 8433 h 5903713"/>
              <a:gd name="connsiteX0" fmla="*/ 270196 w 8186251"/>
              <a:gd name="connsiteY0" fmla="*/ 8433 h 5903713"/>
              <a:gd name="connsiteX1" fmla="*/ 8185691 w 8186251"/>
              <a:gd name="connsiteY1" fmla="*/ 1994880 h 5903713"/>
              <a:gd name="connsiteX2" fmla="*/ 8183970 w 8186251"/>
              <a:gd name="connsiteY2" fmla="*/ 4104197 h 5903713"/>
              <a:gd name="connsiteX3" fmla="*/ 6899139 w 8186251"/>
              <a:gd name="connsiteY3" fmla="*/ 5903713 h 5903713"/>
              <a:gd name="connsiteX4" fmla="*/ 2123577 w 8186251"/>
              <a:gd name="connsiteY4" fmla="*/ 5890504 h 5903713"/>
              <a:gd name="connsiteX5" fmla="*/ 309020 w 8186251"/>
              <a:gd name="connsiteY5" fmla="*/ 3825486 h 5903713"/>
              <a:gd name="connsiteX6" fmla="*/ 18600 w 8186251"/>
              <a:gd name="connsiteY6" fmla="*/ 3296436 h 5903713"/>
              <a:gd name="connsiteX7" fmla="*/ 0 w 8186251"/>
              <a:gd name="connsiteY7" fmla="*/ 156391 h 5903713"/>
              <a:gd name="connsiteX8" fmla="*/ 270196 w 8186251"/>
              <a:gd name="connsiteY8" fmla="*/ 8433 h 5903713"/>
              <a:gd name="connsiteX0" fmla="*/ 270196 w 8183970"/>
              <a:gd name="connsiteY0" fmla="*/ 8433 h 5903713"/>
              <a:gd name="connsiteX1" fmla="*/ 6654071 w 8183970"/>
              <a:gd name="connsiteY1" fmla="*/ 1613880 h 5903713"/>
              <a:gd name="connsiteX2" fmla="*/ 8183970 w 8183970"/>
              <a:gd name="connsiteY2" fmla="*/ 4104197 h 5903713"/>
              <a:gd name="connsiteX3" fmla="*/ 6899139 w 8183970"/>
              <a:gd name="connsiteY3" fmla="*/ 5903713 h 5903713"/>
              <a:gd name="connsiteX4" fmla="*/ 2123577 w 8183970"/>
              <a:gd name="connsiteY4" fmla="*/ 5890504 h 5903713"/>
              <a:gd name="connsiteX5" fmla="*/ 309020 w 8183970"/>
              <a:gd name="connsiteY5" fmla="*/ 3825486 h 5903713"/>
              <a:gd name="connsiteX6" fmla="*/ 18600 w 8183970"/>
              <a:gd name="connsiteY6" fmla="*/ 3296436 h 5903713"/>
              <a:gd name="connsiteX7" fmla="*/ 0 w 8183970"/>
              <a:gd name="connsiteY7" fmla="*/ 156391 h 5903713"/>
              <a:gd name="connsiteX8" fmla="*/ 270196 w 8183970"/>
              <a:gd name="connsiteY8" fmla="*/ 8433 h 5903713"/>
              <a:gd name="connsiteX0" fmla="*/ 270196 w 6899139"/>
              <a:gd name="connsiteY0" fmla="*/ 8433 h 5903713"/>
              <a:gd name="connsiteX1" fmla="*/ 6654071 w 6899139"/>
              <a:gd name="connsiteY1" fmla="*/ 1613880 h 5903713"/>
              <a:gd name="connsiteX2" fmla="*/ 6736170 w 6899139"/>
              <a:gd name="connsiteY2" fmla="*/ 3822257 h 5903713"/>
              <a:gd name="connsiteX3" fmla="*/ 6899139 w 6899139"/>
              <a:gd name="connsiteY3" fmla="*/ 5903713 h 5903713"/>
              <a:gd name="connsiteX4" fmla="*/ 2123577 w 6899139"/>
              <a:gd name="connsiteY4" fmla="*/ 5890504 h 5903713"/>
              <a:gd name="connsiteX5" fmla="*/ 309020 w 6899139"/>
              <a:gd name="connsiteY5" fmla="*/ 3825486 h 5903713"/>
              <a:gd name="connsiteX6" fmla="*/ 18600 w 6899139"/>
              <a:gd name="connsiteY6" fmla="*/ 3296436 h 5903713"/>
              <a:gd name="connsiteX7" fmla="*/ 0 w 6899139"/>
              <a:gd name="connsiteY7" fmla="*/ 156391 h 5903713"/>
              <a:gd name="connsiteX8" fmla="*/ 270196 w 6899139"/>
              <a:gd name="connsiteY8" fmla="*/ 8433 h 5903713"/>
              <a:gd name="connsiteX0" fmla="*/ 270196 w 6899139"/>
              <a:gd name="connsiteY0" fmla="*/ 8433 h 5903713"/>
              <a:gd name="connsiteX1" fmla="*/ 6654071 w 6899139"/>
              <a:gd name="connsiteY1" fmla="*/ 1613880 h 5903713"/>
              <a:gd name="connsiteX2" fmla="*/ 6522810 w 6899139"/>
              <a:gd name="connsiteY2" fmla="*/ 3822257 h 5903713"/>
              <a:gd name="connsiteX3" fmla="*/ 6899139 w 6899139"/>
              <a:gd name="connsiteY3" fmla="*/ 5903713 h 5903713"/>
              <a:gd name="connsiteX4" fmla="*/ 2123577 w 6899139"/>
              <a:gd name="connsiteY4" fmla="*/ 5890504 h 5903713"/>
              <a:gd name="connsiteX5" fmla="*/ 309020 w 6899139"/>
              <a:gd name="connsiteY5" fmla="*/ 3825486 h 5903713"/>
              <a:gd name="connsiteX6" fmla="*/ 18600 w 6899139"/>
              <a:gd name="connsiteY6" fmla="*/ 3296436 h 5903713"/>
              <a:gd name="connsiteX7" fmla="*/ 0 w 6899139"/>
              <a:gd name="connsiteY7" fmla="*/ 156391 h 5903713"/>
              <a:gd name="connsiteX8" fmla="*/ 270196 w 6899139"/>
              <a:gd name="connsiteY8" fmla="*/ 8433 h 5903713"/>
              <a:gd name="connsiteX0" fmla="*/ 270196 w 6899139"/>
              <a:gd name="connsiteY0" fmla="*/ 8433 h 5903713"/>
              <a:gd name="connsiteX1" fmla="*/ 6654071 w 6899139"/>
              <a:gd name="connsiteY1" fmla="*/ 1613880 h 5903713"/>
              <a:gd name="connsiteX2" fmla="*/ 6606630 w 6899139"/>
              <a:gd name="connsiteY2" fmla="*/ 3845117 h 5903713"/>
              <a:gd name="connsiteX3" fmla="*/ 6899139 w 6899139"/>
              <a:gd name="connsiteY3" fmla="*/ 5903713 h 5903713"/>
              <a:gd name="connsiteX4" fmla="*/ 2123577 w 6899139"/>
              <a:gd name="connsiteY4" fmla="*/ 5890504 h 5903713"/>
              <a:gd name="connsiteX5" fmla="*/ 309020 w 6899139"/>
              <a:gd name="connsiteY5" fmla="*/ 3825486 h 5903713"/>
              <a:gd name="connsiteX6" fmla="*/ 18600 w 6899139"/>
              <a:gd name="connsiteY6" fmla="*/ 3296436 h 5903713"/>
              <a:gd name="connsiteX7" fmla="*/ 0 w 6899139"/>
              <a:gd name="connsiteY7" fmla="*/ 156391 h 5903713"/>
              <a:gd name="connsiteX8" fmla="*/ 270196 w 6899139"/>
              <a:gd name="connsiteY8" fmla="*/ 8433 h 5903713"/>
              <a:gd name="connsiteX0" fmla="*/ 270196 w 6899139"/>
              <a:gd name="connsiteY0" fmla="*/ 8433 h 5903713"/>
              <a:gd name="connsiteX1" fmla="*/ 6608351 w 6899139"/>
              <a:gd name="connsiteY1" fmla="*/ 1613880 h 5903713"/>
              <a:gd name="connsiteX2" fmla="*/ 6606630 w 6899139"/>
              <a:gd name="connsiteY2" fmla="*/ 3845117 h 5903713"/>
              <a:gd name="connsiteX3" fmla="*/ 6899139 w 6899139"/>
              <a:gd name="connsiteY3" fmla="*/ 5903713 h 5903713"/>
              <a:gd name="connsiteX4" fmla="*/ 2123577 w 6899139"/>
              <a:gd name="connsiteY4" fmla="*/ 5890504 h 5903713"/>
              <a:gd name="connsiteX5" fmla="*/ 309020 w 6899139"/>
              <a:gd name="connsiteY5" fmla="*/ 3825486 h 5903713"/>
              <a:gd name="connsiteX6" fmla="*/ 18600 w 6899139"/>
              <a:gd name="connsiteY6" fmla="*/ 3296436 h 5903713"/>
              <a:gd name="connsiteX7" fmla="*/ 0 w 6899139"/>
              <a:gd name="connsiteY7" fmla="*/ 156391 h 5903713"/>
              <a:gd name="connsiteX8" fmla="*/ 270196 w 6899139"/>
              <a:gd name="connsiteY8" fmla="*/ 8433 h 5903713"/>
              <a:gd name="connsiteX0" fmla="*/ 270196 w 6624819"/>
              <a:gd name="connsiteY0" fmla="*/ 8433 h 5890504"/>
              <a:gd name="connsiteX1" fmla="*/ 6608351 w 6624819"/>
              <a:gd name="connsiteY1" fmla="*/ 1613880 h 5890504"/>
              <a:gd name="connsiteX2" fmla="*/ 6606630 w 6624819"/>
              <a:gd name="connsiteY2" fmla="*/ 3845117 h 5890504"/>
              <a:gd name="connsiteX3" fmla="*/ 6624819 w 6624819"/>
              <a:gd name="connsiteY3" fmla="*/ 5873233 h 5890504"/>
              <a:gd name="connsiteX4" fmla="*/ 2123577 w 6624819"/>
              <a:gd name="connsiteY4" fmla="*/ 5890504 h 5890504"/>
              <a:gd name="connsiteX5" fmla="*/ 309020 w 6624819"/>
              <a:gd name="connsiteY5" fmla="*/ 3825486 h 5890504"/>
              <a:gd name="connsiteX6" fmla="*/ 18600 w 6624819"/>
              <a:gd name="connsiteY6" fmla="*/ 3296436 h 5890504"/>
              <a:gd name="connsiteX7" fmla="*/ 0 w 6624819"/>
              <a:gd name="connsiteY7" fmla="*/ 156391 h 5890504"/>
              <a:gd name="connsiteX8" fmla="*/ 270196 w 6624819"/>
              <a:gd name="connsiteY8" fmla="*/ 8433 h 5890504"/>
              <a:gd name="connsiteX0" fmla="*/ 270196 w 6631387"/>
              <a:gd name="connsiteY0" fmla="*/ 8433 h 5890504"/>
              <a:gd name="connsiteX1" fmla="*/ 6631240 w 6631387"/>
              <a:gd name="connsiteY1" fmla="*/ 1621483 h 5890504"/>
              <a:gd name="connsiteX2" fmla="*/ 6606630 w 6631387"/>
              <a:gd name="connsiteY2" fmla="*/ 3845117 h 5890504"/>
              <a:gd name="connsiteX3" fmla="*/ 6624819 w 6631387"/>
              <a:gd name="connsiteY3" fmla="*/ 5873233 h 5890504"/>
              <a:gd name="connsiteX4" fmla="*/ 2123577 w 6631387"/>
              <a:gd name="connsiteY4" fmla="*/ 5890504 h 5890504"/>
              <a:gd name="connsiteX5" fmla="*/ 309020 w 6631387"/>
              <a:gd name="connsiteY5" fmla="*/ 3825486 h 5890504"/>
              <a:gd name="connsiteX6" fmla="*/ 18600 w 6631387"/>
              <a:gd name="connsiteY6" fmla="*/ 3296436 h 5890504"/>
              <a:gd name="connsiteX7" fmla="*/ 0 w 6631387"/>
              <a:gd name="connsiteY7" fmla="*/ 156391 h 5890504"/>
              <a:gd name="connsiteX8" fmla="*/ 270196 w 6631387"/>
              <a:gd name="connsiteY8" fmla="*/ 8433 h 5890504"/>
              <a:gd name="connsiteX0" fmla="*/ 270196 w 6638185"/>
              <a:gd name="connsiteY0" fmla="*/ 8433 h 5890504"/>
              <a:gd name="connsiteX1" fmla="*/ 6631240 w 6638185"/>
              <a:gd name="connsiteY1" fmla="*/ 1621483 h 5890504"/>
              <a:gd name="connsiteX2" fmla="*/ 6606630 w 6638185"/>
              <a:gd name="connsiteY2" fmla="*/ 3845117 h 5890504"/>
              <a:gd name="connsiteX3" fmla="*/ 6624819 w 6638185"/>
              <a:gd name="connsiteY3" fmla="*/ 5873233 h 5890504"/>
              <a:gd name="connsiteX4" fmla="*/ 2123577 w 6638185"/>
              <a:gd name="connsiteY4" fmla="*/ 5890504 h 5890504"/>
              <a:gd name="connsiteX5" fmla="*/ 309020 w 6638185"/>
              <a:gd name="connsiteY5" fmla="*/ 3825486 h 5890504"/>
              <a:gd name="connsiteX6" fmla="*/ 18600 w 6638185"/>
              <a:gd name="connsiteY6" fmla="*/ 3296436 h 5890504"/>
              <a:gd name="connsiteX7" fmla="*/ 0 w 6638185"/>
              <a:gd name="connsiteY7" fmla="*/ 156391 h 5890504"/>
              <a:gd name="connsiteX8" fmla="*/ 270196 w 6638185"/>
              <a:gd name="connsiteY8" fmla="*/ 8433 h 5890504"/>
              <a:gd name="connsiteX0" fmla="*/ 270196 w 6641587"/>
              <a:gd name="connsiteY0" fmla="*/ 8433 h 5890504"/>
              <a:gd name="connsiteX1" fmla="*/ 6631240 w 6641587"/>
              <a:gd name="connsiteY1" fmla="*/ 1621483 h 5890504"/>
              <a:gd name="connsiteX2" fmla="*/ 6629519 w 6641587"/>
              <a:gd name="connsiteY2" fmla="*/ 3784294 h 5890504"/>
              <a:gd name="connsiteX3" fmla="*/ 6624819 w 6641587"/>
              <a:gd name="connsiteY3" fmla="*/ 5873233 h 5890504"/>
              <a:gd name="connsiteX4" fmla="*/ 2123577 w 6641587"/>
              <a:gd name="connsiteY4" fmla="*/ 5890504 h 5890504"/>
              <a:gd name="connsiteX5" fmla="*/ 309020 w 6641587"/>
              <a:gd name="connsiteY5" fmla="*/ 3825486 h 5890504"/>
              <a:gd name="connsiteX6" fmla="*/ 18600 w 6641587"/>
              <a:gd name="connsiteY6" fmla="*/ 3296436 h 5890504"/>
              <a:gd name="connsiteX7" fmla="*/ 0 w 6641587"/>
              <a:gd name="connsiteY7" fmla="*/ 156391 h 5890504"/>
              <a:gd name="connsiteX8" fmla="*/ 270196 w 6641587"/>
              <a:gd name="connsiteY8" fmla="*/ 8433 h 5890504"/>
              <a:gd name="connsiteX0" fmla="*/ 270196 w 6641587"/>
              <a:gd name="connsiteY0" fmla="*/ 8433 h 5896043"/>
              <a:gd name="connsiteX1" fmla="*/ 6631240 w 6641587"/>
              <a:gd name="connsiteY1" fmla="*/ 1621483 h 5896043"/>
              <a:gd name="connsiteX2" fmla="*/ 6629519 w 6641587"/>
              <a:gd name="connsiteY2" fmla="*/ 3784294 h 5896043"/>
              <a:gd name="connsiteX3" fmla="*/ 6632449 w 6641587"/>
              <a:gd name="connsiteY3" fmla="*/ 5896043 h 5896043"/>
              <a:gd name="connsiteX4" fmla="*/ 2123577 w 6641587"/>
              <a:gd name="connsiteY4" fmla="*/ 5890504 h 5896043"/>
              <a:gd name="connsiteX5" fmla="*/ 309020 w 6641587"/>
              <a:gd name="connsiteY5" fmla="*/ 3825486 h 5896043"/>
              <a:gd name="connsiteX6" fmla="*/ 18600 w 6641587"/>
              <a:gd name="connsiteY6" fmla="*/ 3296436 h 5896043"/>
              <a:gd name="connsiteX7" fmla="*/ 0 w 6641587"/>
              <a:gd name="connsiteY7" fmla="*/ 156391 h 5896043"/>
              <a:gd name="connsiteX8" fmla="*/ 270196 w 6641587"/>
              <a:gd name="connsiteY8" fmla="*/ 8433 h 5896043"/>
              <a:gd name="connsiteX0" fmla="*/ 270196 w 6646594"/>
              <a:gd name="connsiteY0" fmla="*/ 8433 h 5896043"/>
              <a:gd name="connsiteX1" fmla="*/ 6631240 w 6646594"/>
              <a:gd name="connsiteY1" fmla="*/ 1621483 h 5896043"/>
              <a:gd name="connsiteX2" fmla="*/ 6644778 w 6646594"/>
              <a:gd name="connsiteY2" fmla="*/ 3746280 h 5896043"/>
              <a:gd name="connsiteX3" fmla="*/ 6632449 w 6646594"/>
              <a:gd name="connsiteY3" fmla="*/ 5896043 h 5896043"/>
              <a:gd name="connsiteX4" fmla="*/ 2123577 w 6646594"/>
              <a:gd name="connsiteY4" fmla="*/ 5890504 h 5896043"/>
              <a:gd name="connsiteX5" fmla="*/ 309020 w 6646594"/>
              <a:gd name="connsiteY5" fmla="*/ 3825486 h 5896043"/>
              <a:gd name="connsiteX6" fmla="*/ 18600 w 6646594"/>
              <a:gd name="connsiteY6" fmla="*/ 3296436 h 5896043"/>
              <a:gd name="connsiteX7" fmla="*/ 0 w 6646594"/>
              <a:gd name="connsiteY7" fmla="*/ 156391 h 5896043"/>
              <a:gd name="connsiteX8" fmla="*/ 270196 w 6646594"/>
              <a:gd name="connsiteY8" fmla="*/ 8433 h 5896043"/>
              <a:gd name="connsiteX0" fmla="*/ 270196 w 6652408"/>
              <a:gd name="connsiteY0" fmla="*/ 8433 h 5896043"/>
              <a:gd name="connsiteX1" fmla="*/ 6631240 w 6652408"/>
              <a:gd name="connsiteY1" fmla="*/ 1621483 h 5896043"/>
              <a:gd name="connsiteX2" fmla="*/ 6652408 w 6652408"/>
              <a:gd name="connsiteY2" fmla="*/ 3632236 h 5896043"/>
              <a:gd name="connsiteX3" fmla="*/ 6632449 w 6652408"/>
              <a:gd name="connsiteY3" fmla="*/ 5896043 h 5896043"/>
              <a:gd name="connsiteX4" fmla="*/ 2123577 w 6652408"/>
              <a:gd name="connsiteY4" fmla="*/ 5890504 h 5896043"/>
              <a:gd name="connsiteX5" fmla="*/ 309020 w 6652408"/>
              <a:gd name="connsiteY5" fmla="*/ 3825486 h 5896043"/>
              <a:gd name="connsiteX6" fmla="*/ 18600 w 6652408"/>
              <a:gd name="connsiteY6" fmla="*/ 3296436 h 5896043"/>
              <a:gd name="connsiteX7" fmla="*/ 0 w 6652408"/>
              <a:gd name="connsiteY7" fmla="*/ 156391 h 5896043"/>
              <a:gd name="connsiteX8" fmla="*/ 270196 w 6652408"/>
              <a:gd name="connsiteY8" fmla="*/ 8433 h 5896043"/>
              <a:gd name="connsiteX0" fmla="*/ 270196 w 6658862"/>
              <a:gd name="connsiteY0" fmla="*/ 8433 h 5896043"/>
              <a:gd name="connsiteX1" fmla="*/ 6646500 w 6658862"/>
              <a:gd name="connsiteY1" fmla="*/ 1629086 h 5896043"/>
              <a:gd name="connsiteX2" fmla="*/ 6652408 w 6658862"/>
              <a:gd name="connsiteY2" fmla="*/ 3632236 h 5896043"/>
              <a:gd name="connsiteX3" fmla="*/ 6632449 w 6658862"/>
              <a:gd name="connsiteY3" fmla="*/ 5896043 h 5896043"/>
              <a:gd name="connsiteX4" fmla="*/ 2123577 w 6658862"/>
              <a:gd name="connsiteY4" fmla="*/ 5890504 h 5896043"/>
              <a:gd name="connsiteX5" fmla="*/ 309020 w 6658862"/>
              <a:gd name="connsiteY5" fmla="*/ 3825486 h 5896043"/>
              <a:gd name="connsiteX6" fmla="*/ 18600 w 6658862"/>
              <a:gd name="connsiteY6" fmla="*/ 3296436 h 5896043"/>
              <a:gd name="connsiteX7" fmla="*/ 0 w 6658862"/>
              <a:gd name="connsiteY7" fmla="*/ 156391 h 5896043"/>
              <a:gd name="connsiteX8" fmla="*/ 270196 w 6658862"/>
              <a:gd name="connsiteY8" fmla="*/ 8433 h 5896043"/>
              <a:gd name="connsiteX0" fmla="*/ 270196 w 6652408"/>
              <a:gd name="connsiteY0" fmla="*/ 8433 h 5896043"/>
              <a:gd name="connsiteX1" fmla="*/ 6646500 w 6652408"/>
              <a:gd name="connsiteY1" fmla="*/ 1629086 h 5896043"/>
              <a:gd name="connsiteX2" fmla="*/ 6652408 w 6652408"/>
              <a:gd name="connsiteY2" fmla="*/ 3632236 h 5896043"/>
              <a:gd name="connsiteX3" fmla="*/ 6632449 w 6652408"/>
              <a:gd name="connsiteY3" fmla="*/ 5896043 h 5896043"/>
              <a:gd name="connsiteX4" fmla="*/ 2123577 w 6652408"/>
              <a:gd name="connsiteY4" fmla="*/ 5890504 h 5896043"/>
              <a:gd name="connsiteX5" fmla="*/ 309020 w 6652408"/>
              <a:gd name="connsiteY5" fmla="*/ 3825486 h 5896043"/>
              <a:gd name="connsiteX6" fmla="*/ 18600 w 6652408"/>
              <a:gd name="connsiteY6" fmla="*/ 3296436 h 5896043"/>
              <a:gd name="connsiteX7" fmla="*/ 0 w 6652408"/>
              <a:gd name="connsiteY7" fmla="*/ 156391 h 5896043"/>
              <a:gd name="connsiteX8" fmla="*/ 270196 w 6652408"/>
              <a:gd name="connsiteY8" fmla="*/ 8433 h 5896043"/>
              <a:gd name="connsiteX0" fmla="*/ 270196 w 6652408"/>
              <a:gd name="connsiteY0" fmla="*/ 8433 h 5896043"/>
              <a:gd name="connsiteX1" fmla="*/ 6623612 w 6652408"/>
              <a:gd name="connsiteY1" fmla="*/ 1621483 h 5896043"/>
              <a:gd name="connsiteX2" fmla="*/ 6652408 w 6652408"/>
              <a:gd name="connsiteY2" fmla="*/ 3632236 h 5896043"/>
              <a:gd name="connsiteX3" fmla="*/ 6632449 w 6652408"/>
              <a:gd name="connsiteY3" fmla="*/ 5896043 h 5896043"/>
              <a:gd name="connsiteX4" fmla="*/ 2123577 w 6652408"/>
              <a:gd name="connsiteY4" fmla="*/ 5890504 h 5896043"/>
              <a:gd name="connsiteX5" fmla="*/ 309020 w 6652408"/>
              <a:gd name="connsiteY5" fmla="*/ 3825486 h 5896043"/>
              <a:gd name="connsiteX6" fmla="*/ 18600 w 6652408"/>
              <a:gd name="connsiteY6" fmla="*/ 3296436 h 5896043"/>
              <a:gd name="connsiteX7" fmla="*/ 0 w 6652408"/>
              <a:gd name="connsiteY7" fmla="*/ 156391 h 5896043"/>
              <a:gd name="connsiteX8" fmla="*/ 270196 w 6652408"/>
              <a:gd name="connsiteY8" fmla="*/ 8433 h 5896043"/>
              <a:gd name="connsiteX0" fmla="*/ 270196 w 6632574"/>
              <a:gd name="connsiteY0" fmla="*/ 8433 h 5896043"/>
              <a:gd name="connsiteX1" fmla="*/ 6623612 w 6632574"/>
              <a:gd name="connsiteY1" fmla="*/ 1621483 h 5896043"/>
              <a:gd name="connsiteX2" fmla="*/ 6621890 w 6632574"/>
              <a:gd name="connsiteY2" fmla="*/ 3685457 h 5896043"/>
              <a:gd name="connsiteX3" fmla="*/ 6632449 w 6632574"/>
              <a:gd name="connsiteY3" fmla="*/ 5896043 h 5896043"/>
              <a:gd name="connsiteX4" fmla="*/ 2123577 w 6632574"/>
              <a:gd name="connsiteY4" fmla="*/ 5890504 h 5896043"/>
              <a:gd name="connsiteX5" fmla="*/ 309020 w 6632574"/>
              <a:gd name="connsiteY5" fmla="*/ 3825486 h 5896043"/>
              <a:gd name="connsiteX6" fmla="*/ 18600 w 6632574"/>
              <a:gd name="connsiteY6" fmla="*/ 3296436 h 5896043"/>
              <a:gd name="connsiteX7" fmla="*/ 0 w 6632574"/>
              <a:gd name="connsiteY7" fmla="*/ 156391 h 5896043"/>
              <a:gd name="connsiteX8" fmla="*/ 270196 w 6632574"/>
              <a:gd name="connsiteY8" fmla="*/ 8433 h 5896043"/>
              <a:gd name="connsiteX0" fmla="*/ 270196 w 6632574"/>
              <a:gd name="connsiteY0" fmla="*/ 8433 h 5896043"/>
              <a:gd name="connsiteX1" fmla="*/ 6601842 w 6632574"/>
              <a:gd name="connsiteY1" fmla="*/ 1716124 h 5896043"/>
              <a:gd name="connsiteX2" fmla="*/ 6621890 w 6632574"/>
              <a:gd name="connsiteY2" fmla="*/ 3685457 h 5896043"/>
              <a:gd name="connsiteX3" fmla="*/ 6632449 w 6632574"/>
              <a:gd name="connsiteY3" fmla="*/ 5896043 h 5896043"/>
              <a:gd name="connsiteX4" fmla="*/ 2123577 w 6632574"/>
              <a:gd name="connsiteY4" fmla="*/ 5890504 h 5896043"/>
              <a:gd name="connsiteX5" fmla="*/ 309020 w 6632574"/>
              <a:gd name="connsiteY5" fmla="*/ 3825486 h 5896043"/>
              <a:gd name="connsiteX6" fmla="*/ 18600 w 6632574"/>
              <a:gd name="connsiteY6" fmla="*/ 3296436 h 5896043"/>
              <a:gd name="connsiteX7" fmla="*/ 0 w 6632574"/>
              <a:gd name="connsiteY7" fmla="*/ 156391 h 5896043"/>
              <a:gd name="connsiteX8" fmla="*/ 270196 w 6632574"/>
              <a:gd name="connsiteY8" fmla="*/ 8433 h 5896043"/>
              <a:gd name="connsiteX0" fmla="*/ 270196 w 6632574"/>
              <a:gd name="connsiteY0" fmla="*/ 8433 h 5896043"/>
              <a:gd name="connsiteX1" fmla="*/ 6601842 w 6632574"/>
              <a:gd name="connsiteY1" fmla="*/ 1716124 h 5896043"/>
              <a:gd name="connsiteX2" fmla="*/ 6621890 w 6632574"/>
              <a:gd name="connsiteY2" fmla="*/ 3685457 h 5896043"/>
              <a:gd name="connsiteX3" fmla="*/ 6632449 w 6632574"/>
              <a:gd name="connsiteY3" fmla="*/ 5896043 h 5896043"/>
              <a:gd name="connsiteX4" fmla="*/ 2123577 w 6632574"/>
              <a:gd name="connsiteY4" fmla="*/ 5890504 h 5896043"/>
              <a:gd name="connsiteX5" fmla="*/ 309020 w 6632574"/>
              <a:gd name="connsiteY5" fmla="*/ 3825486 h 5896043"/>
              <a:gd name="connsiteX6" fmla="*/ 18600 w 6632574"/>
              <a:gd name="connsiteY6" fmla="*/ 3296436 h 5896043"/>
              <a:gd name="connsiteX7" fmla="*/ 0 w 6632574"/>
              <a:gd name="connsiteY7" fmla="*/ 156391 h 5896043"/>
              <a:gd name="connsiteX8" fmla="*/ 270196 w 6632574"/>
              <a:gd name="connsiteY8" fmla="*/ 8433 h 5896043"/>
              <a:gd name="connsiteX0" fmla="*/ 270196 w 6632574"/>
              <a:gd name="connsiteY0" fmla="*/ 8433 h 5896043"/>
              <a:gd name="connsiteX1" fmla="*/ 6587330 w 6632574"/>
              <a:gd name="connsiteY1" fmla="*/ 1939207 h 5896043"/>
              <a:gd name="connsiteX2" fmla="*/ 6621890 w 6632574"/>
              <a:gd name="connsiteY2" fmla="*/ 3685457 h 5896043"/>
              <a:gd name="connsiteX3" fmla="*/ 6632449 w 6632574"/>
              <a:gd name="connsiteY3" fmla="*/ 5896043 h 5896043"/>
              <a:gd name="connsiteX4" fmla="*/ 2123577 w 6632574"/>
              <a:gd name="connsiteY4" fmla="*/ 5890504 h 5896043"/>
              <a:gd name="connsiteX5" fmla="*/ 309020 w 6632574"/>
              <a:gd name="connsiteY5" fmla="*/ 3825486 h 5896043"/>
              <a:gd name="connsiteX6" fmla="*/ 18600 w 6632574"/>
              <a:gd name="connsiteY6" fmla="*/ 3296436 h 5896043"/>
              <a:gd name="connsiteX7" fmla="*/ 0 w 6632574"/>
              <a:gd name="connsiteY7" fmla="*/ 156391 h 5896043"/>
              <a:gd name="connsiteX8" fmla="*/ 270196 w 6632574"/>
              <a:gd name="connsiteY8" fmla="*/ 8433 h 5896043"/>
              <a:gd name="connsiteX0" fmla="*/ 270196 w 6632574"/>
              <a:gd name="connsiteY0" fmla="*/ 8433 h 5896043"/>
              <a:gd name="connsiteX1" fmla="*/ 6587330 w 6632574"/>
              <a:gd name="connsiteY1" fmla="*/ 1939207 h 5896043"/>
              <a:gd name="connsiteX2" fmla="*/ 6621890 w 6632574"/>
              <a:gd name="connsiteY2" fmla="*/ 3685457 h 5896043"/>
              <a:gd name="connsiteX3" fmla="*/ 6632449 w 6632574"/>
              <a:gd name="connsiteY3" fmla="*/ 5896043 h 5896043"/>
              <a:gd name="connsiteX4" fmla="*/ 2123577 w 6632574"/>
              <a:gd name="connsiteY4" fmla="*/ 5890504 h 5896043"/>
              <a:gd name="connsiteX5" fmla="*/ 309020 w 6632574"/>
              <a:gd name="connsiteY5" fmla="*/ 3825486 h 5896043"/>
              <a:gd name="connsiteX6" fmla="*/ 18600 w 6632574"/>
              <a:gd name="connsiteY6" fmla="*/ 3296436 h 5896043"/>
              <a:gd name="connsiteX7" fmla="*/ 0 w 6632574"/>
              <a:gd name="connsiteY7" fmla="*/ 156391 h 5896043"/>
              <a:gd name="connsiteX8" fmla="*/ 270196 w 6632574"/>
              <a:gd name="connsiteY8" fmla="*/ 8433 h 5896043"/>
              <a:gd name="connsiteX0" fmla="*/ 270196 w 6632574"/>
              <a:gd name="connsiteY0" fmla="*/ 8433 h 5896043"/>
              <a:gd name="connsiteX1" fmla="*/ 6580073 w 6632574"/>
              <a:gd name="connsiteY1" fmla="*/ 2027089 h 5896043"/>
              <a:gd name="connsiteX2" fmla="*/ 6621890 w 6632574"/>
              <a:gd name="connsiteY2" fmla="*/ 3685457 h 5896043"/>
              <a:gd name="connsiteX3" fmla="*/ 6632449 w 6632574"/>
              <a:gd name="connsiteY3" fmla="*/ 5896043 h 5896043"/>
              <a:gd name="connsiteX4" fmla="*/ 2123577 w 6632574"/>
              <a:gd name="connsiteY4" fmla="*/ 5890504 h 5896043"/>
              <a:gd name="connsiteX5" fmla="*/ 309020 w 6632574"/>
              <a:gd name="connsiteY5" fmla="*/ 3825486 h 5896043"/>
              <a:gd name="connsiteX6" fmla="*/ 18600 w 6632574"/>
              <a:gd name="connsiteY6" fmla="*/ 3296436 h 5896043"/>
              <a:gd name="connsiteX7" fmla="*/ 0 w 6632574"/>
              <a:gd name="connsiteY7" fmla="*/ 156391 h 5896043"/>
              <a:gd name="connsiteX8" fmla="*/ 270196 w 6632574"/>
              <a:gd name="connsiteY8" fmla="*/ 8433 h 5896043"/>
              <a:gd name="connsiteX0" fmla="*/ 270196 w 6632574"/>
              <a:gd name="connsiteY0" fmla="*/ 8433 h 5896043"/>
              <a:gd name="connsiteX1" fmla="*/ 6586829 w 6632574"/>
              <a:gd name="connsiteY1" fmla="*/ 1983031 h 5896043"/>
              <a:gd name="connsiteX2" fmla="*/ 6621890 w 6632574"/>
              <a:gd name="connsiteY2" fmla="*/ 3685457 h 5896043"/>
              <a:gd name="connsiteX3" fmla="*/ 6632449 w 6632574"/>
              <a:gd name="connsiteY3" fmla="*/ 5896043 h 5896043"/>
              <a:gd name="connsiteX4" fmla="*/ 2123577 w 6632574"/>
              <a:gd name="connsiteY4" fmla="*/ 5890504 h 5896043"/>
              <a:gd name="connsiteX5" fmla="*/ 309020 w 6632574"/>
              <a:gd name="connsiteY5" fmla="*/ 3825486 h 5896043"/>
              <a:gd name="connsiteX6" fmla="*/ 18600 w 6632574"/>
              <a:gd name="connsiteY6" fmla="*/ 3296436 h 5896043"/>
              <a:gd name="connsiteX7" fmla="*/ 0 w 6632574"/>
              <a:gd name="connsiteY7" fmla="*/ 156391 h 5896043"/>
              <a:gd name="connsiteX8" fmla="*/ 270196 w 6632574"/>
              <a:gd name="connsiteY8" fmla="*/ 8433 h 5896043"/>
              <a:gd name="connsiteX0" fmla="*/ 270196 w 6632574"/>
              <a:gd name="connsiteY0" fmla="*/ 8433 h 5896043"/>
              <a:gd name="connsiteX1" fmla="*/ 6586829 w 6632574"/>
              <a:gd name="connsiteY1" fmla="*/ 1983031 h 5896043"/>
              <a:gd name="connsiteX2" fmla="*/ 6621890 w 6632574"/>
              <a:gd name="connsiteY2" fmla="*/ 3685457 h 5896043"/>
              <a:gd name="connsiteX3" fmla="*/ 6632449 w 6632574"/>
              <a:gd name="connsiteY3" fmla="*/ 5896043 h 5896043"/>
              <a:gd name="connsiteX4" fmla="*/ 2123577 w 6632574"/>
              <a:gd name="connsiteY4" fmla="*/ 5890504 h 5896043"/>
              <a:gd name="connsiteX5" fmla="*/ 309020 w 6632574"/>
              <a:gd name="connsiteY5" fmla="*/ 3825486 h 5896043"/>
              <a:gd name="connsiteX6" fmla="*/ 18600 w 6632574"/>
              <a:gd name="connsiteY6" fmla="*/ 3296436 h 5896043"/>
              <a:gd name="connsiteX7" fmla="*/ 0 w 6632574"/>
              <a:gd name="connsiteY7" fmla="*/ 156391 h 5896043"/>
              <a:gd name="connsiteX8" fmla="*/ 270196 w 6632574"/>
              <a:gd name="connsiteY8" fmla="*/ 8433 h 5896043"/>
              <a:gd name="connsiteX0" fmla="*/ 270196 w 6632574"/>
              <a:gd name="connsiteY0" fmla="*/ 8433 h 5896043"/>
              <a:gd name="connsiteX1" fmla="*/ 6586829 w 6632574"/>
              <a:gd name="connsiteY1" fmla="*/ 1983031 h 5896043"/>
              <a:gd name="connsiteX2" fmla="*/ 6621890 w 6632574"/>
              <a:gd name="connsiteY2" fmla="*/ 3685457 h 5896043"/>
              <a:gd name="connsiteX3" fmla="*/ 6632449 w 6632574"/>
              <a:gd name="connsiteY3" fmla="*/ 5896043 h 5896043"/>
              <a:gd name="connsiteX4" fmla="*/ 2123577 w 6632574"/>
              <a:gd name="connsiteY4" fmla="*/ 5890504 h 5896043"/>
              <a:gd name="connsiteX5" fmla="*/ 309020 w 6632574"/>
              <a:gd name="connsiteY5" fmla="*/ 3825486 h 5896043"/>
              <a:gd name="connsiteX6" fmla="*/ 18600 w 6632574"/>
              <a:gd name="connsiteY6" fmla="*/ 3296436 h 5896043"/>
              <a:gd name="connsiteX7" fmla="*/ 0 w 6632574"/>
              <a:gd name="connsiteY7" fmla="*/ 156391 h 5896043"/>
              <a:gd name="connsiteX8" fmla="*/ 270196 w 6632574"/>
              <a:gd name="connsiteY8" fmla="*/ 8433 h 5896043"/>
              <a:gd name="connsiteX0" fmla="*/ 270196 w 6632574"/>
              <a:gd name="connsiteY0" fmla="*/ 8433 h 5896043"/>
              <a:gd name="connsiteX1" fmla="*/ 6586829 w 6632574"/>
              <a:gd name="connsiteY1" fmla="*/ 1983031 h 5896043"/>
              <a:gd name="connsiteX2" fmla="*/ 6621890 w 6632574"/>
              <a:gd name="connsiteY2" fmla="*/ 3685457 h 5896043"/>
              <a:gd name="connsiteX3" fmla="*/ 6632449 w 6632574"/>
              <a:gd name="connsiteY3" fmla="*/ 5896043 h 5896043"/>
              <a:gd name="connsiteX4" fmla="*/ 2123577 w 6632574"/>
              <a:gd name="connsiteY4" fmla="*/ 5890504 h 5896043"/>
              <a:gd name="connsiteX5" fmla="*/ 309020 w 6632574"/>
              <a:gd name="connsiteY5" fmla="*/ 3825486 h 5896043"/>
              <a:gd name="connsiteX6" fmla="*/ 18600 w 6632574"/>
              <a:gd name="connsiteY6" fmla="*/ 3296436 h 5896043"/>
              <a:gd name="connsiteX7" fmla="*/ 0 w 6632574"/>
              <a:gd name="connsiteY7" fmla="*/ 156391 h 5896043"/>
              <a:gd name="connsiteX8" fmla="*/ 270196 w 6632574"/>
              <a:gd name="connsiteY8" fmla="*/ 8433 h 5896043"/>
              <a:gd name="connsiteX0" fmla="*/ 270196 w 6632574"/>
              <a:gd name="connsiteY0" fmla="*/ 8433 h 5896043"/>
              <a:gd name="connsiteX1" fmla="*/ 6586829 w 6632574"/>
              <a:gd name="connsiteY1" fmla="*/ 1983031 h 5896043"/>
              <a:gd name="connsiteX2" fmla="*/ 6621890 w 6632574"/>
              <a:gd name="connsiteY2" fmla="*/ 3685457 h 5896043"/>
              <a:gd name="connsiteX3" fmla="*/ 6632449 w 6632574"/>
              <a:gd name="connsiteY3" fmla="*/ 5896043 h 5896043"/>
              <a:gd name="connsiteX4" fmla="*/ 2123577 w 6632574"/>
              <a:gd name="connsiteY4" fmla="*/ 5890504 h 5896043"/>
              <a:gd name="connsiteX5" fmla="*/ 309020 w 6632574"/>
              <a:gd name="connsiteY5" fmla="*/ 3825486 h 5896043"/>
              <a:gd name="connsiteX6" fmla="*/ 18600 w 6632574"/>
              <a:gd name="connsiteY6" fmla="*/ 3296436 h 5896043"/>
              <a:gd name="connsiteX7" fmla="*/ 0 w 6632574"/>
              <a:gd name="connsiteY7" fmla="*/ 156391 h 5896043"/>
              <a:gd name="connsiteX8" fmla="*/ 270196 w 6632574"/>
              <a:gd name="connsiteY8" fmla="*/ 8433 h 5896043"/>
              <a:gd name="connsiteX0" fmla="*/ 270196 w 6621890"/>
              <a:gd name="connsiteY0" fmla="*/ 8433 h 5890504"/>
              <a:gd name="connsiteX1" fmla="*/ 6586829 w 6621890"/>
              <a:gd name="connsiteY1" fmla="*/ 1983031 h 5890504"/>
              <a:gd name="connsiteX2" fmla="*/ 6621890 w 6621890"/>
              <a:gd name="connsiteY2" fmla="*/ 3685457 h 5890504"/>
              <a:gd name="connsiteX3" fmla="*/ 6604459 w 6621890"/>
              <a:gd name="connsiteY3" fmla="*/ 5496233 h 5890504"/>
              <a:gd name="connsiteX4" fmla="*/ 2123577 w 6621890"/>
              <a:gd name="connsiteY4" fmla="*/ 5890504 h 5890504"/>
              <a:gd name="connsiteX5" fmla="*/ 309020 w 6621890"/>
              <a:gd name="connsiteY5" fmla="*/ 3825486 h 5890504"/>
              <a:gd name="connsiteX6" fmla="*/ 18600 w 6621890"/>
              <a:gd name="connsiteY6" fmla="*/ 3296436 h 5890504"/>
              <a:gd name="connsiteX7" fmla="*/ 0 w 6621890"/>
              <a:gd name="connsiteY7" fmla="*/ 156391 h 5890504"/>
              <a:gd name="connsiteX8" fmla="*/ 270196 w 6621890"/>
              <a:gd name="connsiteY8" fmla="*/ 8433 h 5890504"/>
              <a:gd name="connsiteX0" fmla="*/ 270196 w 6621890"/>
              <a:gd name="connsiteY0" fmla="*/ 8433 h 5890504"/>
              <a:gd name="connsiteX1" fmla="*/ 6586829 w 6621890"/>
              <a:gd name="connsiteY1" fmla="*/ 1983031 h 5890504"/>
              <a:gd name="connsiteX2" fmla="*/ 6621890 w 6621890"/>
              <a:gd name="connsiteY2" fmla="*/ 3685457 h 5890504"/>
              <a:gd name="connsiteX3" fmla="*/ 6557809 w 6621890"/>
              <a:gd name="connsiteY3" fmla="*/ 5617914 h 5890504"/>
              <a:gd name="connsiteX4" fmla="*/ 2123577 w 6621890"/>
              <a:gd name="connsiteY4" fmla="*/ 5890504 h 5890504"/>
              <a:gd name="connsiteX5" fmla="*/ 309020 w 6621890"/>
              <a:gd name="connsiteY5" fmla="*/ 3825486 h 5890504"/>
              <a:gd name="connsiteX6" fmla="*/ 18600 w 6621890"/>
              <a:gd name="connsiteY6" fmla="*/ 3296436 h 5890504"/>
              <a:gd name="connsiteX7" fmla="*/ 0 w 6621890"/>
              <a:gd name="connsiteY7" fmla="*/ 156391 h 5890504"/>
              <a:gd name="connsiteX8" fmla="*/ 270196 w 6621890"/>
              <a:gd name="connsiteY8" fmla="*/ 8433 h 5890504"/>
              <a:gd name="connsiteX0" fmla="*/ 270196 w 6586829"/>
              <a:gd name="connsiteY0" fmla="*/ 8433 h 5890504"/>
              <a:gd name="connsiteX1" fmla="*/ 6586829 w 6586829"/>
              <a:gd name="connsiteY1" fmla="*/ 1983031 h 5890504"/>
              <a:gd name="connsiteX2" fmla="*/ 6556580 w 6586829"/>
              <a:gd name="connsiteY2" fmla="*/ 3694149 h 5890504"/>
              <a:gd name="connsiteX3" fmla="*/ 6557809 w 6586829"/>
              <a:gd name="connsiteY3" fmla="*/ 5617914 h 5890504"/>
              <a:gd name="connsiteX4" fmla="*/ 2123577 w 6586829"/>
              <a:gd name="connsiteY4" fmla="*/ 5890504 h 5890504"/>
              <a:gd name="connsiteX5" fmla="*/ 309020 w 6586829"/>
              <a:gd name="connsiteY5" fmla="*/ 3825486 h 5890504"/>
              <a:gd name="connsiteX6" fmla="*/ 18600 w 6586829"/>
              <a:gd name="connsiteY6" fmla="*/ 3296436 h 5890504"/>
              <a:gd name="connsiteX7" fmla="*/ 0 w 6586829"/>
              <a:gd name="connsiteY7" fmla="*/ 156391 h 5890504"/>
              <a:gd name="connsiteX8" fmla="*/ 270196 w 6586829"/>
              <a:gd name="connsiteY8" fmla="*/ 8433 h 5890504"/>
              <a:gd name="connsiteX0" fmla="*/ 270196 w 6586829"/>
              <a:gd name="connsiteY0" fmla="*/ 8433 h 5655832"/>
              <a:gd name="connsiteX1" fmla="*/ 6586829 w 6586829"/>
              <a:gd name="connsiteY1" fmla="*/ 1983031 h 5655832"/>
              <a:gd name="connsiteX2" fmla="*/ 6556580 w 6586829"/>
              <a:gd name="connsiteY2" fmla="*/ 3694149 h 5655832"/>
              <a:gd name="connsiteX3" fmla="*/ 6557809 w 6586829"/>
              <a:gd name="connsiteY3" fmla="*/ 5617914 h 5655832"/>
              <a:gd name="connsiteX4" fmla="*/ 1918318 w 6586829"/>
              <a:gd name="connsiteY4" fmla="*/ 5655832 h 5655832"/>
              <a:gd name="connsiteX5" fmla="*/ 309020 w 6586829"/>
              <a:gd name="connsiteY5" fmla="*/ 3825486 h 5655832"/>
              <a:gd name="connsiteX6" fmla="*/ 18600 w 6586829"/>
              <a:gd name="connsiteY6" fmla="*/ 3296436 h 5655832"/>
              <a:gd name="connsiteX7" fmla="*/ 0 w 6586829"/>
              <a:gd name="connsiteY7" fmla="*/ 156391 h 5655832"/>
              <a:gd name="connsiteX8" fmla="*/ 270196 w 6586829"/>
              <a:gd name="connsiteY8" fmla="*/ 8433 h 5655832"/>
              <a:gd name="connsiteX0" fmla="*/ 270196 w 6586829"/>
              <a:gd name="connsiteY0" fmla="*/ 8433 h 5655832"/>
              <a:gd name="connsiteX1" fmla="*/ 6586829 w 6586829"/>
              <a:gd name="connsiteY1" fmla="*/ 1983031 h 5655832"/>
              <a:gd name="connsiteX2" fmla="*/ 6556580 w 6586829"/>
              <a:gd name="connsiteY2" fmla="*/ 3694149 h 5655832"/>
              <a:gd name="connsiteX3" fmla="*/ 6548480 w 6586829"/>
              <a:gd name="connsiteY3" fmla="*/ 5617914 h 5655832"/>
              <a:gd name="connsiteX4" fmla="*/ 1918318 w 6586829"/>
              <a:gd name="connsiteY4" fmla="*/ 5655832 h 5655832"/>
              <a:gd name="connsiteX5" fmla="*/ 309020 w 6586829"/>
              <a:gd name="connsiteY5" fmla="*/ 3825486 h 5655832"/>
              <a:gd name="connsiteX6" fmla="*/ 18600 w 6586829"/>
              <a:gd name="connsiteY6" fmla="*/ 3296436 h 5655832"/>
              <a:gd name="connsiteX7" fmla="*/ 0 w 6586829"/>
              <a:gd name="connsiteY7" fmla="*/ 156391 h 5655832"/>
              <a:gd name="connsiteX8" fmla="*/ 270196 w 6586829"/>
              <a:gd name="connsiteY8" fmla="*/ 8433 h 5655832"/>
              <a:gd name="connsiteX0" fmla="*/ 270196 w 6586829"/>
              <a:gd name="connsiteY0" fmla="*/ 8433 h 5655832"/>
              <a:gd name="connsiteX1" fmla="*/ 6586829 w 6586829"/>
              <a:gd name="connsiteY1" fmla="*/ 1983031 h 5655832"/>
              <a:gd name="connsiteX2" fmla="*/ 6556580 w 6586829"/>
              <a:gd name="connsiteY2" fmla="*/ 3694149 h 5655832"/>
              <a:gd name="connsiteX3" fmla="*/ 6548480 w 6586829"/>
              <a:gd name="connsiteY3" fmla="*/ 5617914 h 5655832"/>
              <a:gd name="connsiteX4" fmla="*/ 1918318 w 6586829"/>
              <a:gd name="connsiteY4" fmla="*/ 5655832 h 5655832"/>
              <a:gd name="connsiteX5" fmla="*/ 309020 w 6586829"/>
              <a:gd name="connsiteY5" fmla="*/ 3825486 h 5655832"/>
              <a:gd name="connsiteX6" fmla="*/ 18600 w 6586829"/>
              <a:gd name="connsiteY6" fmla="*/ 3296436 h 5655832"/>
              <a:gd name="connsiteX7" fmla="*/ 0 w 6586829"/>
              <a:gd name="connsiteY7" fmla="*/ 156391 h 5655832"/>
              <a:gd name="connsiteX8" fmla="*/ 270196 w 6586829"/>
              <a:gd name="connsiteY8" fmla="*/ 8433 h 5655832"/>
              <a:gd name="connsiteX0" fmla="*/ 270196 w 6586829"/>
              <a:gd name="connsiteY0" fmla="*/ 8433 h 5629757"/>
              <a:gd name="connsiteX1" fmla="*/ 6586829 w 6586829"/>
              <a:gd name="connsiteY1" fmla="*/ 1983031 h 5629757"/>
              <a:gd name="connsiteX2" fmla="*/ 6556580 w 6586829"/>
              <a:gd name="connsiteY2" fmla="*/ 3694149 h 5629757"/>
              <a:gd name="connsiteX3" fmla="*/ 6548480 w 6586829"/>
              <a:gd name="connsiteY3" fmla="*/ 5617914 h 5629757"/>
              <a:gd name="connsiteX4" fmla="*/ 1899659 w 6586829"/>
              <a:gd name="connsiteY4" fmla="*/ 5629757 h 5629757"/>
              <a:gd name="connsiteX5" fmla="*/ 309020 w 6586829"/>
              <a:gd name="connsiteY5" fmla="*/ 3825486 h 5629757"/>
              <a:gd name="connsiteX6" fmla="*/ 18600 w 6586829"/>
              <a:gd name="connsiteY6" fmla="*/ 3296436 h 5629757"/>
              <a:gd name="connsiteX7" fmla="*/ 0 w 6586829"/>
              <a:gd name="connsiteY7" fmla="*/ 156391 h 5629757"/>
              <a:gd name="connsiteX8" fmla="*/ 270196 w 6586829"/>
              <a:gd name="connsiteY8" fmla="*/ 8433 h 5629757"/>
              <a:gd name="connsiteX0" fmla="*/ 270196 w 6586829"/>
              <a:gd name="connsiteY0" fmla="*/ 8433 h 5629757"/>
              <a:gd name="connsiteX1" fmla="*/ 6586829 w 6586829"/>
              <a:gd name="connsiteY1" fmla="*/ 1983031 h 5629757"/>
              <a:gd name="connsiteX2" fmla="*/ 6575240 w 6586829"/>
              <a:gd name="connsiteY2" fmla="*/ 3624616 h 5629757"/>
              <a:gd name="connsiteX3" fmla="*/ 6548480 w 6586829"/>
              <a:gd name="connsiteY3" fmla="*/ 5617914 h 5629757"/>
              <a:gd name="connsiteX4" fmla="*/ 1899659 w 6586829"/>
              <a:gd name="connsiteY4" fmla="*/ 5629757 h 5629757"/>
              <a:gd name="connsiteX5" fmla="*/ 309020 w 6586829"/>
              <a:gd name="connsiteY5" fmla="*/ 3825486 h 5629757"/>
              <a:gd name="connsiteX6" fmla="*/ 18600 w 6586829"/>
              <a:gd name="connsiteY6" fmla="*/ 3296436 h 5629757"/>
              <a:gd name="connsiteX7" fmla="*/ 0 w 6586829"/>
              <a:gd name="connsiteY7" fmla="*/ 156391 h 5629757"/>
              <a:gd name="connsiteX8" fmla="*/ 270196 w 6586829"/>
              <a:gd name="connsiteY8" fmla="*/ 8433 h 5629757"/>
              <a:gd name="connsiteX0" fmla="*/ 270196 w 6575240"/>
              <a:gd name="connsiteY0" fmla="*/ 8433 h 5629757"/>
              <a:gd name="connsiteX1" fmla="*/ 6549509 w 6575240"/>
              <a:gd name="connsiteY1" fmla="*/ 1974340 h 5629757"/>
              <a:gd name="connsiteX2" fmla="*/ 6575240 w 6575240"/>
              <a:gd name="connsiteY2" fmla="*/ 3624616 h 5629757"/>
              <a:gd name="connsiteX3" fmla="*/ 6548480 w 6575240"/>
              <a:gd name="connsiteY3" fmla="*/ 5617914 h 5629757"/>
              <a:gd name="connsiteX4" fmla="*/ 1899659 w 6575240"/>
              <a:gd name="connsiteY4" fmla="*/ 5629757 h 5629757"/>
              <a:gd name="connsiteX5" fmla="*/ 309020 w 6575240"/>
              <a:gd name="connsiteY5" fmla="*/ 3825486 h 5629757"/>
              <a:gd name="connsiteX6" fmla="*/ 18600 w 6575240"/>
              <a:gd name="connsiteY6" fmla="*/ 3296436 h 5629757"/>
              <a:gd name="connsiteX7" fmla="*/ 0 w 6575240"/>
              <a:gd name="connsiteY7" fmla="*/ 156391 h 5629757"/>
              <a:gd name="connsiteX8" fmla="*/ 270196 w 6575240"/>
              <a:gd name="connsiteY8" fmla="*/ 8433 h 5629757"/>
              <a:gd name="connsiteX0" fmla="*/ 270196 w 6549509"/>
              <a:gd name="connsiteY0" fmla="*/ 8433 h 5629757"/>
              <a:gd name="connsiteX1" fmla="*/ 6549509 w 6549509"/>
              <a:gd name="connsiteY1" fmla="*/ 1974340 h 5629757"/>
              <a:gd name="connsiteX2" fmla="*/ 6547250 w 6549509"/>
              <a:gd name="connsiteY2" fmla="*/ 3572468 h 5629757"/>
              <a:gd name="connsiteX3" fmla="*/ 6548480 w 6549509"/>
              <a:gd name="connsiteY3" fmla="*/ 5617914 h 5629757"/>
              <a:gd name="connsiteX4" fmla="*/ 1899659 w 6549509"/>
              <a:gd name="connsiteY4" fmla="*/ 5629757 h 5629757"/>
              <a:gd name="connsiteX5" fmla="*/ 309020 w 6549509"/>
              <a:gd name="connsiteY5" fmla="*/ 3825486 h 5629757"/>
              <a:gd name="connsiteX6" fmla="*/ 18600 w 6549509"/>
              <a:gd name="connsiteY6" fmla="*/ 3296436 h 5629757"/>
              <a:gd name="connsiteX7" fmla="*/ 0 w 6549509"/>
              <a:gd name="connsiteY7" fmla="*/ 156391 h 5629757"/>
              <a:gd name="connsiteX8" fmla="*/ 270196 w 6549509"/>
              <a:gd name="connsiteY8" fmla="*/ 8433 h 5629757"/>
              <a:gd name="connsiteX0" fmla="*/ 270196 w 6558839"/>
              <a:gd name="connsiteY0" fmla="*/ 8433 h 5629757"/>
              <a:gd name="connsiteX1" fmla="*/ 6558839 w 6558839"/>
              <a:gd name="connsiteY1" fmla="*/ 1965648 h 5629757"/>
              <a:gd name="connsiteX2" fmla="*/ 6547250 w 6558839"/>
              <a:gd name="connsiteY2" fmla="*/ 3572468 h 5629757"/>
              <a:gd name="connsiteX3" fmla="*/ 6548480 w 6558839"/>
              <a:gd name="connsiteY3" fmla="*/ 5617914 h 5629757"/>
              <a:gd name="connsiteX4" fmla="*/ 1899659 w 6558839"/>
              <a:gd name="connsiteY4" fmla="*/ 5629757 h 5629757"/>
              <a:gd name="connsiteX5" fmla="*/ 309020 w 6558839"/>
              <a:gd name="connsiteY5" fmla="*/ 3825486 h 5629757"/>
              <a:gd name="connsiteX6" fmla="*/ 18600 w 6558839"/>
              <a:gd name="connsiteY6" fmla="*/ 3296436 h 5629757"/>
              <a:gd name="connsiteX7" fmla="*/ 0 w 6558839"/>
              <a:gd name="connsiteY7" fmla="*/ 156391 h 5629757"/>
              <a:gd name="connsiteX8" fmla="*/ 270196 w 6558839"/>
              <a:gd name="connsiteY8" fmla="*/ 8433 h 5629757"/>
              <a:gd name="connsiteX0" fmla="*/ 270196 w 6558839"/>
              <a:gd name="connsiteY0" fmla="*/ 8433 h 5629757"/>
              <a:gd name="connsiteX1" fmla="*/ 6558839 w 6558839"/>
              <a:gd name="connsiteY1" fmla="*/ 1965648 h 5629757"/>
              <a:gd name="connsiteX2" fmla="*/ 6557146 w 6558839"/>
              <a:gd name="connsiteY2" fmla="*/ 3567859 h 5629757"/>
              <a:gd name="connsiteX3" fmla="*/ 6548480 w 6558839"/>
              <a:gd name="connsiteY3" fmla="*/ 5617914 h 5629757"/>
              <a:gd name="connsiteX4" fmla="*/ 1899659 w 6558839"/>
              <a:gd name="connsiteY4" fmla="*/ 5629757 h 5629757"/>
              <a:gd name="connsiteX5" fmla="*/ 309020 w 6558839"/>
              <a:gd name="connsiteY5" fmla="*/ 3825486 h 5629757"/>
              <a:gd name="connsiteX6" fmla="*/ 18600 w 6558839"/>
              <a:gd name="connsiteY6" fmla="*/ 3296436 h 5629757"/>
              <a:gd name="connsiteX7" fmla="*/ 0 w 6558839"/>
              <a:gd name="connsiteY7" fmla="*/ 156391 h 5629757"/>
              <a:gd name="connsiteX8" fmla="*/ 270196 w 6558839"/>
              <a:gd name="connsiteY8" fmla="*/ 8433 h 562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8839" h="5629757">
                <a:moveTo>
                  <a:pt x="270196" y="8433"/>
                </a:moveTo>
                <a:lnTo>
                  <a:pt x="6558839" y="1965648"/>
                </a:lnTo>
                <a:cubicBezTo>
                  <a:pt x="6553684" y="2651709"/>
                  <a:pt x="6558873" y="2959148"/>
                  <a:pt x="6557146" y="3567859"/>
                </a:cubicBezTo>
                <a:cubicBezTo>
                  <a:pt x="6555420" y="4176570"/>
                  <a:pt x="6550047" y="4921601"/>
                  <a:pt x="6548480" y="5617914"/>
                </a:cubicBezTo>
                <a:lnTo>
                  <a:pt x="1899659" y="5629757"/>
                </a:lnTo>
                <a:lnTo>
                  <a:pt x="309020" y="3825486"/>
                </a:lnTo>
                <a:cubicBezTo>
                  <a:pt x="58218" y="3553257"/>
                  <a:pt x="36245" y="3529933"/>
                  <a:pt x="18600" y="3296436"/>
                </a:cubicBezTo>
                <a:cubicBezTo>
                  <a:pt x="12400" y="2249754"/>
                  <a:pt x="6200" y="917323"/>
                  <a:pt x="0" y="156391"/>
                </a:cubicBezTo>
                <a:cubicBezTo>
                  <a:pt x="22536" y="40840"/>
                  <a:pt x="70892" y="-24258"/>
                  <a:pt x="270196" y="8433"/>
                </a:cubicBezTo>
                <a:close/>
              </a:path>
            </a:pathLst>
          </a:custGeom>
          <a:blipFill dpi="0" rotWithShape="0">
            <a:blip r:embed="rId4" cstate="print">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pic>
        <p:nvPicPr>
          <p:cNvPr id="14" name="Graphic 13">
            <a:extLst>
              <a:ext uri="{FF2B5EF4-FFF2-40B4-BE49-F238E27FC236}">
                <a16:creationId xmlns:a16="http://schemas.microsoft.com/office/drawing/2014/main" id="{6848D548-3023-3B40-A731-C054E542FD5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0000" y="360000"/>
            <a:ext cx="1828800" cy="660400"/>
          </a:xfrm>
          <a:prstGeom prst="rect">
            <a:avLst/>
          </a:prstGeom>
        </p:spPr>
      </p:pic>
    </p:spTree>
    <p:extLst>
      <p:ext uri="{BB962C8B-B14F-4D97-AF65-F5344CB8AC3E}">
        <p14:creationId xmlns:p14="http://schemas.microsoft.com/office/powerpoint/2010/main" val="2787665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IA_Section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35A2ABB-4855-FB4F-849A-A8ABFB65E75C}"/>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1">
            <a:extLst>
              <a:ext uri="{FF2B5EF4-FFF2-40B4-BE49-F238E27FC236}">
                <a16:creationId xmlns:a16="http://schemas.microsoft.com/office/drawing/2014/main" id="{5AD99026-7E0D-414A-9B25-871F20E60D98}"/>
              </a:ext>
            </a:extLst>
          </p:cNvPr>
          <p:cNvSpPr>
            <a:spLocks noGrp="1"/>
          </p:cNvSpPr>
          <p:nvPr>
            <p:ph type="body" sz="quarter" idx="10" hasCustomPrompt="1"/>
          </p:nvPr>
        </p:nvSpPr>
        <p:spPr>
          <a:xfrm>
            <a:off x="359999" y="1980000"/>
            <a:ext cx="5040000" cy="1800000"/>
          </a:xfrm>
          <a:prstGeom prst="rect">
            <a:avLst/>
          </a:prstGeom>
          <a:noFill/>
        </p:spPr>
        <p:txBody>
          <a:bodyPr anchor="ctr">
            <a:noAutofit/>
          </a:bodyPr>
          <a:lstStyle>
            <a:lvl1pPr>
              <a:lnSpc>
                <a:spcPct val="80000"/>
              </a:lnSpc>
              <a:defRPr sz="4800">
                <a:solidFill>
                  <a:srgbClr val="333D47"/>
                </a:solidFill>
              </a:defRPr>
            </a:lvl1pPr>
            <a:lvl2pPr marL="457200" indent="0">
              <a:buNone/>
              <a:defRPr/>
            </a:lvl2pPr>
          </a:lstStyle>
          <a:p>
            <a:pPr lvl="0"/>
            <a:r>
              <a:rPr lang="en-US"/>
              <a:t>Section </a:t>
            </a:r>
            <a:br>
              <a:rPr lang="en-US"/>
            </a:br>
            <a:r>
              <a:rPr lang="en-US"/>
              <a:t>header</a:t>
            </a:r>
          </a:p>
        </p:txBody>
      </p:sp>
      <p:pic>
        <p:nvPicPr>
          <p:cNvPr id="3" name="Graphic 2">
            <a:extLst>
              <a:ext uri="{FF2B5EF4-FFF2-40B4-BE49-F238E27FC236}">
                <a16:creationId xmlns:a16="http://schemas.microsoft.com/office/drawing/2014/main" id="{E1978841-F933-844F-83FC-6B9D3B3E79A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b="65181"/>
          <a:stretch/>
        </p:blipFill>
        <p:spPr>
          <a:xfrm>
            <a:off x="0" y="2160000"/>
            <a:ext cx="12192000" cy="4698000"/>
          </a:xfrm>
          <a:prstGeom prst="rect">
            <a:avLst/>
          </a:prstGeom>
        </p:spPr>
      </p:pic>
      <p:pic>
        <p:nvPicPr>
          <p:cNvPr id="6" name="Graphic 5">
            <a:extLst>
              <a:ext uri="{FF2B5EF4-FFF2-40B4-BE49-F238E27FC236}">
                <a16:creationId xmlns:a16="http://schemas.microsoft.com/office/drawing/2014/main" id="{0AE292BE-84AD-0845-94B5-0A58912ECE7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0000" y="360000"/>
            <a:ext cx="1828800" cy="660400"/>
          </a:xfrm>
          <a:prstGeom prst="rect">
            <a:avLst/>
          </a:prstGeom>
        </p:spPr>
      </p:pic>
    </p:spTree>
    <p:extLst>
      <p:ext uri="{BB962C8B-B14F-4D97-AF65-F5344CB8AC3E}">
        <p14:creationId xmlns:p14="http://schemas.microsoft.com/office/powerpoint/2010/main" val="167770234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7898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1"/>
                        <a:ext cx="2159" cy="1619"/>
                      </a:xfrm>
                      <a:prstGeom prst="rect">
                        <a:avLst/>
                      </a:prstGeom>
                    </p:spPr>
                  </p:pic>
                </p:oleObj>
              </mc:Fallback>
            </mc:AlternateContent>
          </a:graphicData>
        </a:graphic>
      </p:graphicFrame>
      <p:pic>
        <p:nvPicPr>
          <p:cNvPr id="14" name="Picture 13"/>
          <p:cNvPicPr>
            <a:picLocks noChangeAspect="1"/>
          </p:cNvPicPr>
          <p:nvPr userDrawn="1"/>
        </p:nvPicPr>
        <p:blipFill>
          <a:blip r:embed="rId6"/>
          <a:stretch>
            <a:fillRect/>
          </a:stretch>
        </p:blipFill>
        <p:spPr bwMode="invGray">
          <a:xfrm>
            <a:off x="0" y="0"/>
            <a:ext cx="12191567" cy="5543415"/>
          </a:xfrm>
          <a:prstGeom prst="rect">
            <a:avLst/>
          </a:prstGeom>
        </p:spPr>
      </p:pic>
      <p:sp>
        <p:nvSpPr>
          <p:cNvPr id="22" name="Rectangle 99"/>
          <p:cNvSpPr>
            <a:spLocks noChangeArrowheads="1"/>
          </p:cNvSpPr>
          <p:nvPr userDrawn="1"/>
        </p:nvSpPr>
        <p:spPr bwMode="ltGray">
          <a:xfrm>
            <a:off x="0" y="5437189"/>
            <a:ext cx="12192000" cy="1425574"/>
          </a:xfrm>
          <a:prstGeom prst="rect">
            <a:avLst/>
          </a:prstGeom>
          <a:solidFill>
            <a:srgbClr val="FFFFFF"/>
          </a:solidFill>
          <a:ln w="9525">
            <a:noFill/>
            <a:miter lim="800000"/>
            <a:headEnd/>
            <a:tailEnd/>
          </a:ln>
        </p:spPr>
        <p:txBody>
          <a:bodyPr lIns="356379" tIns="179989" rIns="356379" bIns="179989"/>
          <a:lstStyle/>
          <a:p>
            <a:pPr fontAlgn="base">
              <a:spcBef>
                <a:spcPct val="0"/>
              </a:spcBef>
              <a:spcAft>
                <a:spcPct val="0"/>
              </a:spcAft>
            </a:pPr>
            <a:endParaRPr lang="en-US" altLang="zh-TW" sz="1200">
              <a:solidFill>
                <a:prstClr val="black"/>
              </a:solidFill>
              <a:ea typeface="PMingLiU" pitchFamily="18" charset="-120"/>
              <a:cs typeface="Arial" pitchFamily="34" charset="0"/>
            </a:endParaRPr>
          </a:p>
        </p:txBody>
      </p:sp>
      <p:sp>
        <p:nvSpPr>
          <p:cNvPr id="23" name="Rectangle 22"/>
          <p:cNvSpPr/>
          <p:nvPr userDrawn="1"/>
        </p:nvSpPr>
        <p:spPr bwMode="ltGray">
          <a:xfrm>
            <a:off x="11655553" y="0"/>
            <a:ext cx="536448" cy="5437188"/>
          </a:xfrm>
          <a:prstGeom prst="rect">
            <a:avLst/>
          </a:prstGeom>
          <a:solidFill>
            <a:sysClr val="window" lastClr="FFFF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457152" indent="-342864" defTabSz="457152">
              <a:spcBef>
                <a:spcPct val="20000"/>
              </a:spcBef>
              <a:buFontTx/>
              <a:buAutoNum type="arabicPeriod"/>
              <a:defRPr/>
            </a:pPr>
            <a:endParaRPr lang="en-US" sz="1200" kern="0">
              <a:solidFill>
                <a:srgbClr val="000000"/>
              </a:solidFill>
              <a:ea typeface="微軟正黑體"/>
              <a:cs typeface="Arial" pitchFamily="34" charset="0"/>
            </a:endParaRPr>
          </a:p>
        </p:txBody>
      </p:sp>
      <p:sp>
        <p:nvSpPr>
          <p:cNvPr id="4" name="Working Draft Text" hidden="1"/>
          <p:cNvSpPr txBox="1">
            <a:spLocks noChangeArrowheads="1"/>
          </p:cNvSpPr>
          <p:nvPr/>
        </p:nvSpPr>
        <p:spPr bwMode="auto">
          <a:xfrm>
            <a:off x="609599" y="349866"/>
            <a:ext cx="1011495"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18" b="1">
                <a:solidFill>
                  <a:srgbClr val="FFFFFF"/>
                </a:solidFill>
                <a:latin typeface="Arial"/>
              </a:rPr>
              <a:t>WORKING DRAFT</a:t>
            </a:r>
          </a:p>
        </p:txBody>
      </p:sp>
      <p:sp>
        <p:nvSpPr>
          <p:cNvPr id="6" name="Working Draft" hidden="1"/>
          <p:cNvSpPr txBox="1">
            <a:spLocks noChangeArrowheads="1"/>
          </p:cNvSpPr>
          <p:nvPr/>
        </p:nvSpPr>
        <p:spPr bwMode="auto">
          <a:xfrm>
            <a:off x="609599" y="508601"/>
            <a:ext cx="3347070"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AU" sz="918">
                <a:solidFill>
                  <a:srgbClr val="FFFFFF"/>
                </a:solidFill>
                <a:latin typeface="Arial"/>
              </a:rPr>
              <a:t>Last Modified 19.05.2017 22:13 Malay Peninsula Standard Time</a:t>
            </a:r>
            <a:endParaRPr lang="en-US" sz="918">
              <a:solidFill>
                <a:srgbClr val="FFFFFF"/>
              </a:solidFill>
              <a:latin typeface="Arial"/>
            </a:endParaRPr>
          </a:p>
        </p:txBody>
      </p:sp>
      <p:sp>
        <p:nvSpPr>
          <p:cNvPr id="7" name="Printed" hidden="1"/>
          <p:cNvSpPr txBox="1">
            <a:spLocks noChangeArrowheads="1"/>
          </p:cNvSpPr>
          <p:nvPr/>
        </p:nvSpPr>
        <p:spPr bwMode="auto">
          <a:xfrm>
            <a:off x="609600" y="668956"/>
            <a:ext cx="371897"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18">
                <a:solidFill>
                  <a:srgbClr val="FFFFFF"/>
                </a:solidFill>
                <a:latin typeface="Arial"/>
              </a:rPr>
              <a:t>Printed</a:t>
            </a:r>
          </a:p>
        </p:txBody>
      </p:sp>
      <p:grpSp>
        <p:nvGrpSpPr>
          <p:cNvPr id="2" name="Title Elements" hidden="1"/>
          <p:cNvGrpSpPr/>
          <p:nvPr userDrawn="1"/>
        </p:nvGrpSpPr>
        <p:grpSpPr>
          <a:xfrm>
            <a:off x="609599" y="4077089"/>
            <a:ext cx="6714779" cy="501859"/>
            <a:chOff x="2640013" y="4926935"/>
            <a:chExt cx="4935538" cy="491868"/>
          </a:xfrm>
        </p:grpSpPr>
        <p:sp>
          <p:nvSpPr>
            <p:cNvPr id="9" name="Document type"/>
            <p:cNvSpPr txBox="1">
              <a:spLocks noChangeArrowheads="1"/>
            </p:cNvSpPr>
            <p:nvPr/>
          </p:nvSpPr>
          <p:spPr bwMode="auto">
            <a:xfrm>
              <a:off x="2640013" y="4926935"/>
              <a:ext cx="4935538"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FFFFFF"/>
                  </a:solidFill>
                  <a:latin typeface="Arial"/>
                </a:rPr>
                <a:t>Document type</a:t>
              </a:r>
            </a:p>
          </p:txBody>
        </p:sp>
        <p:sp>
          <p:nvSpPr>
            <p:cNvPr id="10" name="Date"/>
            <p:cNvSpPr txBox="1">
              <a:spLocks noChangeArrowheads="1"/>
            </p:cNvSpPr>
            <p:nvPr/>
          </p:nvSpPr>
          <p:spPr bwMode="auto">
            <a:xfrm>
              <a:off x="2640013" y="5199063"/>
              <a:ext cx="4935538"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FFFFFF"/>
                  </a:solidFill>
                  <a:latin typeface="Arial"/>
                </a:rPr>
                <a:t>Date</a:t>
              </a:r>
            </a:p>
          </p:txBody>
        </p:sp>
      </p:grpSp>
      <p:sp>
        <p:nvSpPr>
          <p:cNvPr id="13314" name="Rectangle 1026"/>
          <p:cNvSpPr>
            <a:spLocks noGrp="1" noChangeArrowheads="1"/>
          </p:cNvSpPr>
          <p:nvPr>
            <p:ph type="ctrTitle"/>
          </p:nvPr>
        </p:nvSpPr>
        <p:spPr>
          <a:xfrm>
            <a:off x="609599" y="1268205"/>
            <a:ext cx="8448549" cy="439639"/>
          </a:xfrm>
          <a:prstGeom prst="rect">
            <a:avLst/>
          </a:prstGeom>
        </p:spPr>
        <p:txBody>
          <a:bodyPr wrap="square" anchor="t">
            <a:spAutoFit/>
          </a:bodyPr>
          <a:lstStyle>
            <a:lvl1pPr>
              <a:defRPr sz="2857" b="1" baseline="0">
                <a:solidFill>
                  <a:schemeClr val="bg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a:xfrm>
            <a:off x="609599" y="2768815"/>
            <a:ext cx="8448549" cy="251222"/>
          </a:xfrm>
          <a:prstGeom prst="rect">
            <a:avLst/>
          </a:prstGeom>
        </p:spPr>
        <p:txBody>
          <a:bodyPr wrap="square">
            <a:spAutoFit/>
          </a:bodyPr>
          <a:lstStyle>
            <a:lvl1pPr>
              <a:defRPr sz="1632" b="1" baseline="0">
                <a:solidFill>
                  <a:schemeClr val="bg1"/>
                </a:solidFill>
                <a:latin typeface="+mn-lt"/>
                <a:ea typeface="+mn-ea"/>
              </a:defRPr>
            </a:lvl1pPr>
          </a:lstStyle>
          <a:p>
            <a:pPr lvl="0"/>
            <a:r>
              <a:rPr lang="en-US" noProof="0"/>
              <a:t>Click to edit Master subtitle style</a:t>
            </a:r>
          </a:p>
        </p:txBody>
      </p:sp>
      <p:pic>
        <p:nvPicPr>
          <p:cNvPr id="20" name="Picture 19"/>
          <p:cNvPicPr>
            <a:picLocks noChangeAspect="1"/>
          </p:cNvPicPr>
          <p:nvPr userDrawn="1"/>
        </p:nvPicPr>
        <p:blipFill>
          <a:blip r:embed="rId7"/>
          <a:stretch>
            <a:fillRect/>
          </a:stretch>
        </p:blipFill>
        <p:spPr bwMode="invGray">
          <a:xfrm>
            <a:off x="10769601" y="5741281"/>
            <a:ext cx="738193" cy="603375"/>
          </a:xfrm>
          <a:prstGeom prst="rect">
            <a:avLst/>
          </a:prstGeom>
        </p:spPr>
      </p:pic>
      <p:sp>
        <p:nvSpPr>
          <p:cNvPr id="25" name="Rectangle 11"/>
          <p:cNvSpPr>
            <a:spLocks noChangeArrowheads="1"/>
          </p:cNvSpPr>
          <p:nvPr userDrawn="1"/>
        </p:nvSpPr>
        <p:spPr bwMode="auto">
          <a:xfrm>
            <a:off x="508001" y="6537326"/>
            <a:ext cx="3805850" cy="246221"/>
          </a:xfrm>
          <a:prstGeom prst="rect">
            <a:avLst/>
          </a:prstGeom>
          <a:noFill/>
          <a:ln w="9525">
            <a:noFill/>
            <a:miter lim="800000"/>
            <a:headEnd/>
            <a:tailEnd/>
          </a:ln>
          <a:effectLst/>
        </p:spPr>
        <p:txBody>
          <a:bodyPr wrap="none">
            <a:spAutoFit/>
          </a:bodyPr>
          <a:lstStyle/>
          <a:p>
            <a:pPr fontAlgn="base">
              <a:spcBef>
                <a:spcPct val="0"/>
              </a:spcBef>
              <a:spcAft>
                <a:spcPct val="0"/>
              </a:spcAft>
            </a:pPr>
            <a:r>
              <a:rPr lang="en-US" sz="1000">
                <a:solidFill>
                  <a:srgbClr val="58595B"/>
                </a:solidFill>
                <a:ea typeface="MS PGothic" pitchFamily="34" charset="-128"/>
              </a:rPr>
              <a:t>AIA confidential and proprietary information. Not for distribution. </a:t>
            </a:r>
          </a:p>
        </p:txBody>
      </p:sp>
    </p:spTree>
    <p:extLst>
      <p:ext uri="{BB962C8B-B14F-4D97-AF65-F5344CB8AC3E}">
        <p14:creationId xmlns:p14="http://schemas.microsoft.com/office/powerpoint/2010/main" val="2487384415"/>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80010"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822659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620" y="1622"/>
          <a:ext cx="1619" cy="1619"/>
        </p:xfrm>
        <a:graphic>
          <a:graphicData uri="http://schemas.openxmlformats.org/presentationml/2006/ole">
            <mc:AlternateContent xmlns:mc="http://schemas.openxmlformats.org/markup-compatibility/2006">
              <mc:Choice xmlns:v="urn:schemas-microsoft-com:vml" Requires="v">
                <p:oleObj spid="_x0000_s81034"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620" y="1622"/>
                        <a:ext cx="1619" cy="1619"/>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r="24836"/>
          <a:stretch/>
        </p:blipFill>
        <p:spPr>
          <a:xfrm>
            <a:off x="0" y="648"/>
            <a:ext cx="12192000" cy="6857352"/>
          </a:xfrm>
          <a:prstGeom prst="rect">
            <a:avLst/>
          </a:prstGeom>
        </p:spPr>
      </p:pic>
      <p:sp>
        <p:nvSpPr>
          <p:cNvPr id="9" name="Slide Number"/>
          <p:cNvSpPr txBox="1">
            <a:spLocks/>
          </p:cNvSpPr>
          <p:nvPr userDrawn="1"/>
        </p:nvSpPr>
        <p:spPr bwMode="black">
          <a:xfrm>
            <a:off x="11652053" y="6656177"/>
            <a:ext cx="94578" cy="94193"/>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612" smtClean="0">
                <a:solidFill>
                  <a:srgbClr val="F89820"/>
                </a:solidFill>
              </a:rPr>
              <a:pPr fontAlgn="base">
                <a:spcBef>
                  <a:spcPct val="0"/>
                </a:spcBef>
                <a:spcAft>
                  <a:spcPct val="0"/>
                </a:spcAft>
              </a:pPr>
              <a:t>‹#›</a:t>
            </a:fld>
            <a:endParaRPr sz="612">
              <a:solidFill>
                <a:srgbClr val="F89820"/>
              </a:solidFill>
            </a:endParaRPr>
          </a:p>
        </p:txBody>
      </p:sp>
      <p:sp>
        <p:nvSpPr>
          <p:cNvPr id="5" name="doc id" hidden="1"/>
          <p:cNvSpPr>
            <a:spLocks noChangeArrowheads="1"/>
          </p:cNvSpPr>
          <p:nvPr userDrawn="1"/>
        </p:nvSpPr>
        <p:spPr bwMode="gray">
          <a:xfrm>
            <a:off x="10670215" y="51833"/>
            <a:ext cx="1190120" cy="720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5145" fontAlgn="base">
              <a:spcBef>
                <a:spcPct val="0"/>
              </a:spcBef>
              <a:spcAft>
                <a:spcPct val="0"/>
              </a:spcAft>
            </a:pPr>
            <a:endParaRPr lang="x-none" sz="459">
              <a:solidFill>
                <a:srgbClr val="808080"/>
              </a:solidFill>
            </a:endParaRPr>
          </a:p>
        </p:txBody>
      </p:sp>
      <p:sp>
        <p:nvSpPr>
          <p:cNvPr id="7" name="SlideLogoText"/>
          <p:cNvSpPr>
            <a:spLocks noChangeArrowheads="1"/>
          </p:cNvSpPr>
          <p:nvPr userDrawn="1">
            <p:custDataLst>
              <p:tags r:id="rId3"/>
            </p:custDataLst>
          </p:nvPr>
        </p:nvSpPr>
        <p:spPr bwMode="gray">
          <a:xfrm>
            <a:off x="10745498" y="6656177"/>
            <a:ext cx="76944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fontAlgn="base">
              <a:spcBef>
                <a:spcPct val="0"/>
              </a:spcBef>
              <a:spcAft>
                <a:spcPct val="0"/>
              </a:spcAft>
            </a:pPr>
            <a:r>
              <a:rPr lang="en-US" sz="612">
                <a:solidFill>
                  <a:srgbClr val="F89820"/>
                </a:solidFill>
              </a:rPr>
              <a:t>McKinsey &amp; Company</a:t>
            </a:r>
          </a:p>
        </p:txBody>
      </p:sp>
    </p:spTree>
    <p:extLst>
      <p:ext uri="{BB962C8B-B14F-4D97-AF65-F5344CB8AC3E}">
        <p14:creationId xmlns:p14="http://schemas.microsoft.com/office/powerpoint/2010/main" val="188219883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pact Slide 4">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620" y="1622"/>
          <a:ext cx="1619" cy="1619"/>
        </p:xfrm>
        <a:graphic>
          <a:graphicData uri="http://schemas.openxmlformats.org/presentationml/2006/ole">
            <mc:AlternateContent xmlns:mc="http://schemas.openxmlformats.org/markup-compatibility/2006">
              <mc:Choice xmlns:v="urn:schemas-microsoft-com:vml" Requires="v">
                <p:oleObj spid="_x0000_s82058"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620" y="1622"/>
                        <a:ext cx="1619" cy="1619"/>
                      </a:xfrm>
                      <a:prstGeom prst="rect">
                        <a:avLst/>
                      </a:prstGeom>
                    </p:spPr>
                  </p:pic>
                </p:oleObj>
              </mc:Fallback>
            </mc:AlternateContent>
          </a:graphicData>
        </a:graphic>
      </p:graphicFrame>
      <p:pic>
        <p:nvPicPr>
          <p:cNvPr id="17" name="Picture 16"/>
          <p:cNvPicPr>
            <a:picLocks noChangeAspect="1"/>
          </p:cNvPicPr>
          <p:nvPr userDrawn="1"/>
        </p:nvPicPr>
        <p:blipFill rotWithShape="1">
          <a:blip r:embed="rId7"/>
          <a:srcRect r="24922" b="102"/>
          <a:stretch/>
        </p:blipFill>
        <p:spPr bwMode="gray">
          <a:xfrm>
            <a:off x="-1162" y="1"/>
            <a:ext cx="12193162" cy="6858000"/>
          </a:xfrm>
          <a:prstGeom prst="rect">
            <a:avLst/>
          </a:prstGeom>
        </p:spPr>
      </p:pic>
      <p:sp>
        <p:nvSpPr>
          <p:cNvPr id="15" name="Freeform 14"/>
          <p:cNvSpPr/>
          <p:nvPr userDrawn="1"/>
        </p:nvSpPr>
        <p:spPr bwMode="gray">
          <a:xfrm>
            <a:off x="1" y="325"/>
            <a:ext cx="12192000" cy="6857676"/>
          </a:xfrm>
          <a:custGeom>
            <a:avLst/>
            <a:gdLst>
              <a:gd name="connsiteX0" fmla="*/ 0 w 8965897"/>
              <a:gd name="connsiteY0" fmla="*/ 0 h 6721157"/>
              <a:gd name="connsiteX1" fmla="*/ 8965897 w 8965897"/>
              <a:gd name="connsiteY1" fmla="*/ 1 h 6721157"/>
              <a:gd name="connsiteX2" fmla="*/ 8965897 w 8965897"/>
              <a:gd name="connsiteY2" fmla="*/ 2482595 h 6721157"/>
              <a:gd name="connsiteX3" fmla="*/ 6533909 w 8965897"/>
              <a:gd name="connsiteY3" fmla="*/ 6721157 h 6721157"/>
              <a:gd name="connsiteX4" fmla="*/ 0 w 8965897"/>
              <a:gd name="connsiteY4" fmla="*/ 6721157 h 6721157"/>
              <a:gd name="connsiteX0" fmla="*/ 0 w 8965897"/>
              <a:gd name="connsiteY0" fmla="*/ 0 h 6721157"/>
              <a:gd name="connsiteX1" fmla="*/ 8965897 w 8965897"/>
              <a:gd name="connsiteY1" fmla="*/ 1 h 6721157"/>
              <a:gd name="connsiteX2" fmla="*/ 8965897 w 8965897"/>
              <a:gd name="connsiteY2" fmla="*/ 2499957 h 6721157"/>
              <a:gd name="connsiteX3" fmla="*/ 6533909 w 8965897"/>
              <a:gd name="connsiteY3" fmla="*/ 6721157 h 6721157"/>
              <a:gd name="connsiteX4" fmla="*/ 0 w 8965897"/>
              <a:gd name="connsiteY4" fmla="*/ 6721157 h 6721157"/>
              <a:gd name="connsiteX5" fmla="*/ 0 w 8965897"/>
              <a:gd name="connsiteY5" fmla="*/ 0 h 672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5897" h="6721157">
                <a:moveTo>
                  <a:pt x="0" y="0"/>
                </a:moveTo>
                <a:lnTo>
                  <a:pt x="8965897" y="1"/>
                </a:lnTo>
                <a:lnTo>
                  <a:pt x="8965897" y="2499957"/>
                </a:lnTo>
                <a:lnTo>
                  <a:pt x="6533909" y="6721157"/>
                </a:lnTo>
                <a:lnTo>
                  <a:pt x="0" y="6721157"/>
                </a:lnTo>
                <a:lnTo>
                  <a:pt x="0" y="0"/>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32" err="1">
              <a:solidFill>
                <a:srgbClr val="000000"/>
              </a:solidFill>
            </a:endParaRPr>
          </a:p>
        </p:txBody>
      </p:sp>
      <p:sp>
        <p:nvSpPr>
          <p:cNvPr id="16" name="Freeform 15"/>
          <p:cNvSpPr/>
          <p:nvPr userDrawn="1"/>
        </p:nvSpPr>
        <p:spPr bwMode="gray">
          <a:xfrm>
            <a:off x="10389041" y="1"/>
            <a:ext cx="1802959" cy="3421812"/>
          </a:xfrm>
          <a:custGeom>
            <a:avLst/>
            <a:gdLst>
              <a:gd name="connsiteX0" fmla="*/ 0 w 1325222"/>
              <a:gd name="connsiteY0" fmla="*/ 0 h 3353693"/>
              <a:gd name="connsiteX1" fmla="*/ 172792 w 1325222"/>
              <a:gd name="connsiteY1" fmla="*/ 0 h 3353693"/>
              <a:gd name="connsiteX2" fmla="*/ 1325222 w 1325222"/>
              <a:gd name="connsiteY2" fmla="*/ 0 h 3353693"/>
              <a:gd name="connsiteX3" fmla="*/ 1325222 w 1325222"/>
              <a:gd name="connsiteY3" fmla="*/ 3353693 h 3353693"/>
              <a:gd name="connsiteX4" fmla="*/ 172792 w 1325222"/>
              <a:gd name="connsiteY4" fmla="*/ 1346762 h 3353693"/>
              <a:gd name="connsiteX5" fmla="*/ 0 w 1325222"/>
              <a:gd name="connsiteY5" fmla="*/ 1050586 h 335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222" h="3353693">
                <a:moveTo>
                  <a:pt x="0" y="0"/>
                </a:moveTo>
                <a:lnTo>
                  <a:pt x="172792" y="0"/>
                </a:lnTo>
                <a:lnTo>
                  <a:pt x="1325222" y="0"/>
                </a:lnTo>
                <a:lnTo>
                  <a:pt x="1325222" y="3353693"/>
                </a:lnTo>
                <a:lnTo>
                  <a:pt x="172792" y="1346762"/>
                </a:lnTo>
                <a:lnTo>
                  <a:pt x="0" y="1050586"/>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632" err="1">
              <a:solidFill>
                <a:srgbClr val="000000"/>
              </a:solidFill>
            </a:endParaRPr>
          </a:p>
        </p:txBody>
      </p:sp>
      <p:sp>
        <p:nvSpPr>
          <p:cNvPr id="2" name="2. Slide Title"/>
          <p:cNvSpPr>
            <a:spLocks noGrp="1"/>
          </p:cNvSpPr>
          <p:nvPr>
            <p:ph type="title"/>
          </p:nvPr>
        </p:nvSpPr>
        <p:spPr bwMode="gray">
          <a:xfrm>
            <a:off x="485154" y="244020"/>
            <a:ext cx="9304728" cy="314060"/>
          </a:xfrm>
        </p:spPr>
        <p:txBody>
          <a:bodyPr wrap="square">
            <a:spAutoFit/>
          </a:bodyPr>
          <a:lstStyle/>
          <a:p>
            <a:r>
              <a:rPr lang="en-US"/>
              <a:t>Click to edit Master title style</a:t>
            </a:r>
            <a:endParaRPr lang="x-none"/>
          </a:p>
        </p:txBody>
      </p:sp>
      <p:sp>
        <p:nvSpPr>
          <p:cNvPr id="5" name="doc id"/>
          <p:cNvSpPr>
            <a:spLocks noChangeArrowheads="1"/>
          </p:cNvSpPr>
          <p:nvPr userDrawn="1"/>
        </p:nvSpPr>
        <p:spPr bwMode="gray">
          <a:xfrm>
            <a:off x="10670215" y="51833"/>
            <a:ext cx="1190120" cy="720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5145" fontAlgn="base">
              <a:spcBef>
                <a:spcPct val="0"/>
              </a:spcBef>
              <a:spcAft>
                <a:spcPct val="0"/>
              </a:spcAft>
            </a:pPr>
            <a:endParaRPr lang="x-none" sz="459">
              <a:solidFill>
                <a:srgbClr val="808080"/>
              </a:solidFill>
            </a:endParaRPr>
          </a:p>
        </p:txBody>
      </p:sp>
      <p:sp>
        <p:nvSpPr>
          <p:cNvPr id="11" name="Slide Number"/>
          <p:cNvSpPr txBox="1">
            <a:spLocks/>
          </p:cNvSpPr>
          <p:nvPr userDrawn="1"/>
        </p:nvSpPr>
        <p:spPr bwMode="gray">
          <a:xfrm>
            <a:off x="11685052" y="6656177"/>
            <a:ext cx="94578" cy="94193"/>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685509" fontAlgn="base">
              <a:spcBef>
                <a:spcPct val="0"/>
              </a:spcBef>
              <a:spcAft>
                <a:spcPct val="0"/>
              </a:spcAft>
            </a:pPr>
            <a:fld id="{42C328C1-A84F-4A39-A664-DBA00541A8C6}" type="slidenum">
              <a:rPr sz="612" smtClean="0">
                <a:solidFill>
                  <a:srgbClr val="F89820"/>
                </a:solidFill>
              </a:rPr>
              <a:pPr algn="r" defTabSz="685509" fontAlgn="base">
                <a:spcBef>
                  <a:spcPct val="0"/>
                </a:spcBef>
                <a:spcAft>
                  <a:spcPct val="0"/>
                </a:spcAft>
              </a:pPr>
              <a:t>‹#›</a:t>
            </a:fld>
            <a:endParaRPr sz="612">
              <a:solidFill>
                <a:srgbClr val="F89820"/>
              </a:solidFill>
            </a:endParaRPr>
          </a:p>
        </p:txBody>
      </p:sp>
      <p:sp>
        <p:nvSpPr>
          <p:cNvPr id="13" name="Text Placeholder 12"/>
          <p:cNvSpPr>
            <a:spLocks noGrp="1"/>
          </p:cNvSpPr>
          <p:nvPr>
            <p:ph type="body" sz="quarter" idx="10"/>
          </p:nvPr>
        </p:nvSpPr>
        <p:spPr bwMode="gray">
          <a:xfrm>
            <a:off x="485153" y="1652141"/>
            <a:ext cx="9304730" cy="126919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LogoText"/>
          <p:cNvSpPr>
            <a:spLocks noChangeArrowheads="1"/>
          </p:cNvSpPr>
          <p:nvPr userDrawn="1">
            <p:custDataLst>
              <p:tags r:id="rId3"/>
            </p:custDataLst>
          </p:nvPr>
        </p:nvSpPr>
        <p:spPr bwMode="gray">
          <a:xfrm>
            <a:off x="10745498" y="6656177"/>
            <a:ext cx="76944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fontAlgn="base">
              <a:spcBef>
                <a:spcPct val="0"/>
              </a:spcBef>
              <a:spcAft>
                <a:spcPct val="0"/>
              </a:spcAft>
            </a:pPr>
            <a:r>
              <a:rPr lang="en-US" sz="612">
                <a:solidFill>
                  <a:srgbClr val="F89820"/>
                </a:solidFill>
              </a:rPr>
              <a:t>McKinsey &amp; Company</a:t>
            </a:r>
          </a:p>
        </p:txBody>
      </p:sp>
    </p:spTree>
    <p:extLst>
      <p:ext uri="{BB962C8B-B14F-4D97-AF65-F5344CB8AC3E}">
        <p14:creationId xmlns:p14="http://schemas.microsoft.com/office/powerpoint/2010/main" val="367856793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p15:clr>
            <a:srgbClr val="F26B43"/>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pecial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620" y="1622"/>
          <a:ext cx="1619" cy="1619"/>
        </p:xfrm>
        <a:graphic>
          <a:graphicData uri="http://schemas.openxmlformats.org/presentationml/2006/ole">
            <mc:AlternateContent xmlns:mc="http://schemas.openxmlformats.org/markup-compatibility/2006">
              <mc:Choice xmlns:v="urn:schemas-microsoft-com:vml" Requires="v">
                <p:oleObj spid="_x0000_s83082"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620" y="1622"/>
                        <a:ext cx="1619" cy="1619"/>
                      </a:xfrm>
                      <a:prstGeom prst="rect">
                        <a:avLst/>
                      </a:prstGeom>
                    </p:spPr>
                  </p:pic>
                </p:oleObj>
              </mc:Fallback>
            </mc:AlternateContent>
          </a:graphicData>
        </a:graphic>
      </p:graphicFrame>
      <p:sp>
        <p:nvSpPr>
          <p:cNvPr id="10" name="Freeform 9"/>
          <p:cNvSpPr/>
          <p:nvPr userDrawn="1"/>
        </p:nvSpPr>
        <p:spPr>
          <a:xfrm>
            <a:off x="8983841" y="0"/>
            <a:ext cx="3208160" cy="6088724"/>
          </a:xfrm>
          <a:custGeom>
            <a:avLst/>
            <a:gdLst>
              <a:gd name="connsiteX0" fmla="*/ 0 w 1325222"/>
              <a:gd name="connsiteY0" fmla="*/ 0 h 3353693"/>
              <a:gd name="connsiteX1" fmla="*/ 172792 w 1325222"/>
              <a:gd name="connsiteY1" fmla="*/ 0 h 3353693"/>
              <a:gd name="connsiteX2" fmla="*/ 1325222 w 1325222"/>
              <a:gd name="connsiteY2" fmla="*/ 0 h 3353693"/>
              <a:gd name="connsiteX3" fmla="*/ 1325222 w 1325222"/>
              <a:gd name="connsiteY3" fmla="*/ 3353693 h 3353693"/>
              <a:gd name="connsiteX4" fmla="*/ 172792 w 1325222"/>
              <a:gd name="connsiteY4" fmla="*/ 1346762 h 3353693"/>
              <a:gd name="connsiteX5" fmla="*/ 0 w 1325222"/>
              <a:gd name="connsiteY5" fmla="*/ 1050586 h 335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222" h="3353693">
                <a:moveTo>
                  <a:pt x="0" y="0"/>
                </a:moveTo>
                <a:lnTo>
                  <a:pt x="172792" y="0"/>
                </a:lnTo>
                <a:lnTo>
                  <a:pt x="1325222" y="0"/>
                </a:lnTo>
                <a:lnTo>
                  <a:pt x="1325222" y="3353693"/>
                </a:lnTo>
                <a:lnTo>
                  <a:pt x="172792" y="1346762"/>
                </a:lnTo>
                <a:lnTo>
                  <a:pt x="0" y="1050586"/>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632" err="1">
              <a:solidFill>
                <a:srgbClr val="000000"/>
              </a:solidFill>
            </a:endParaRPr>
          </a:p>
        </p:txBody>
      </p:sp>
      <p:sp>
        <p:nvSpPr>
          <p:cNvPr id="2" name="2. Slide Title"/>
          <p:cNvSpPr>
            <a:spLocks noGrp="1"/>
          </p:cNvSpPr>
          <p:nvPr>
            <p:ph type="title"/>
          </p:nvPr>
        </p:nvSpPr>
        <p:spPr bwMode="gray"/>
        <p:txBody>
          <a:bodyPr/>
          <a:lstStyle/>
          <a:p>
            <a:r>
              <a:rPr lang="en-US"/>
              <a:t>Click to edit Master title style</a:t>
            </a:r>
            <a:endParaRPr lang="x-none"/>
          </a:p>
        </p:txBody>
      </p:sp>
      <p:sp>
        <p:nvSpPr>
          <p:cNvPr id="5" name="doc id"/>
          <p:cNvSpPr>
            <a:spLocks noChangeArrowheads="1"/>
          </p:cNvSpPr>
          <p:nvPr userDrawn="1"/>
        </p:nvSpPr>
        <p:spPr bwMode="gray">
          <a:xfrm>
            <a:off x="10670215" y="51833"/>
            <a:ext cx="1190120" cy="720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5145" fontAlgn="base">
              <a:spcBef>
                <a:spcPct val="0"/>
              </a:spcBef>
              <a:spcAft>
                <a:spcPct val="0"/>
              </a:spcAft>
            </a:pPr>
            <a:endParaRPr lang="x-none" sz="459">
              <a:solidFill>
                <a:srgbClr val="808080"/>
              </a:solidFill>
            </a:endParaRPr>
          </a:p>
        </p:txBody>
      </p:sp>
      <p:sp>
        <p:nvSpPr>
          <p:cNvPr id="13" name="Text Placeholder 12"/>
          <p:cNvSpPr>
            <a:spLocks noGrp="1"/>
          </p:cNvSpPr>
          <p:nvPr>
            <p:ph type="body" sz="quarter" idx="10"/>
          </p:nvPr>
        </p:nvSpPr>
        <p:spPr>
          <a:xfrm>
            <a:off x="485153" y="1652141"/>
            <a:ext cx="9304730" cy="126919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cNvSpPr txBox="1">
            <a:spLocks/>
          </p:cNvSpPr>
          <p:nvPr userDrawn="1"/>
        </p:nvSpPr>
        <p:spPr bwMode="gray">
          <a:xfrm>
            <a:off x="11652053" y="6656177"/>
            <a:ext cx="94578" cy="94193"/>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612" smtClean="0">
                <a:solidFill>
                  <a:srgbClr val="F89820"/>
                </a:solidFill>
              </a:rPr>
              <a:pPr fontAlgn="base">
                <a:spcBef>
                  <a:spcPct val="0"/>
                </a:spcBef>
                <a:spcAft>
                  <a:spcPct val="0"/>
                </a:spcAft>
              </a:pPr>
              <a:t>‹#›</a:t>
            </a:fld>
            <a:endParaRPr sz="612">
              <a:solidFill>
                <a:srgbClr val="F89820"/>
              </a:solidFill>
            </a:endParaRPr>
          </a:p>
        </p:txBody>
      </p:sp>
      <p:sp>
        <p:nvSpPr>
          <p:cNvPr id="11" name="SlideLogoText"/>
          <p:cNvSpPr>
            <a:spLocks noChangeArrowheads="1"/>
          </p:cNvSpPr>
          <p:nvPr userDrawn="1">
            <p:custDataLst>
              <p:tags r:id="rId3"/>
            </p:custDataLst>
          </p:nvPr>
        </p:nvSpPr>
        <p:spPr bwMode="gray">
          <a:xfrm>
            <a:off x="10745498" y="6656177"/>
            <a:ext cx="76944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fontAlgn="base">
              <a:spcBef>
                <a:spcPct val="0"/>
              </a:spcBef>
              <a:spcAft>
                <a:spcPct val="0"/>
              </a:spcAft>
            </a:pPr>
            <a:r>
              <a:rPr lang="en-US" sz="612">
                <a:solidFill>
                  <a:srgbClr val="F89820"/>
                </a:solidFill>
              </a:rPr>
              <a:t>McKinsey &amp; Company</a:t>
            </a:r>
          </a:p>
        </p:txBody>
      </p:sp>
    </p:spTree>
    <p:extLst>
      <p:ext uri="{BB962C8B-B14F-4D97-AF65-F5344CB8AC3E}">
        <p14:creationId xmlns:p14="http://schemas.microsoft.com/office/powerpoint/2010/main" val="17539038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p15:clr>
            <a:srgbClr val="F26B43"/>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19753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93096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154"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968881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45442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3791465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IA_EditImageRe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AED0E00D-9EB0-E949-BAF8-179058F5DA2B}"/>
              </a:ext>
            </a:extLst>
          </p:cNvPr>
          <p:cNvGrpSpPr/>
          <p:nvPr/>
        </p:nvGrpSpPr>
        <p:grpSpPr>
          <a:xfrm>
            <a:off x="0" y="-1"/>
            <a:ext cx="12219349" cy="8563075"/>
            <a:chOff x="0" y="-1"/>
            <a:chExt cx="12219349" cy="8563075"/>
          </a:xfrm>
        </p:grpSpPr>
        <p:sp>
          <p:nvSpPr>
            <p:cNvPr id="24" name="Rectangle 23">
              <a:extLst>
                <a:ext uri="{FF2B5EF4-FFF2-40B4-BE49-F238E27FC236}">
                  <a16:creationId xmlns:a16="http://schemas.microsoft.com/office/drawing/2014/main" id="{AB2CB6C6-A2A6-D543-B7F4-6978E08387B9}"/>
                </a:ext>
              </a:extLst>
            </p:cNvPr>
            <p:cNvSpPr/>
            <p:nvPr userDrawn="1"/>
          </p:nvSpPr>
          <p:spPr>
            <a:xfrm>
              <a:off x="0" y="-1"/>
              <a:ext cx="12219349"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23" name="Graphic 22">
              <a:extLst>
                <a:ext uri="{FF2B5EF4-FFF2-40B4-BE49-F238E27FC236}">
                  <a16:creationId xmlns:a16="http://schemas.microsoft.com/office/drawing/2014/main" id="{B3BD88E6-70EE-0443-A9DF-27A334FA3825}"/>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21117" t="11991" r="314" b="526"/>
            <a:stretch/>
          </p:blipFill>
          <p:spPr>
            <a:xfrm flipH="1">
              <a:off x="5436658" y="0"/>
              <a:ext cx="6782689" cy="8563074"/>
            </a:xfrm>
            <a:prstGeom prst="rect">
              <a:avLst/>
            </a:prstGeom>
          </p:spPr>
        </p:pic>
      </p:grpSp>
      <p:sp>
        <p:nvSpPr>
          <p:cNvPr id="10" name="Slide Number Placeholder 2">
            <a:extLst>
              <a:ext uri="{FF2B5EF4-FFF2-40B4-BE49-F238E27FC236}">
                <a16:creationId xmlns:a16="http://schemas.microsoft.com/office/drawing/2014/main" id="{585A1015-5A94-C648-B133-38769FFAB226}"/>
              </a:ext>
            </a:extLst>
          </p:cNvPr>
          <p:cNvSpPr>
            <a:spLocks noGrp="1"/>
          </p:cNvSpPr>
          <p:nvPr>
            <p:ph type="sldNum" sz="quarter" idx="10"/>
          </p:nvPr>
        </p:nvSpPr>
        <p:spPr>
          <a:xfrm>
            <a:off x="359999" y="6264872"/>
            <a:ext cx="360000" cy="360000"/>
          </a:xfrm>
          <a:prstGeom prst="rect">
            <a:avLst/>
          </a:prstGeom>
        </p:spPr>
        <p:txBody>
          <a:bodyPr/>
          <a:lstStyle/>
          <a:p>
            <a:fld id="{52BD4378-72E1-444F-8B73-E4C8D03E6D72}" type="slidenum">
              <a:rPr lang="en-MY" smtClean="0"/>
              <a:t>‹#›</a:t>
            </a:fld>
            <a:endParaRPr lang="en-MY"/>
          </a:p>
        </p:txBody>
      </p:sp>
      <p:sp>
        <p:nvSpPr>
          <p:cNvPr id="15" name="Snip Same-side Corner of Rectangle 4">
            <a:extLst>
              <a:ext uri="{FF2B5EF4-FFF2-40B4-BE49-F238E27FC236}">
                <a16:creationId xmlns:a16="http://schemas.microsoft.com/office/drawing/2014/main" id="{120ED8D3-0A31-E842-95EF-9E3FB5738DEE}"/>
              </a:ext>
            </a:extLst>
          </p:cNvPr>
          <p:cNvSpPr>
            <a:spLocks/>
          </p:cNvSpPr>
          <p:nvPr/>
        </p:nvSpPr>
        <p:spPr>
          <a:xfrm>
            <a:off x="5389200" y="972401"/>
            <a:ext cx="6828662" cy="5908861"/>
          </a:xfrm>
          <a:custGeom>
            <a:avLst/>
            <a:gdLst>
              <a:gd name="connsiteX0" fmla="*/ 576481 w 3458817"/>
              <a:gd name="connsiteY0" fmla="*/ 0 h 3458817"/>
              <a:gd name="connsiteX1" fmla="*/ 2882336 w 3458817"/>
              <a:gd name="connsiteY1" fmla="*/ 0 h 3458817"/>
              <a:gd name="connsiteX2" fmla="*/ 3458817 w 3458817"/>
              <a:gd name="connsiteY2" fmla="*/ 576481 h 3458817"/>
              <a:gd name="connsiteX3" fmla="*/ 3458817 w 3458817"/>
              <a:gd name="connsiteY3" fmla="*/ 3458817 h 3458817"/>
              <a:gd name="connsiteX4" fmla="*/ 3458817 w 3458817"/>
              <a:gd name="connsiteY4" fmla="*/ 3458817 h 3458817"/>
              <a:gd name="connsiteX5" fmla="*/ 0 w 3458817"/>
              <a:gd name="connsiteY5" fmla="*/ 3458817 h 3458817"/>
              <a:gd name="connsiteX6" fmla="*/ 0 w 3458817"/>
              <a:gd name="connsiteY6" fmla="*/ 3458817 h 3458817"/>
              <a:gd name="connsiteX7" fmla="*/ 0 w 3458817"/>
              <a:gd name="connsiteY7" fmla="*/ 576481 h 3458817"/>
              <a:gd name="connsiteX8" fmla="*/ 576481 w 3458817"/>
              <a:gd name="connsiteY8" fmla="*/ 0 h 3458817"/>
              <a:gd name="connsiteX0" fmla="*/ 1182768 w 4065104"/>
              <a:gd name="connsiteY0" fmla="*/ 218650 h 3677467"/>
              <a:gd name="connsiteX1" fmla="*/ 3488623 w 4065104"/>
              <a:gd name="connsiteY1" fmla="*/ 218650 h 3677467"/>
              <a:gd name="connsiteX2" fmla="*/ 4065104 w 4065104"/>
              <a:gd name="connsiteY2" fmla="*/ 795131 h 3677467"/>
              <a:gd name="connsiteX3" fmla="*/ 4065104 w 4065104"/>
              <a:gd name="connsiteY3" fmla="*/ 3677467 h 3677467"/>
              <a:gd name="connsiteX4" fmla="*/ 4065104 w 4065104"/>
              <a:gd name="connsiteY4" fmla="*/ 3677467 h 3677467"/>
              <a:gd name="connsiteX5" fmla="*/ 606287 w 4065104"/>
              <a:gd name="connsiteY5" fmla="*/ 3677467 h 3677467"/>
              <a:gd name="connsiteX6" fmla="*/ 606287 w 4065104"/>
              <a:gd name="connsiteY6" fmla="*/ 3677467 h 3677467"/>
              <a:gd name="connsiteX7" fmla="*/ 0 w 4065104"/>
              <a:gd name="connsiteY7" fmla="*/ 0 h 3677467"/>
              <a:gd name="connsiteX8" fmla="*/ 1182768 w 4065104"/>
              <a:gd name="connsiteY8" fmla="*/ 218650 h 3677467"/>
              <a:gd name="connsiteX0" fmla="*/ 1182768 w 4065104"/>
              <a:gd name="connsiteY0" fmla="*/ 218650 h 3677467"/>
              <a:gd name="connsiteX1" fmla="*/ 3488623 w 4065104"/>
              <a:gd name="connsiteY1" fmla="*/ 218650 h 3677467"/>
              <a:gd name="connsiteX2" fmla="*/ 4065104 w 4065104"/>
              <a:gd name="connsiteY2" fmla="*/ 795131 h 3677467"/>
              <a:gd name="connsiteX3" fmla="*/ 4065104 w 4065104"/>
              <a:gd name="connsiteY3" fmla="*/ 3677467 h 3677467"/>
              <a:gd name="connsiteX4" fmla="*/ 4065104 w 4065104"/>
              <a:gd name="connsiteY4" fmla="*/ 3677467 h 3677467"/>
              <a:gd name="connsiteX5" fmla="*/ 606287 w 4065104"/>
              <a:gd name="connsiteY5" fmla="*/ 3677467 h 3677467"/>
              <a:gd name="connsiteX6" fmla="*/ 0 w 4065104"/>
              <a:gd name="connsiteY6" fmla="*/ 2753128 h 3677467"/>
              <a:gd name="connsiteX7" fmla="*/ 0 w 4065104"/>
              <a:gd name="connsiteY7" fmla="*/ 0 h 3677467"/>
              <a:gd name="connsiteX8" fmla="*/ 1182768 w 4065104"/>
              <a:gd name="connsiteY8" fmla="*/ 218650 h 3677467"/>
              <a:gd name="connsiteX0" fmla="*/ 1182768 w 4065104"/>
              <a:gd name="connsiteY0" fmla="*/ 218650 h 5347241"/>
              <a:gd name="connsiteX1" fmla="*/ 3488623 w 4065104"/>
              <a:gd name="connsiteY1" fmla="*/ 218650 h 5347241"/>
              <a:gd name="connsiteX2" fmla="*/ 4065104 w 4065104"/>
              <a:gd name="connsiteY2" fmla="*/ 795131 h 5347241"/>
              <a:gd name="connsiteX3" fmla="*/ 4065104 w 4065104"/>
              <a:gd name="connsiteY3" fmla="*/ 3677467 h 5347241"/>
              <a:gd name="connsiteX4" fmla="*/ 4065104 w 4065104"/>
              <a:gd name="connsiteY4" fmla="*/ 3677467 h 5347241"/>
              <a:gd name="connsiteX5" fmla="*/ 2077279 w 4065104"/>
              <a:gd name="connsiteY5" fmla="*/ 5347241 h 5347241"/>
              <a:gd name="connsiteX6" fmla="*/ 0 w 4065104"/>
              <a:gd name="connsiteY6" fmla="*/ 2753128 h 5347241"/>
              <a:gd name="connsiteX7" fmla="*/ 0 w 4065104"/>
              <a:gd name="connsiteY7" fmla="*/ 0 h 5347241"/>
              <a:gd name="connsiteX8" fmla="*/ 1182768 w 4065104"/>
              <a:gd name="connsiteY8" fmla="*/ 218650 h 5347241"/>
              <a:gd name="connsiteX0" fmla="*/ 1182768 w 6748669"/>
              <a:gd name="connsiteY0" fmla="*/ 218650 h 5347241"/>
              <a:gd name="connsiteX1" fmla="*/ 3488623 w 6748669"/>
              <a:gd name="connsiteY1" fmla="*/ 218650 h 5347241"/>
              <a:gd name="connsiteX2" fmla="*/ 4065104 w 6748669"/>
              <a:gd name="connsiteY2" fmla="*/ 795131 h 5347241"/>
              <a:gd name="connsiteX3" fmla="*/ 4065104 w 6748669"/>
              <a:gd name="connsiteY3" fmla="*/ 3677467 h 5347241"/>
              <a:gd name="connsiteX4" fmla="*/ 6748669 w 6748669"/>
              <a:gd name="connsiteY4" fmla="*/ 5307484 h 5347241"/>
              <a:gd name="connsiteX5" fmla="*/ 2077279 w 6748669"/>
              <a:gd name="connsiteY5" fmla="*/ 5347241 h 5347241"/>
              <a:gd name="connsiteX6" fmla="*/ 0 w 6748669"/>
              <a:gd name="connsiteY6" fmla="*/ 2753128 h 5347241"/>
              <a:gd name="connsiteX7" fmla="*/ 0 w 6748669"/>
              <a:gd name="connsiteY7" fmla="*/ 0 h 5347241"/>
              <a:gd name="connsiteX8" fmla="*/ 1182768 w 6748669"/>
              <a:gd name="connsiteY8" fmla="*/ 218650 h 5347241"/>
              <a:gd name="connsiteX0" fmla="*/ 1182768 w 8169965"/>
              <a:gd name="connsiteY0" fmla="*/ 218650 h 5347241"/>
              <a:gd name="connsiteX1" fmla="*/ 3488623 w 8169965"/>
              <a:gd name="connsiteY1" fmla="*/ 218650 h 5347241"/>
              <a:gd name="connsiteX2" fmla="*/ 4065104 w 8169965"/>
              <a:gd name="connsiteY2" fmla="*/ 795131 h 5347241"/>
              <a:gd name="connsiteX3" fmla="*/ 8169965 w 8169965"/>
              <a:gd name="connsiteY3" fmla="*/ 3478684 h 5347241"/>
              <a:gd name="connsiteX4" fmla="*/ 6748669 w 8169965"/>
              <a:gd name="connsiteY4" fmla="*/ 5307484 h 5347241"/>
              <a:gd name="connsiteX5" fmla="*/ 2077279 w 8169965"/>
              <a:gd name="connsiteY5" fmla="*/ 5347241 h 5347241"/>
              <a:gd name="connsiteX6" fmla="*/ 0 w 8169965"/>
              <a:gd name="connsiteY6" fmla="*/ 2753128 h 5347241"/>
              <a:gd name="connsiteX7" fmla="*/ 0 w 8169965"/>
              <a:gd name="connsiteY7" fmla="*/ 0 h 5347241"/>
              <a:gd name="connsiteX8" fmla="*/ 1182768 w 8169965"/>
              <a:gd name="connsiteY8" fmla="*/ 218650 h 5347241"/>
              <a:gd name="connsiteX0" fmla="*/ 1182768 w 8169965"/>
              <a:gd name="connsiteY0" fmla="*/ 218650 h 5347241"/>
              <a:gd name="connsiteX1" fmla="*/ 3488623 w 8169965"/>
              <a:gd name="connsiteY1" fmla="*/ 218650 h 5347241"/>
              <a:gd name="connsiteX2" fmla="*/ 8162542 w 8169965"/>
              <a:gd name="connsiteY2" fmla="*/ 1443314 h 5347241"/>
              <a:gd name="connsiteX3" fmla="*/ 8169965 w 8169965"/>
              <a:gd name="connsiteY3" fmla="*/ 3478684 h 5347241"/>
              <a:gd name="connsiteX4" fmla="*/ 6748669 w 8169965"/>
              <a:gd name="connsiteY4" fmla="*/ 5307484 h 5347241"/>
              <a:gd name="connsiteX5" fmla="*/ 2077279 w 8169965"/>
              <a:gd name="connsiteY5" fmla="*/ 5347241 h 5347241"/>
              <a:gd name="connsiteX6" fmla="*/ 0 w 8169965"/>
              <a:gd name="connsiteY6" fmla="*/ 2753128 h 5347241"/>
              <a:gd name="connsiteX7" fmla="*/ 0 w 8169965"/>
              <a:gd name="connsiteY7" fmla="*/ 0 h 5347241"/>
              <a:gd name="connsiteX8" fmla="*/ 1182768 w 8169965"/>
              <a:gd name="connsiteY8" fmla="*/ 218650 h 5347241"/>
              <a:gd name="connsiteX0" fmla="*/ 1182768 w 8169965"/>
              <a:gd name="connsiteY0" fmla="*/ 218650 h 5347241"/>
              <a:gd name="connsiteX1" fmla="*/ 3488623 w 8169965"/>
              <a:gd name="connsiteY1" fmla="*/ 218650 h 5347241"/>
              <a:gd name="connsiteX2" fmla="*/ 8162542 w 8169965"/>
              <a:gd name="connsiteY2" fmla="*/ 1443314 h 5347241"/>
              <a:gd name="connsiteX3" fmla="*/ 8169965 w 8169965"/>
              <a:gd name="connsiteY3" fmla="*/ 3478684 h 5347241"/>
              <a:gd name="connsiteX4" fmla="*/ 6899140 w 8169965"/>
              <a:gd name="connsiteY4" fmla="*/ 5319059 h 5347241"/>
              <a:gd name="connsiteX5" fmla="*/ 2077279 w 8169965"/>
              <a:gd name="connsiteY5" fmla="*/ 5347241 h 5347241"/>
              <a:gd name="connsiteX6" fmla="*/ 0 w 8169965"/>
              <a:gd name="connsiteY6" fmla="*/ 2753128 h 5347241"/>
              <a:gd name="connsiteX7" fmla="*/ 0 w 8169965"/>
              <a:gd name="connsiteY7" fmla="*/ 0 h 5347241"/>
              <a:gd name="connsiteX8" fmla="*/ 1182768 w 8169965"/>
              <a:gd name="connsiteY8" fmla="*/ 218650 h 5347241"/>
              <a:gd name="connsiteX0" fmla="*/ 1182768 w 8169965"/>
              <a:gd name="connsiteY0" fmla="*/ 218650 h 5358816"/>
              <a:gd name="connsiteX1" fmla="*/ 3488623 w 8169965"/>
              <a:gd name="connsiteY1" fmla="*/ 218650 h 5358816"/>
              <a:gd name="connsiteX2" fmla="*/ 8162542 w 8169965"/>
              <a:gd name="connsiteY2" fmla="*/ 1443314 h 5358816"/>
              <a:gd name="connsiteX3" fmla="*/ 8169965 w 8169965"/>
              <a:gd name="connsiteY3" fmla="*/ 3478684 h 5358816"/>
              <a:gd name="connsiteX4" fmla="*/ 6899140 w 8169965"/>
              <a:gd name="connsiteY4" fmla="*/ 5319059 h 5358816"/>
              <a:gd name="connsiteX5" fmla="*/ 2100428 w 8169965"/>
              <a:gd name="connsiteY5" fmla="*/ 5358816 h 5358816"/>
              <a:gd name="connsiteX6" fmla="*/ 0 w 8169965"/>
              <a:gd name="connsiteY6" fmla="*/ 2753128 h 5358816"/>
              <a:gd name="connsiteX7" fmla="*/ 0 w 8169965"/>
              <a:gd name="connsiteY7" fmla="*/ 0 h 5358816"/>
              <a:gd name="connsiteX8" fmla="*/ 1182768 w 8169965"/>
              <a:gd name="connsiteY8" fmla="*/ 218650 h 5358816"/>
              <a:gd name="connsiteX0" fmla="*/ 1182768 w 8169965"/>
              <a:gd name="connsiteY0" fmla="*/ 218650 h 5358816"/>
              <a:gd name="connsiteX1" fmla="*/ 3488623 w 8169965"/>
              <a:gd name="connsiteY1" fmla="*/ 218650 h 5358816"/>
              <a:gd name="connsiteX2" fmla="*/ 8162542 w 8169965"/>
              <a:gd name="connsiteY2" fmla="*/ 1443314 h 5358816"/>
              <a:gd name="connsiteX3" fmla="*/ 8169965 w 8169965"/>
              <a:gd name="connsiteY3" fmla="*/ 3478684 h 5358816"/>
              <a:gd name="connsiteX4" fmla="*/ 6875990 w 8169965"/>
              <a:gd name="connsiteY4" fmla="*/ 5342208 h 5358816"/>
              <a:gd name="connsiteX5" fmla="*/ 2100428 w 8169965"/>
              <a:gd name="connsiteY5" fmla="*/ 5358816 h 5358816"/>
              <a:gd name="connsiteX6" fmla="*/ 0 w 8169965"/>
              <a:gd name="connsiteY6" fmla="*/ 2753128 h 5358816"/>
              <a:gd name="connsiteX7" fmla="*/ 0 w 8169965"/>
              <a:gd name="connsiteY7" fmla="*/ 0 h 5358816"/>
              <a:gd name="connsiteX8" fmla="*/ 1182768 w 8169965"/>
              <a:gd name="connsiteY8" fmla="*/ 218650 h 5358816"/>
              <a:gd name="connsiteX0" fmla="*/ 303092 w 8169965"/>
              <a:gd name="connsiteY0" fmla="*/ 0 h 5869371"/>
              <a:gd name="connsiteX1" fmla="*/ 3488623 w 8169965"/>
              <a:gd name="connsiteY1" fmla="*/ 729205 h 5869371"/>
              <a:gd name="connsiteX2" fmla="*/ 8162542 w 8169965"/>
              <a:gd name="connsiteY2" fmla="*/ 1953869 h 5869371"/>
              <a:gd name="connsiteX3" fmla="*/ 8169965 w 8169965"/>
              <a:gd name="connsiteY3" fmla="*/ 3989239 h 5869371"/>
              <a:gd name="connsiteX4" fmla="*/ 6875990 w 8169965"/>
              <a:gd name="connsiteY4" fmla="*/ 5852763 h 5869371"/>
              <a:gd name="connsiteX5" fmla="*/ 2100428 w 8169965"/>
              <a:gd name="connsiteY5" fmla="*/ 5869371 h 5869371"/>
              <a:gd name="connsiteX6" fmla="*/ 0 w 8169965"/>
              <a:gd name="connsiteY6" fmla="*/ 3263683 h 5869371"/>
              <a:gd name="connsiteX7" fmla="*/ 0 w 8169965"/>
              <a:gd name="connsiteY7" fmla="*/ 510555 h 5869371"/>
              <a:gd name="connsiteX8" fmla="*/ 303092 w 8169965"/>
              <a:gd name="connsiteY8" fmla="*/ 0 h 5869371"/>
              <a:gd name="connsiteX0" fmla="*/ 303092 w 8169965"/>
              <a:gd name="connsiteY0" fmla="*/ 0 h 5869371"/>
              <a:gd name="connsiteX1" fmla="*/ 3731692 w 8169965"/>
              <a:gd name="connsiteY1" fmla="*/ 821802 h 5869371"/>
              <a:gd name="connsiteX2" fmla="*/ 8162542 w 8169965"/>
              <a:gd name="connsiteY2" fmla="*/ 1953869 h 5869371"/>
              <a:gd name="connsiteX3" fmla="*/ 8169965 w 8169965"/>
              <a:gd name="connsiteY3" fmla="*/ 3989239 h 5869371"/>
              <a:gd name="connsiteX4" fmla="*/ 6875990 w 8169965"/>
              <a:gd name="connsiteY4" fmla="*/ 5852763 h 5869371"/>
              <a:gd name="connsiteX5" fmla="*/ 2100428 w 8169965"/>
              <a:gd name="connsiteY5" fmla="*/ 5869371 h 5869371"/>
              <a:gd name="connsiteX6" fmla="*/ 0 w 8169965"/>
              <a:gd name="connsiteY6" fmla="*/ 3263683 h 5869371"/>
              <a:gd name="connsiteX7" fmla="*/ 0 w 8169965"/>
              <a:gd name="connsiteY7" fmla="*/ 510555 h 5869371"/>
              <a:gd name="connsiteX8" fmla="*/ 303092 w 8169965"/>
              <a:gd name="connsiteY8" fmla="*/ 0 h 5869371"/>
              <a:gd name="connsiteX0" fmla="*/ 303092 w 8169965"/>
              <a:gd name="connsiteY0" fmla="*/ 0 h 5869371"/>
              <a:gd name="connsiteX1" fmla="*/ 8162542 w 8169965"/>
              <a:gd name="connsiteY1" fmla="*/ 1953869 h 5869371"/>
              <a:gd name="connsiteX2" fmla="*/ 8169965 w 8169965"/>
              <a:gd name="connsiteY2" fmla="*/ 3989239 h 5869371"/>
              <a:gd name="connsiteX3" fmla="*/ 6875990 w 8169965"/>
              <a:gd name="connsiteY3" fmla="*/ 5852763 h 5869371"/>
              <a:gd name="connsiteX4" fmla="*/ 2100428 w 8169965"/>
              <a:gd name="connsiteY4" fmla="*/ 5869371 h 5869371"/>
              <a:gd name="connsiteX5" fmla="*/ 0 w 8169965"/>
              <a:gd name="connsiteY5" fmla="*/ 3263683 h 5869371"/>
              <a:gd name="connsiteX6" fmla="*/ 0 w 8169965"/>
              <a:gd name="connsiteY6" fmla="*/ 510555 h 5869371"/>
              <a:gd name="connsiteX7" fmla="*/ 303092 w 8169965"/>
              <a:gd name="connsiteY7"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3149 w 8193114"/>
              <a:gd name="connsiteY5" fmla="*/ 3263683 h 5869371"/>
              <a:gd name="connsiteX6" fmla="*/ 0 w 8193114"/>
              <a:gd name="connsiteY6" fmla="*/ 105441 h 5869371"/>
              <a:gd name="connsiteX7" fmla="*/ 326241 w 8193114"/>
              <a:gd name="connsiteY7"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383668 w 8193114"/>
              <a:gd name="connsiteY5" fmla="*/ 3712235 h 5869371"/>
              <a:gd name="connsiteX6" fmla="*/ 23149 w 8193114"/>
              <a:gd name="connsiteY6" fmla="*/ 3263683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58978 w 8193114"/>
              <a:gd name="connsiteY5" fmla="*/ 3706297 h 5869371"/>
              <a:gd name="connsiteX6" fmla="*/ 23149 w 8193114"/>
              <a:gd name="connsiteY6" fmla="*/ 3263683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58978 w 8193114"/>
              <a:gd name="connsiteY5" fmla="*/ 3706297 h 5869371"/>
              <a:gd name="connsiteX6" fmla="*/ 23149 w 8193114"/>
              <a:gd name="connsiteY6" fmla="*/ 3263683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58978 w 8193114"/>
              <a:gd name="connsiteY5" fmla="*/ 3706297 h 5869371"/>
              <a:gd name="connsiteX6" fmla="*/ 23149 w 8193114"/>
              <a:gd name="connsiteY6" fmla="*/ 3263683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58978 w 8193114"/>
              <a:gd name="connsiteY5" fmla="*/ 3706297 h 5869371"/>
              <a:gd name="connsiteX6" fmla="*/ 23149 w 8193114"/>
              <a:gd name="connsiteY6" fmla="*/ 3263683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258978 w 8193114"/>
              <a:gd name="connsiteY5" fmla="*/ 3706297 h 5869371"/>
              <a:gd name="connsiteX6" fmla="*/ 18600 w 8193114"/>
              <a:gd name="connsiteY6" fmla="*/ 3245486 h 5869371"/>
              <a:gd name="connsiteX7" fmla="*/ 0 w 8193114"/>
              <a:gd name="connsiteY7" fmla="*/ 105441 h 5869371"/>
              <a:gd name="connsiteX8" fmla="*/ 326241 w 8193114"/>
              <a:gd name="connsiteY8" fmla="*/ 0 h 5869371"/>
              <a:gd name="connsiteX0" fmla="*/ 326241 w 8193114"/>
              <a:gd name="connsiteY0" fmla="*/ 0 h 5869371"/>
              <a:gd name="connsiteX1" fmla="*/ 8185691 w 8193114"/>
              <a:gd name="connsiteY1" fmla="*/ 1953869 h 5869371"/>
              <a:gd name="connsiteX2" fmla="*/ 8193114 w 8193114"/>
              <a:gd name="connsiteY2" fmla="*/ 3989239 h 5869371"/>
              <a:gd name="connsiteX3" fmla="*/ 6899139 w 8193114"/>
              <a:gd name="connsiteY3" fmla="*/ 5852763 h 5869371"/>
              <a:gd name="connsiteX4" fmla="*/ 2123577 w 8193114"/>
              <a:gd name="connsiteY4" fmla="*/ 5869371 h 5869371"/>
              <a:gd name="connsiteX5" fmla="*/ 309020 w 8193114"/>
              <a:gd name="connsiteY5" fmla="*/ 3774536 h 5869371"/>
              <a:gd name="connsiteX6" fmla="*/ 18600 w 8193114"/>
              <a:gd name="connsiteY6" fmla="*/ 3245486 h 5869371"/>
              <a:gd name="connsiteX7" fmla="*/ 0 w 8193114"/>
              <a:gd name="connsiteY7" fmla="*/ 105441 h 5869371"/>
              <a:gd name="connsiteX8" fmla="*/ 326241 w 8193114"/>
              <a:gd name="connsiteY8" fmla="*/ 0 h 5869371"/>
              <a:gd name="connsiteX0" fmla="*/ 326241 w 8193114"/>
              <a:gd name="connsiteY0" fmla="*/ 0 h 5852763"/>
              <a:gd name="connsiteX1" fmla="*/ 8185691 w 8193114"/>
              <a:gd name="connsiteY1" fmla="*/ 1953869 h 5852763"/>
              <a:gd name="connsiteX2" fmla="*/ 8193114 w 8193114"/>
              <a:gd name="connsiteY2" fmla="*/ 3989239 h 5852763"/>
              <a:gd name="connsiteX3" fmla="*/ 6899139 w 8193114"/>
              <a:gd name="connsiteY3" fmla="*/ 5852763 h 5852763"/>
              <a:gd name="connsiteX4" fmla="*/ 2123577 w 8193114"/>
              <a:gd name="connsiteY4" fmla="*/ 5839554 h 5852763"/>
              <a:gd name="connsiteX5" fmla="*/ 309020 w 8193114"/>
              <a:gd name="connsiteY5" fmla="*/ 3774536 h 5852763"/>
              <a:gd name="connsiteX6" fmla="*/ 18600 w 8193114"/>
              <a:gd name="connsiteY6" fmla="*/ 3245486 h 5852763"/>
              <a:gd name="connsiteX7" fmla="*/ 0 w 8193114"/>
              <a:gd name="connsiteY7" fmla="*/ 105441 h 5852763"/>
              <a:gd name="connsiteX8" fmla="*/ 326241 w 8193114"/>
              <a:gd name="connsiteY8" fmla="*/ 0 h 5852763"/>
              <a:gd name="connsiteX0" fmla="*/ 286485 w 8193114"/>
              <a:gd name="connsiteY0" fmla="*/ 0 h 5872641"/>
              <a:gd name="connsiteX1" fmla="*/ 8185691 w 8193114"/>
              <a:gd name="connsiteY1" fmla="*/ 1973747 h 5872641"/>
              <a:gd name="connsiteX2" fmla="*/ 8193114 w 8193114"/>
              <a:gd name="connsiteY2" fmla="*/ 4009117 h 5872641"/>
              <a:gd name="connsiteX3" fmla="*/ 6899139 w 8193114"/>
              <a:gd name="connsiteY3" fmla="*/ 5872641 h 5872641"/>
              <a:gd name="connsiteX4" fmla="*/ 2123577 w 8193114"/>
              <a:gd name="connsiteY4" fmla="*/ 5859432 h 5872641"/>
              <a:gd name="connsiteX5" fmla="*/ 309020 w 8193114"/>
              <a:gd name="connsiteY5" fmla="*/ 3794414 h 5872641"/>
              <a:gd name="connsiteX6" fmla="*/ 18600 w 8193114"/>
              <a:gd name="connsiteY6" fmla="*/ 3265364 h 5872641"/>
              <a:gd name="connsiteX7" fmla="*/ 0 w 8193114"/>
              <a:gd name="connsiteY7" fmla="*/ 125319 h 5872641"/>
              <a:gd name="connsiteX8" fmla="*/ 286485 w 8193114"/>
              <a:gd name="connsiteY8" fmla="*/ 0 h 5872641"/>
              <a:gd name="connsiteX0" fmla="*/ 286485 w 8193114"/>
              <a:gd name="connsiteY0" fmla="*/ 0 h 5872641"/>
              <a:gd name="connsiteX1" fmla="*/ 8185691 w 8193114"/>
              <a:gd name="connsiteY1" fmla="*/ 1963808 h 5872641"/>
              <a:gd name="connsiteX2" fmla="*/ 8193114 w 8193114"/>
              <a:gd name="connsiteY2" fmla="*/ 4009117 h 5872641"/>
              <a:gd name="connsiteX3" fmla="*/ 6899139 w 8193114"/>
              <a:gd name="connsiteY3" fmla="*/ 5872641 h 5872641"/>
              <a:gd name="connsiteX4" fmla="*/ 2123577 w 8193114"/>
              <a:gd name="connsiteY4" fmla="*/ 5859432 h 5872641"/>
              <a:gd name="connsiteX5" fmla="*/ 309020 w 8193114"/>
              <a:gd name="connsiteY5" fmla="*/ 3794414 h 5872641"/>
              <a:gd name="connsiteX6" fmla="*/ 18600 w 8193114"/>
              <a:gd name="connsiteY6" fmla="*/ 3265364 h 5872641"/>
              <a:gd name="connsiteX7" fmla="*/ 0 w 8193114"/>
              <a:gd name="connsiteY7" fmla="*/ 125319 h 5872641"/>
              <a:gd name="connsiteX8" fmla="*/ 286485 w 8193114"/>
              <a:gd name="connsiteY8" fmla="*/ 0 h 5872641"/>
              <a:gd name="connsiteX0" fmla="*/ 276546 w 8193114"/>
              <a:gd name="connsiteY0" fmla="*/ 0 h 5882580"/>
              <a:gd name="connsiteX1" fmla="*/ 8185691 w 8193114"/>
              <a:gd name="connsiteY1" fmla="*/ 1973747 h 5882580"/>
              <a:gd name="connsiteX2" fmla="*/ 8193114 w 8193114"/>
              <a:gd name="connsiteY2" fmla="*/ 4019056 h 5882580"/>
              <a:gd name="connsiteX3" fmla="*/ 6899139 w 8193114"/>
              <a:gd name="connsiteY3" fmla="*/ 5882580 h 5882580"/>
              <a:gd name="connsiteX4" fmla="*/ 2123577 w 8193114"/>
              <a:gd name="connsiteY4" fmla="*/ 5869371 h 5882580"/>
              <a:gd name="connsiteX5" fmla="*/ 309020 w 8193114"/>
              <a:gd name="connsiteY5" fmla="*/ 3804353 h 5882580"/>
              <a:gd name="connsiteX6" fmla="*/ 18600 w 8193114"/>
              <a:gd name="connsiteY6" fmla="*/ 3275303 h 5882580"/>
              <a:gd name="connsiteX7" fmla="*/ 0 w 8193114"/>
              <a:gd name="connsiteY7" fmla="*/ 135258 h 5882580"/>
              <a:gd name="connsiteX8" fmla="*/ 276546 w 8193114"/>
              <a:gd name="connsiteY8" fmla="*/ 0 h 5882580"/>
              <a:gd name="connsiteX0" fmla="*/ 276546 w 8193114"/>
              <a:gd name="connsiteY0" fmla="*/ 8851 h 5891431"/>
              <a:gd name="connsiteX1" fmla="*/ 8185691 w 8193114"/>
              <a:gd name="connsiteY1" fmla="*/ 1982598 h 5891431"/>
              <a:gd name="connsiteX2" fmla="*/ 8193114 w 8193114"/>
              <a:gd name="connsiteY2" fmla="*/ 4027907 h 5891431"/>
              <a:gd name="connsiteX3" fmla="*/ 6899139 w 8193114"/>
              <a:gd name="connsiteY3" fmla="*/ 5891431 h 5891431"/>
              <a:gd name="connsiteX4" fmla="*/ 2123577 w 8193114"/>
              <a:gd name="connsiteY4" fmla="*/ 5878222 h 5891431"/>
              <a:gd name="connsiteX5" fmla="*/ 309020 w 8193114"/>
              <a:gd name="connsiteY5" fmla="*/ 3813204 h 5891431"/>
              <a:gd name="connsiteX6" fmla="*/ 18600 w 8193114"/>
              <a:gd name="connsiteY6" fmla="*/ 3284154 h 5891431"/>
              <a:gd name="connsiteX7" fmla="*/ 0 w 8193114"/>
              <a:gd name="connsiteY7" fmla="*/ 144109 h 5891431"/>
              <a:gd name="connsiteX8" fmla="*/ 276546 w 8193114"/>
              <a:gd name="connsiteY8" fmla="*/ 8851 h 5891431"/>
              <a:gd name="connsiteX0" fmla="*/ 276546 w 8193114"/>
              <a:gd name="connsiteY0" fmla="*/ 18576 h 5901156"/>
              <a:gd name="connsiteX1" fmla="*/ 8185691 w 8193114"/>
              <a:gd name="connsiteY1" fmla="*/ 1992323 h 5901156"/>
              <a:gd name="connsiteX2" fmla="*/ 8193114 w 8193114"/>
              <a:gd name="connsiteY2" fmla="*/ 4037632 h 5901156"/>
              <a:gd name="connsiteX3" fmla="*/ 6899139 w 8193114"/>
              <a:gd name="connsiteY3" fmla="*/ 5901156 h 5901156"/>
              <a:gd name="connsiteX4" fmla="*/ 2123577 w 8193114"/>
              <a:gd name="connsiteY4" fmla="*/ 5887947 h 5901156"/>
              <a:gd name="connsiteX5" fmla="*/ 309020 w 8193114"/>
              <a:gd name="connsiteY5" fmla="*/ 3822929 h 5901156"/>
              <a:gd name="connsiteX6" fmla="*/ 18600 w 8193114"/>
              <a:gd name="connsiteY6" fmla="*/ 3293879 h 5901156"/>
              <a:gd name="connsiteX7" fmla="*/ 0 w 8193114"/>
              <a:gd name="connsiteY7" fmla="*/ 153834 h 5901156"/>
              <a:gd name="connsiteX8" fmla="*/ 276546 w 8193114"/>
              <a:gd name="connsiteY8" fmla="*/ 18576 h 5901156"/>
              <a:gd name="connsiteX0" fmla="*/ 276546 w 8193114"/>
              <a:gd name="connsiteY0" fmla="*/ 17428 h 5900008"/>
              <a:gd name="connsiteX1" fmla="*/ 8185691 w 8193114"/>
              <a:gd name="connsiteY1" fmla="*/ 1991175 h 5900008"/>
              <a:gd name="connsiteX2" fmla="*/ 8193114 w 8193114"/>
              <a:gd name="connsiteY2" fmla="*/ 4036484 h 5900008"/>
              <a:gd name="connsiteX3" fmla="*/ 6899139 w 8193114"/>
              <a:gd name="connsiteY3" fmla="*/ 5900008 h 5900008"/>
              <a:gd name="connsiteX4" fmla="*/ 2123577 w 8193114"/>
              <a:gd name="connsiteY4" fmla="*/ 5886799 h 5900008"/>
              <a:gd name="connsiteX5" fmla="*/ 309020 w 8193114"/>
              <a:gd name="connsiteY5" fmla="*/ 3821781 h 5900008"/>
              <a:gd name="connsiteX6" fmla="*/ 18600 w 8193114"/>
              <a:gd name="connsiteY6" fmla="*/ 3292731 h 5900008"/>
              <a:gd name="connsiteX7" fmla="*/ 0 w 8193114"/>
              <a:gd name="connsiteY7" fmla="*/ 152686 h 5900008"/>
              <a:gd name="connsiteX8" fmla="*/ 276546 w 8193114"/>
              <a:gd name="connsiteY8" fmla="*/ 17428 h 5900008"/>
              <a:gd name="connsiteX0" fmla="*/ 276546 w 8193114"/>
              <a:gd name="connsiteY0" fmla="*/ 33372 h 5915952"/>
              <a:gd name="connsiteX1" fmla="*/ 8185691 w 8193114"/>
              <a:gd name="connsiteY1" fmla="*/ 2007119 h 5915952"/>
              <a:gd name="connsiteX2" fmla="*/ 8193114 w 8193114"/>
              <a:gd name="connsiteY2" fmla="*/ 4052428 h 5915952"/>
              <a:gd name="connsiteX3" fmla="*/ 6899139 w 8193114"/>
              <a:gd name="connsiteY3" fmla="*/ 5915952 h 5915952"/>
              <a:gd name="connsiteX4" fmla="*/ 2123577 w 8193114"/>
              <a:gd name="connsiteY4" fmla="*/ 5902743 h 5915952"/>
              <a:gd name="connsiteX5" fmla="*/ 309020 w 8193114"/>
              <a:gd name="connsiteY5" fmla="*/ 3837725 h 5915952"/>
              <a:gd name="connsiteX6" fmla="*/ 18600 w 8193114"/>
              <a:gd name="connsiteY6" fmla="*/ 3308675 h 5915952"/>
              <a:gd name="connsiteX7" fmla="*/ 0 w 8193114"/>
              <a:gd name="connsiteY7" fmla="*/ 168630 h 5915952"/>
              <a:gd name="connsiteX8" fmla="*/ 276546 w 8193114"/>
              <a:gd name="connsiteY8" fmla="*/ 33372 h 5915952"/>
              <a:gd name="connsiteX0" fmla="*/ 276546 w 8193114"/>
              <a:gd name="connsiteY0" fmla="*/ 14294 h 5896874"/>
              <a:gd name="connsiteX1" fmla="*/ 8185691 w 8193114"/>
              <a:gd name="connsiteY1" fmla="*/ 1988041 h 5896874"/>
              <a:gd name="connsiteX2" fmla="*/ 8193114 w 8193114"/>
              <a:gd name="connsiteY2" fmla="*/ 4033350 h 5896874"/>
              <a:gd name="connsiteX3" fmla="*/ 6899139 w 8193114"/>
              <a:gd name="connsiteY3" fmla="*/ 5896874 h 5896874"/>
              <a:gd name="connsiteX4" fmla="*/ 2123577 w 8193114"/>
              <a:gd name="connsiteY4" fmla="*/ 5883665 h 5896874"/>
              <a:gd name="connsiteX5" fmla="*/ 309020 w 8193114"/>
              <a:gd name="connsiteY5" fmla="*/ 3818647 h 5896874"/>
              <a:gd name="connsiteX6" fmla="*/ 18600 w 8193114"/>
              <a:gd name="connsiteY6" fmla="*/ 3289597 h 5896874"/>
              <a:gd name="connsiteX7" fmla="*/ 0 w 8193114"/>
              <a:gd name="connsiteY7" fmla="*/ 149552 h 5896874"/>
              <a:gd name="connsiteX8" fmla="*/ 276546 w 8193114"/>
              <a:gd name="connsiteY8" fmla="*/ 14294 h 5896874"/>
              <a:gd name="connsiteX0" fmla="*/ 276546 w 8193114"/>
              <a:gd name="connsiteY0" fmla="*/ 20586 h 5903166"/>
              <a:gd name="connsiteX1" fmla="*/ 8185691 w 8193114"/>
              <a:gd name="connsiteY1" fmla="*/ 1994333 h 5903166"/>
              <a:gd name="connsiteX2" fmla="*/ 8193114 w 8193114"/>
              <a:gd name="connsiteY2" fmla="*/ 4039642 h 5903166"/>
              <a:gd name="connsiteX3" fmla="*/ 6899139 w 8193114"/>
              <a:gd name="connsiteY3" fmla="*/ 5903166 h 5903166"/>
              <a:gd name="connsiteX4" fmla="*/ 2123577 w 8193114"/>
              <a:gd name="connsiteY4" fmla="*/ 5889957 h 5903166"/>
              <a:gd name="connsiteX5" fmla="*/ 309020 w 8193114"/>
              <a:gd name="connsiteY5" fmla="*/ 3824939 h 5903166"/>
              <a:gd name="connsiteX6" fmla="*/ 18600 w 8193114"/>
              <a:gd name="connsiteY6" fmla="*/ 3295889 h 5903166"/>
              <a:gd name="connsiteX7" fmla="*/ 0 w 8193114"/>
              <a:gd name="connsiteY7" fmla="*/ 155844 h 5903166"/>
              <a:gd name="connsiteX8" fmla="*/ 276546 w 8193114"/>
              <a:gd name="connsiteY8" fmla="*/ 20586 h 5903166"/>
              <a:gd name="connsiteX0" fmla="*/ 276546 w 8193114"/>
              <a:gd name="connsiteY0" fmla="*/ 20586 h 5903166"/>
              <a:gd name="connsiteX1" fmla="*/ 8185691 w 8193114"/>
              <a:gd name="connsiteY1" fmla="*/ 1994333 h 5903166"/>
              <a:gd name="connsiteX2" fmla="*/ 8193114 w 8193114"/>
              <a:gd name="connsiteY2" fmla="*/ 4039642 h 5903166"/>
              <a:gd name="connsiteX3" fmla="*/ 6899139 w 8193114"/>
              <a:gd name="connsiteY3" fmla="*/ 5903166 h 5903166"/>
              <a:gd name="connsiteX4" fmla="*/ 2123577 w 8193114"/>
              <a:gd name="connsiteY4" fmla="*/ 5889957 h 5903166"/>
              <a:gd name="connsiteX5" fmla="*/ 309020 w 8193114"/>
              <a:gd name="connsiteY5" fmla="*/ 3824939 h 5903166"/>
              <a:gd name="connsiteX6" fmla="*/ 18600 w 8193114"/>
              <a:gd name="connsiteY6" fmla="*/ 3295889 h 5903166"/>
              <a:gd name="connsiteX7" fmla="*/ 0 w 8193114"/>
              <a:gd name="connsiteY7" fmla="*/ 155844 h 5903166"/>
              <a:gd name="connsiteX8" fmla="*/ 276546 w 8193114"/>
              <a:gd name="connsiteY8" fmla="*/ 20586 h 5903166"/>
              <a:gd name="connsiteX0" fmla="*/ 276546 w 8193114"/>
              <a:gd name="connsiteY0" fmla="*/ 62247 h 5944827"/>
              <a:gd name="connsiteX1" fmla="*/ 8185691 w 8193114"/>
              <a:gd name="connsiteY1" fmla="*/ 2035994 h 5944827"/>
              <a:gd name="connsiteX2" fmla="*/ 8193114 w 8193114"/>
              <a:gd name="connsiteY2" fmla="*/ 4081303 h 5944827"/>
              <a:gd name="connsiteX3" fmla="*/ 6899139 w 8193114"/>
              <a:gd name="connsiteY3" fmla="*/ 5944827 h 5944827"/>
              <a:gd name="connsiteX4" fmla="*/ 2123577 w 8193114"/>
              <a:gd name="connsiteY4" fmla="*/ 5931618 h 5944827"/>
              <a:gd name="connsiteX5" fmla="*/ 309020 w 8193114"/>
              <a:gd name="connsiteY5" fmla="*/ 3866600 h 5944827"/>
              <a:gd name="connsiteX6" fmla="*/ 18600 w 8193114"/>
              <a:gd name="connsiteY6" fmla="*/ 3337550 h 5944827"/>
              <a:gd name="connsiteX7" fmla="*/ 0 w 8193114"/>
              <a:gd name="connsiteY7" fmla="*/ 197505 h 5944827"/>
              <a:gd name="connsiteX8" fmla="*/ 276546 w 8193114"/>
              <a:gd name="connsiteY8" fmla="*/ 62247 h 5944827"/>
              <a:gd name="connsiteX0" fmla="*/ 276546 w 8193114"/>
              <a:gd name="connsiteY0" fmla="*/ 17865 h 5900445"/>
              <a:gd name="connsiteX1" fmla="*/ 8185691 w 8193114"/>
              <a:gd name="connsiteY1" fmla="*/ 1991612 h 5900445"/>
              <a:gd name="connsiteX2" fmla="*/ 8193114 w 8193114"/>
              <a:gd name="connsiteY2" fmla="*/ 4036921 h 5900445"/>
              <a:gd name="connsiteX3" fmla="*/ 6899139 w 8193114"/>
              <a:gd name="connsiteY3" fmla="*/ 5900445 h 5900445"/>
              <a:gd name="connsiteX4" fmla="*/ 2123577 w 8193114"/>
              <a:gd name="connsiteY4" fmla="*/ 5887236 h 5900445"/>
              <a:gd name="connsiteX5" fmla="*/ 309020 w 8193114"/>
              <a:gd name="connsiteY5" fmla="*/ 3822218 h 5900445"/>
              <a:gd name="connsiteX6" fmla="*/ 18600 w 8193114"/>
              <a:gd name="connsiteY6" fmla="*/ 3293168 h 5900445"/>
              <a:gd name="connsiteX7" fmla="*/ 0 w 8193114"/>
              <a:gd name="connsiteY7" fmla="*/ 153123 h 5900445"/>
              <a:gd name="connsiteX8" fmla="*/ 276546 w 8193114"/>
              <a:gd name="connsiteY8" fmla="*/ 17865 h 5900445"/>
              <a:gd name="connsiteX0" fmla="*/ 276546 w 8193114"/>
              <a:gd name="connsiteY0" fmla="*/ 17865 h 5900445"/>
              <a:gd name="connsiteX1" fmla="*/ 8185691 w 8193114"/>
              <a:gd name="connsiteY1" fmla="*/ 1991612 h 5900445"/>
              <a:gd name="connsiteX2" fmla="*/ 8193114 w 8193114"/>
              <a:gd name="connsiteY2" fmla="*/ 4036921 h 5900445"/>
              <a:gd name="connsiteX3" fmla="*/ 6899139 w 8193114"/>
              <a:gd name="connsiteY3" fmla="*/ 5900445 h 5900445"/>
              <a:gd name="connsiteX4" fmla="*/ 2123577 w 8193114"/>
              <a:gd name="connsiteY4" fmla="*/ 5887236 h 5900445"/>
              <a:gd name="connsiteX5" fmla="*/ 309020 w 8193114"/>
              <a:gd name="connsiteY5" fmla="*/ 3822218 h 5900445"/>
              <a:gd name="connsiteX6" fmla="*/ 18600 w 8193114"/>
              <a:gd name="connsiteY6" fmla="*/ 3293168 h 5900445"/>
              <a:gd name="connsiteX7" fmla="*/ 0 w 8193114"/>
              <a:gd name="connsiteY7" fmla="*/ 153123 h 5900445"/>
              <a:gd name="connsiteX8" fmla="*/ 276546 w 8193114"/>
              <a:gd name="connsiteY8" fmla="*/ 17865 h 5900445"/>
              <a:gd name="connsiteX0" fmla="*/ 276546 w 8193114"/>
              <a:gd name="connsiteY0" fmla="*/ 17865 h 5900445"/>
              <a:gd name="connsiteX1" fmla="*/ 8185691 w 8193114"/>
              <a:gd name="connsiteY1" fmla="*/ 1991612 h 5900445"/>
              <a:gd name="connsiteX2" fmla="*/ 8193114 w 8193114"/>
              <a:gd name="connsiteY2" fmla="*/ 4036921 h 5900445"/>
              <a:gd name="connsiteX3" fmla="*/ 6899139 w 8193114"/>
              <a:gd name="connsiteY3" fmla="*/ 5900445 h 5900445"/>
              <a:gd name="connsiteX4" fmla="*/ 2123577 w 8193114"/>
              <a:gd name="connsiteY4" fmla="*/ 5887236 h 5900445"/>
              <a:gd name="connsiteX5" fmla="*/ 309020 w 8193114"/>
              <a:gd name="connsiteY5" fmla="*/ 3822218 h 5900445"/>
              <a:gd name="connsiteX6" fmla="*/ 18600 w 8193114"/>
              <a:gd name="connsiteY6" fmla="*/ 3293168 h 5900445"/>
              <a:gd name="connsiteX7" fmla="*/ 0 w 8193114"/>
              <a:gd name="connsiteY7" fmla="*/ 153123 h 5900445"/>
              <a:gd name="connsiteX8" fmla="*/ 276546 w 8193114"/>
              <a:gd name="connsiteY8" fmla="*/ 17865 h 5900445"/>
              <a:gd name="connsiteX0" fmla="*/ 276546 w 8193114"/>
              <a:gd name="connsiteY0" fmla="*/ 14556 h 5897136"/>
              <a:gd name="connsiteX1" fmla="*/ 8185691 w 8193114"/>
              <a:gd name="connsiteY1" fmla="*/ 1988303 h 5897136"/>
              <a:gd name="connsiteX2" fmla="*/ 8193114 w 8193114"/>
              <a:gd name="connsiteY2" fmla="*/ 4033612 h 5897136"/>
              <a:gd name="connsiteX3" fmla="*/ 6899139 w 8193114"/>
              <a:gd name="connsiteY3" fmla="*/ 5897136 h 5897136"/>
              <a:gd name="connsiteX4" fmla="*/ 2123577 w 8193114"/>
              <a:gd name="connsiteY4" fmla="*/ 5883927 h 5897136"/>
              <a:gd name="connsiteX5" fmla="*/ 309020 w 8193114"/>
              <a:gd name="connsiteY5" fmla="*/ 3818909 h 5897136"/>
              <a:gd name="connsiteX6" fmla="*/ 18600 w 8193114"/>
              <a:gd name="connsiteY6" fmla="*/ 3289859 h 5897136"/>
              <a:gd name="connsiteX7" fmla="*/ 0 w 8193114"/>
              <a:gd name="connsiteY7" fmla="*/ 149814 h 5897136"/>
              <a:gd name="connsiteX8" fmla="*/ 276546 w 8193114"/>
              <a:gd name="connsiteY8" fmla="*/ 14556 h 5897136"/>
              <a:gd name="connsiteX0" fmla="*/ 276546 w 8193114"/>
              <a:gd name="connsiteY0" fmla="*/ 14556 h 5897136"/>
              <a:gd name="connsiteX1" fmla="*/ 8185691 w 8193114"/>
              <a:gd name="connsiteY1" fmla="*/ 1988303 h 5897136"/>
              <a:gd name="connsiteX2" fmla="*/ 8193114 w 8193114"/>
              <a:gd name="connsiteY2" fmla="*/ 4033612 h 5897136"/>
              <a:gd name="connsiteX3" fmla="*/ 6899139 w 8193114"/>
              <a:gd name="connsiteY3" fmla="*/ 5897136 h 5897136"/>
              <a:gd name="connsiteX4" fmla="*/ 2123577 w 8193114"/>
              <a:gd name="connsiteY4" fmla="*/ 5883927 h 5897136"/>
              <a:gd name="connsiteX5" fmla="*/ 309020 w 8193114"/>
              <a:gd name="connsiteY5" fmla="*/ 3818909 h 5897136"/>
              <a:gd name="connsiteX6" fmla="*/ 18600 w 8193114"/>
              <a:gd name="connsiteY6" fmla="*/ 3289859 h 5897136"/>
              <a:gd name="connsiteX7" fmla="*/ 0 w 8193114"/>
              <a:gd name="connsiteY7" fmla="*/ 149814 h 5897136"/>
              <a:gd name="connsiteX8" fmla="*/ 276546 w 8193114"/>
              <a:gd name="connsiteY8" fmla="*/ 14556 h 5897136"/>
              <a:gd name="connsiteX0" fmla="*/ 270196 w 8193114"/>
              <a:gd name="connsiteY0" fmla="*/ 13136 h 5908416"/>
              <a:gd name="connsiteX1" fmla="*/ 8185691 w 8193114"/>
              <a:gd name="connsiteY1" fmla="*/ 1999583 h 5908416"/>
              <a:gd name="connsiteX2" fmla="*/ 8193114 w 8193114"/>
              <a:gd name="connsiteY2" fmla="*/ 4044892 h 5908416"/>
              <a:gd name="connsiteX3" fmla="*/ 6899139 w 8193114"/>
              <a:gd name="connsiteY3" fmla="*/ 5908416 h 5908416"/>
              <a:gd name="connsiteX4" fmla="*/ 2123577 w 8193114"/>
              <a:gd name="connsiteY4" fmla="*/ 5895207 h 5908416"/>
              <a:gd name="connsiteX5" fmla="*/ 309020 w 8193114"/>
              <a:gd name="connsiteY5" fmla="*/ 3830189 h 5908416"/>
              <a:gd name="connsiteX6" fmla="*/ 18600 w 8193114"/>
              <a:gd name="connsiteY6" fmla="*/ 3301139 h 5908416"/>
              <a:gd name="connsiteX7" fmla="*/ 0 w 8193114"/>
              <a:gd name="connsiteY7" fmla="*/ 161094 h 5908416"/>
              <a:gd name="connsiteX8" fmla="*/ 270196 w 8193114"/>
              <a:gd name="connsiteY8" fmla="*/ 13136 h 5908416"/>
              <a:gd name="connsiteX0" fmla="*/ 270196 w 8193114"/>
              <a:gd name="connsiteY0" fmla="*/ 8433 h 5903713"/>
              <a:gd name="connsiteX1" fmla="*/ 8185691 w 8193114"/>
              <a:gd name="connsiteY1" fmla="*/ 1994880 h 5903713"/>
              <a:gd name="connsiteX2" fmla="*/ 8193114 w 8193114"/>
              <a:gd name="connsiteY2" fmla="*/ 4040189 h 5903713"/>
              <a:gd name="connsiteX3" fmla="*/ 6899139 w 8193114"/>
              <a:gd name="connsiteY3" fmla="*/ 5903713 h 5903713"/>
              <a:gd name="connsiteX4" fmla="*/ 2123577 w 8193114"/>
              <a:gd name="connsiteY4" fmla="*/ 5890504 h 5903713"/>
              <a:gd name="connsiteX5" fmla="*/ 309020 w 8193114"/>
              <a:gd name="connsiteY5" fmla="*/ 3825486 h 5903713"/>
              <a:gd name="connsiteX6" fmla="*/ 18600 w 8193114"/>
              <a:gd name="connsiteY6" fmla="*/ 3296436 h 5903713"/>
              <a:gd name="connsiteX7" fmla="*/ 0 w 8193114"/>
              <a:gd name="connsiteY7" fmla="*/ 156391 h 5903713"/>
              <a:gd name="connsiteX8" fmla="*/ 270196 w 8193114"/>
              <a:gd name="connsiteY8" fmla="*/ 8433 h 5903713"/>
              <a:gd name="connsiteX0" fmla="*/ 270196 w 8186251"/>
              <a:gd name="connsiteY0" fmla="*/ 8433 h 5903713"/>
              <a:gd name="connsiteX1" fmla="*/ 8185691 w 8186251"/>
              <a:gd name="connsiteY1" fmla="*/ 1994880 h 5903713"/>
              <a:gd name="connsiteX2" fmla="*/ 8183970 w 8186251"/>
              <a:gd name="connsiteY2" fmla="*/ 4104197 h 5903713"/>
              <a:gd name="connsiteX3" fmla="*/ 6899139 w 8186251"/>
              <a:gd name="connsiteY3" fmla="*/ 5903713 h 5903713"/>
              <a:gd name="connsiteX4" fmla="*/ 2123577 w 8186251"/>
              <a:gd name="connsiteY4" fmla="*/ 5890504 h 5903713"/>
              <a:gd name="connsiteX5" fmla="*/ 309020 w 8186251"/>
              <a:gd name="connsiteY5" fmla="*/ 3825486 h 5903713"/>
              <a:gd name="connsiteX6" fmla="*/ 18600 w 8186251"/>
              <a:gd name="connsiteY6" fmla="*/ 3296436 h 5903713"/>
              <a:gd name="connsiteX7" fmla="*/ 0 w 8186251"/>
              <a:gd name="connsiteY7" fmla="*/ 156391 h 5903713"/>
              <a:gd name="connsiteX8" fmla="*/ 270196 w 8186251"/>
              <a:gd name="connsiteY8" fmla="*/ 8433 h 5903713"/>
              <a:gd name="connsiteX0" fmla="*/ 270196 w 8183970"/>
              <a:gd name="connsiteY0" fmla="*/ 8433 h 5903713"/>
              <a:gd name="connsiteX1" fmla="*/ 6654071 w 8183970"/>
              <a:gd name="connsiteY1" fmla="*/ 1613880 h 5903713"/>
              <a:gd name="connsiteX2" fmla="*/ 8183970 w 8183970"/>
              <a:gd name="connsiteY2" fmla="*/ 4104197 h 5903713"/>
              <a:gd name="connsiteX3" fmla="*/ 6899139 w 8183970"/>
              <a:gd name="connsiteY3" fmla="*/ 5903713 h 5903713"/>
              <a:gd name="connsiteX4" fmla="*/ 2123577 w 8183970"/>
              <a:gd name="connsiteY4" fmla="*/ 5890504 h 5903713"/>
              <a:gd name="connsiteX5" fmla="*/ 309020 w 8183970"/>
              <a:gd name="connsiteY5" fmla="*/ 3825486 h 5903713"/>
              <a:gd name="connsiteX6" fmla="*/ 18600 w 8183970"/>
              <a:gd name="connsiteY6" fmla="*/ 3296436 h 5903713"/>
              <a:gd name="connsiteX7" fmla="*/ 0 w 8183970"/>
              <a:gd name="connsiteY7" fmla="*/ 156391 h 5903713"/>
              <a:gd name="connsiteX8" fmla="*/ 270196 w 8183970"/>
              <a:gd name="connsiteY8" fmla="*/ 8433 h 5903713"/>
              <a:gd name="connsiteX0" fmla="*/ 270196 w 6899139"/>
              <a:gd name="connsiteY0" fmla="*/ 8433 h 5903713"/>
              <a:gd name="connsiteX1" fmla="*/ 6654071 w 6899139"/>
              <a:gd name="connsiteY1" fmla="*/ 1613880 h 5903713"/>
              <a:gd name="connsiteX2" fmla="*/ 6736170 w 6899139"/>
              <a:gd name="connsiteY2" fmla="*/ 3822257 h 5903713"/>
              <a:gd name="connsiteX3" fmla="*/ 6899139 w 6899139"/>
              <a:gd name="connsiteY3" fmla="*/ 5903713 h 5903713"/>
              <a:gd name="connsiteX4" fmla="*/ 2123577 w 6899139"/>
              <a:gd name="connsiteY4" fmla="*/ 5890504 h 5903713"/>
              <a:gd name="connsiteX5" fmla="*/ 309020 w 6899139"/>
              <a:gd name="connsiteY5" fmla="*/ 3825486 h 5903713"/>
              <a:gd name="connsiteX6" fmla="*/ 18600 w 6899139"/>
              <a:gd name="connsiteY6" fmla="*/ 3296436 h 5903713"/>
              <a:gd name="connsiteX7" fmla="*/ 0 w 6899139"/>
              <a:gd name="connsiteY7" fmla="*/ 156391 h 5903713"/>
              <a:gd name="connsiteX8" fmla="*/ 270196 w 6899139"/>
              <a:gd name="connsiteY8" fmla="*/ 8433 h 5903713"/>
              <a:gd name="connsiteX0" fmla="*/ 270196 w 6899139"/>
              <a:gd name="connsiteY0" fmla="*/ 8433 h 5903713"/>
              <a:gd name="connsiteX1" fmla="*/ 6654071 w 6899139"/>
              <a:gd name="connsiteY1" fmla="*/ 1613880 h 5903713"/>
              <a:gd name="connsiteX2" fmla="*/ 6522810 w 6899139"/>
              <a:gd name="connsiteY2" fmla="*/ 3822257 h 5903713"/>
              <a:gd name="connsiteX3" fmla="*/ 6899139 w 6899139"/>
              <a:gd name="connsiteY3" fmla="*/ 5903713 h 5903713"/>
              <a:gd name="connsiteX4" fmla="*/ 2123577 w 6899139"/>
              <a:gd name="connsiteY4" fmla="*/ 5890504 h 5903713"/>
              <a:gd name="connsiteX5" fmla="*/ 309020 w 6899139"/>
              <a:gd name="connsiteY5" fmla="*/ 3825486 h 5903713"/>
              <a:gd name="connsiteX6" fmla="*/ 18600 w 6899139"/>
              <a:gd name="connsiteY6" fmla="*/ 3296436 h 5903713"/>
              <a:gd name="connsiteX7" fmla="*/ 0 w 6899139"/>
              <a:gd name="connsiteY7" fmla="*/ 156391 h 5903713"/>
              <a:gd name="connsiteX8" fmla="*/ 270196 w 6899139"/>
              <a:gd name="connsiteY8" fmla="*/ 8433 h 5903713"/>
              <a:gd name="connsiteX0" fmla="*/ 270196 w 6899139"/>
              <a:gd name="connsiteY0" fmla="*/ 8433 h 5903713"/>
              <a:gd name="connsiteX1" fmla="*/ 6654071 w 6899139"/>
              <a:gd name="connsiteY1" fmla="*/ 1613880 h 5903713"/>
              <a:gd name="connsiteX2" fmla="*/ 6606630 w 6899139"/>
              <a:gd name="connsiteY2" fmla="*/ 3845117 h 5903713"/>
              <a:gd name="connsiteX3" fmla="*/ 6899139 w 6899139"/>
              <a:gd name="connsiteY3" fmla="*/ 5903713 h 5903713"/>
              <a:gd name="connsiteX4" fmla="*/ 2123577 w 6899139"/>
              <a:gd name="connsiteY4" fmla="*/ 5890504 h 5903713"/>
              <a:gd name="connsiteX5" fmla="*/ 309020 w 6899139"/>
              <a:gd name="connsiteY5" fmla="*/ 3825486 h 5903713"/>
              <a:gd name="connsiteX6" fmla="*/ 18600 w 6899139"/>
              <a:gd name="connsiteY6" fmla="*/ 3296436 h 5903713"/>
              <a:gd name="connsiteX7" fmla="*/ 0 w 6899139"/>
              <a:gd name="connsiteY7" fmla="*/ 156391 h 5903713"/>
              <a:gd name="connsiteX8" fmla="*/ 270196 w 6899139"/>
              <a:gd name="connsiteY8" fmla="*/ 8433 h 5903713"/>
              <a:gd name="connsiteX0" fmla="*/ 270196 w 6899139"/>
              <a:gd name="connsiteY0" fmla="*/ 8433 h 5903713"/>
              <a:gd name="connsiteX1" fmla="*/ 6608351 w 6899139"/>
              <a:gd name="connsiteY1" fmla="*/ 1613880 h 5903713"/>
              <a:gd name="connsiteX2" fmla="*/ 6606630 w 6899139"/>
              <a:gd name="connsiteY2" fmla="*/ 3845117 h 5903713"/>
              <a:gd name="connsiteX3" fmla="*/ 6899139 w 6899139"/>
              <a:gd name="connsiteY3" fmla="*/ 5903713 h 5903713"/>
              <a:gd name="connsiteX4" fmla="*/ 2123577 w 6899139"/>
              <a:gd name="connsiteY4" fmla="*/ 5890504 h 5903713"/>
              <a:gd name="connsiteX5" fmla="*/ 309020 w 6899139"/>
              <a:gd name="connsiteY5" fmla="*/ 3825486 h 5903713"/>
              <a:gd name="connsiteX6" fmla="*/ 18600 w 6899139"/>
              <a:gd name="connsiteY6" fmla="*/ 3296436 h 5903713"/>
              <a:gd name="connsiteX7" fmla="*/ 0 w 6899139"/>
              <a:gd name="connsiteY7" fmla="*/ 156391 h 5903713"/>
              <a:gd name="connsiteX8" fmla="*/ 270196 w 6899139"/>
              <a:gd name="connsiteY8" fmla="*/ 8433 h 5903713"/>
              <a:gd name="connsiteX0" fmla="*/ 270196 w 6624819"/>
              <a:gd name="connsiteY0" fmla="*/ 8433 h 5890504"/>
              <a:gd name="connsiteX1" fmla="*/ 6608351 w 6624819"/>
              <a:gd name="connsiteY1" fmla="*/ 1613880 h 5890504"/>
              <a:gd name="connsiteX2" fmla="*/ 6606630 w 6624819"/>
              <a:gd name="connsiteY2" fmla="*/ 3845117 h 5890504"/>
              <a:gd name="connsiteX3" fmla="*/ 6624819 w 6624819"/>
              <a:gd name="connsiteY3" fmla="*/ 5873233 h 5890504"/>
              <a:gd name="connsiteX4" fmla="*/ 2123577 w 6624819"/>
              <a:gd name="connsiteY4" fmla="*/ 5890504 h 5890504"/>
              <a:gd name="connsiteX5" fmla="*/ 309020 w 6624819"/>
              <a:gd name="connsiteY5" fmla="*/ 3825486 h 5890504"/>
              <a:gd name="connsiteX6" fmla="*/ 18600 w 6624819"/>
              <a:gd name="connsiteY6" fmla="*/ 3296436 h 5890504"/>
              <a:gd name="connsiteX7" fmla="*/ 0 w 6624819"/>
              <a:gd name="connsiteY7" fmla="*/ 156391 h 5890504"/>
              <a:gd name="connsiteX8" fmla="*/ 270196 w 6624819"/>
              <a:gd name="connsiteY8" fmla="*/ 8433 h 5890504"/>
              <a:gd name="connsiteX0" fmla="*/ 270196 w 6631387"/>
              <a:gd name="connsiteY0" fmla="*/ 8433 h 5890504"/>
              <a:gd name="connsiteX1" fmla="*/ 6631240 w 6631387"/>
              <a:gd name="connsiteY1" fmla="*/ 1621483 h 5890504"/>
              <a:gd name="connsiteX2" fmla="*/ 6606630 w 6631387"/>
              <a:gd name="connsiteY2" fmla="*/ 3845117 h 5890504"/>
              <a:gd name="connsiteX3" fmla="*/ 6624819 w 6631387"/>
              <a:gd name="connsiteY3" fmla="*/ 5873233 h 5890504"/>
              <a:gd name="connsiteX4" fmla="*/ 2123577 w 6631387"/>
              <a:gd name="connsiteY4" fmla="*/ 5890504 h 5890504"/>
              <a:gd name="connsiteX5" fmla="*/ 309020 w 6631387"/>
              <a:gd name="connsiteY5" fmla="*/ 3825486 h 5890504"/>
              <a:gd name="connsiteX6" fmla="*/ 18600 w 6631387"/>
              <a:gd name="connsiteY6" fmla="*/ 3296436 h 5890504"/>
              <a:gd name="connsiteX7" fmla="*/ 0 w 6631387"/>
              <a:gd name="connsiteY7" fmla="*/ 156391 h 5890504"/>
              <a:gd name="connsiteX8" fmla="*/ 270196 w 6631387"/>
              <a:gd name="connsiteY8" fmla="*/ 8433 h 5890504"/>
              <a:gd name="connsiteX0" fmla="*/ 270196 w 6638185"/>
              <a:gd name="connsiteY0" fmla="*/ 8433 h 5890504"/>
              <a:gd name="connsiteX1" fmla="*/ 6631240 w 6638185"/>
              <a:gd name="connsiteY1" fmla="*/ 1621483 h 5890504"/>
              <a:gd name="connsiteX2" fmla="*/ 6606630 w 6638185"/>
              <a:gd name="connsiteY2" fmla="*/ 3845117 h 5890504"/>
              <a:gd name="connsiteX3" fmla="*/ 6624819 w 6638185"/>
              <a:gd name="connsiteY3" fmla="*/ 5873233 h 5890504"/>
              <a:gd name="connsiteX4" fmla="*/ 2123577 w 6638185"/>
              <a:gd name="connsiteY4" fmla="*/ 5890504 h 5890504"/>
              <a:gd name="connsiteX5" fmla="*/ 309020 w 6638185"/>
              <a:gd name="connsiteY5" fmla="*/ 3825486 h 5890504"/>
              <a:gd name="connsiteX6" fmla="*/ 18600 w 6638185"/>
              <a:gd name="connsiteY6" fmla="*/ 3296436 h 5890504"/>
              <a:gd name="connsiteX7" fmla="*/ 0 w 6638185"/>
              <a:gd name="connsiteY7" fmla="*/ 156391 h 5890504"/>
              <a:gd name="connsiteX8" fmla="*/ 270196 w 6638185"/>
              <a:gd name="connsiteY8" fmla="*/ 8433 h 5890504"/>
              <a:gd name="connsiteX0" fmla="*/ 270196 w 6641587"/>
              <a:gd name="connsiteY0" fmla="*/ 8433 h 5890504"/>
              <a:gd name="connsiteX1" fmla="*/ 6631240 w 6641587"/>
              <a:gd name="connsiteY1" fmla="*/ 1621483 h 5890504"/>
              <a:gd name="connsiteX2" fmla="*/ 6629519 w 6641587"/>
              <a:gd name="connsiteY2" fmla="*/ 3784294 h 5890504"/>
              <a:gd name="connsiteX3" fmla="*/ 6624819 w 6641587"/>
              <a:gd name="connsiteY3" fmla="*/ 5873233 h 5890504"/>
              <a:gd name="connsiteX4" fmla="*/ 2123577 w 6641587"/>
              <a:gd name="connsiteY4" fmla="*/ 5890504 h 5890504"/>
              <a:gd name="connsiteX5" fmla="*/ 309020 w 6641587"/>
              <a:gd name="connsiteY5" fmla="*/ 3825486 h 5890504"/>
              <a:gd name="connsiteX6" fmla="*/ 18600 w 6641587"/>
              <a:gd name="connsiteY6" fmla="*/ 3296436 h 5890504"/>
              <a:gd name="connsiteX7" fmla="*/ 0 w 6641587"/>
              <a:gd name="connsiteY7" fmla="*/ 156391 h 5890504"/>
              <a:gd name="connsiteX8" fmla="*/ 270196 w 6641587"/>
              <a:gd name="connsiteY8" fmla="*/ 8433 h 5890504"/>
              <a:gd name="connsiteX0" fmla="*/ 270196 w 6641587"/>
              <a:gd name="connsiteY0" fmla="*/ 8433 h 5896043"/>
              <a:gd name="connsiteX1" fmla="*/ 6631240 w 6641587"/>
              <a:gd name="connsiteY1" fmla="*/ 1621483 h 5896043"/>
              <a:gd name="connsiteX2" fmla="*/ 6629519 w 6641587"/>
              <a:gd name="connsiteY2" fmla="*/ 3784294 h 5896043"/>
              <a:gd name="connsiteX3" fmla="*/ 6632449 w 6641587"/>
              <a:gd name="connsiteY3" fmla="*/ 5896043 h 5896043"/>
              <a:gd name="connsiteX4" fmla="*/ 2123577 w 6641587"/>
              <a:gd name="connsiteY4" fmla="*/ 5890504 h 5896043"/>
              <a:gd name="connsiteX5" fmla="*/ 309020 w 6641587"/>
              <a:gd name="connsiteY5" fmla="*/ 3825486 h 5896043"/>
              <a:gd name="connsiteX6" fmla="*/ 18600 w 6641587"/>
              <a:gd name="connsiteY6" fmla="*/ 3296436 h 5896043"/>
              <a:gd name="connsiteX7" fmla="*/ 0 w 6641587"/>
              <a:gd name="connsiteY7" fmla="*/ 156391 h 5896043"/>
              <a:gd name="connsiteX8" fmla="*/ 270196 w 6641587"/>
              <a:gd name="connsiteY8" fmla="*/ 8433 h 5896043"/>
              <a:gd name="connsiteX0" fmla="*/ 270196 w 6646594"/>
              <a:gd name="connsiteY0" fmla="*/ 8433 h 5896043"/>
              <a:gd name="connsiteX1" fmla="*/ 6631240 w 6646594"/>
              <a:gd name="connsiteY1" fmla="*/ 1621483 h 5896043"/>
              <a:gd name="connsiteX2" fmla="*/ 6644778 w 6646594"/>
              <a:gd name="connsiteY2" fmla="*/ 3746280 h 5896043"/>
              <a:gd name="connsiteX3" fmla="*/ 6632449 w 6646594"/>
              <a:gd name="connsiteY3" fmla="*/ 5896043 h 5896043"/>
              <a:gd name="connsiteX4" fmla="*/ 2123577 w 6646594"/>
              <a:gd name="connsiteY4" fmla="*/ 5890504 h 5896043"/>
              <a:gd name="connsiteX5" fmla="*/ 309020 w 6646594"/>
              <a:gd name="connsiteY5" fmla="*/ 3825486 h 5896043"/>
              <a:gd name="connsiteX6" fmla="*/ 18600 w 6646594"/>
              <a:gd name="connsiteY6" fmla="*/ 3296436 h 5896043"/>
              <a:gd name="connsiteX7" fmla="*/ 0 w 6646594"/>
              <a:gd name="connsiteY7" fmla="*/ 156391 h 5896043"/>
              <a:gd name="connsiteX8" fmla="*/ 270196 w 6646594"/>
              <a:gd name="connsiteY8" fmla="*/ 8433 h 5896043"/>
              <a:gd name="connsiteX0" fmla="*/ 270196 w 6652408"/>
              <a:gd name="connsiteY0" fmla="*/ 8433 h 5896043"/>
              <a:gd name="connsiteX1" fmla="*/ 6631240 w 6652408"/>
              <a:gd name="connsiteY1" fmla="*/ 1621483 h 5896043"/>
              <a:gd name="connsiteX2" fmla="*/ 6652408 w 6652408"/>
              <a:gd name="connsiteY2" fmla="*/ 3632236 h 5896043"/>
              <a:gd name="connsiteX3" fmla="*/ 6632449 w 6652408"/>
              <a:gd name="connsiteY3" fmla="*/ 5896043 h 5896043"/>
              <a:gd name="connsiteX4" fmla="*/ 2123577 w 6652408"/>
              <a:gd name="connsiteY4" fmla="*/ 5890504 h 5896043"/>
              <a:gd name="connsiteX5" fmla="*/ 309020 w 6652408"/>
              <a:gd name="connsiteY5" fmla="*/ 3825486 h 5896043"/>
              <a:gd name="connsiteX6" fmla="*/ 18600 w 6652408"/>
              <a:gd name="connsiteY6" fmla="*/ 3296436 h 5896043"/>
              <a:gd name="connsiteX7" fmla="*/ 0 w 6652408"/>
              <a:gd name="connsiteY7" fmla="*/ 156391 h 5896043"/>
              <a:gd name="connsiteX8" fmla="*/ 270196 w 6652408"/>
              <a:gd name="connsiteY8" fmla="*/ 8433 h 5896043"/>
              <a:gd name="connsiteX0" fmla="*/ 270196 w 6658862"/>
              <a:gd name="connsiteY0" fmla="*/ 8433 h 5896043"/>
              <a:gd name="connsiteX1" fmla="*/ 6646500 w 6658862"/>
              <a:gd name="connsiteY1" fmla="*/ 1629086 h 5896043"/>
              <a:gd name="connsiteX2" fmla="*/ 6652408 w 6658862"/>
              <a:gd name="connsiteY2" fmla="*/ 3632236 h 5896043"/>
              <a:gd name="connsiteX3" fmla="*/ 6632449 w 6658862"/>
              <a:gd name="connsiteY3" fmla="*/ 5896043 h 5896043"/>
              <a:gd name="connsiteX4" fmla="*/ 2123577 w 6658862"/>
              <a:gd name="connsiteY4" fmla="*/ 5890504 h 5896043"/>
              <a:gd name="connsiteX5" fmla="*/ 309020 w 6658862"/>
              <a:gd name="connsiteY5" fmla="*/ 3825486 h 5896043"/>
              <a:gd name="connsiteX6" fmla="*/ 18600 w 6658862"/>
              <a:gd name="connsiteY6" fmla="*/ 3296436 h 5896043"/>
              <a:gd name="connsiteX7" fmla="*/ 0 w 6658862"/>
              <a:gd name="connsiteY7" fmla="*/ 156391 h 5896043"/>
              <a:gd name="connsiteX8" fmla="*/ 270196 w 6658862"/>
              <a:gd name="connsiteY8" fmla="*/ 8433 h 5896043"/>
              <a:gd name="connsiteX0" fmla="*/ 270196 w 6652408"/>
              <a:gd name="connsiteY0" fmla="*/ 8433 h 5896043"/>
              <a:gd name="connsiteX1" fmla="*/ 6646500 w 6652408"/>
              <a:gd name="connsiteY1" fmla="*/ 1629086 h 5896043"/>
              <a:gd name="connsiteX2" fmla="*/ 6652408 w 6652408"/>
              <a:gd name="connsiteY2" fmla="*/ 3632236 h 5896043"/>
              <a:gd name="connsiteX3" fmla="*/ 6632449 w 6652408"/>
              <a:gd name="connsiteY3" fmla="*/ 5896043 h 5896043"/>
              <a:gd name="connsiteX4" fmla="*/ 2123577 w 6652408"/>
              <a:gd name="connsiteY4" fmla="*/ 5890504 h 5896043"/>
              <a:gd name="connsiteX5" fmla="*/ 309020 w 6652408"/>
              <a:gd name="connsiteY5" fmla="*/ 3825486 h 5896043"/>
              <a:gd name="connsiteX6" fmla="*/ 18600 w 6652408"/>
              <a:gd name="connsiteY6" fmla="*/ 3296436 h 5896043"/>
              <a:gd name="connsiteX7" fmla="*/ 0 w 6652408"/>
              <a:gd name="connsiteY7" fmla="*/ 156391 h 5896043"/>
              <a:gd name="connsiteX8" fmla="*/ 270196 w 6652408"/>
              <a:gd name="connsiteY8" fmla="*/ 8433 h 5896043"/>
              <a:gd name="connsiteX0" fmla="*/ 270196 w 6652408"/>
              <a:gd name="connsiteY0" fmla="*/ 8433 h 5896043"/>
              <a:gd name="connsiteX1" fmla="*/ 6623612 w 6652408"/>
              <a:gd name="connsiteY1" fmla="*/ 1621483 h 5896043"/>
              <a:gd name="connsiteX2" fmla="*/ 6652408 w 6652408"/>
              <a:gd name="connsiteY2" fmla="*/ 3632236 h 5896043"/>
              <a:gd name="connsiteX3" fmla="*/ 6632449 w 6652408"/>
              <a:gd name="connsiteY3" fmla="*/ 5896043 h 5896043"/>
              <a:gd name="connsiteX4" fmla="*/ 2123577 w 6652408"/>
              <a:gd name="connsiteY4" fmla="*/ 5890504 h 5896043"/>
              <a:gd name="connsiteX5" fmla="*/ 309020 w 6652408"/>
              <a:gd name="connsiteY5" fmla="*/ 3825486 h 5896043"/>
              <a:gd name="connsiteX6" fmla="*/ 18600 w 6652408"/>
              <a:gd name="connsiteY6" fmla="*/ 3296436 h 5896043"/>
              <a:gd name="connsiteX7" fmla="*/ 0 w 6652408"/>
              <a:gd name="connsiteY7" fmla="*/ 156391 h 5896043"/>
              <a:gd name="connsiteX8" fmla="*/ 270196 w 6652408"/>
              <a:gd name="connsiteY8" fmla="*/ 8433 h 5896043"/>
              <a:gd name="connsiteX0" fmla="*/ 270196 w 6632574"/>
              <a:gd name="connsiteY0" fmla="*/ 8433 h 5896043"/>
              <a:gd name="connsiteX1" fmla="*/ 6623612 w 6632574"/>
              <a:gd name="connsiteY1" fmla="*/ 1621483 h 5896043"/>
              <a:gd name="connsiteX2" fmla="*/ 6621890 w 6632574"/>
              <a:gd name="connsiteY2" fmla="*/ 3685457 h 5896043"/>
              <a:gd name="connsiteX3" fmla="*/ 6632449 w 6632574"/>
              <a:gd name="connsiteY3" fmla="*/ 5896043 h 5896043"/>
              <a:gd name="connsiteX4" fmla="*/ 2123577 w 6632574"/>
              <a:gd name="connsiteY4" fmla="*/ 5890504 h 5896043"/>
              <a:gd name="connsiteX5" fmla="*/ 309020 w 6632574"/>
              <a:gd name="connsiteY5" fmla="*/ 3825486 h 5896043"/>
              <a:gd name="connsiteX6" fmla="*/ 18600 w 6632574"/>
              <a:gd name="connsiteY6" fmla="*/ 3296436 h 5896043"/>
              <a:gd name="connsiteX7" fmla="*/ 0 w 6632574"/>
              <a:gd name="connsiteY7" fmla="*/ 156391 h 5896043"/>
              <a:gd name="connsiteX8" fmla="*/ 270196 w 6632574"/>
              <a:gd name="connsiteY8" fmla="*/ 8433 h 5896043"/>
              <a:gd name="connsiteX0" fmla="*/ 599473 w 6961851"/>
              <a:gd name="connsiteY0" fmla="*/ 110390 h 5998000"/>
              <a:gd name="connsiteX1" fmla="*/ 6952889 w 6961851"/>
              <a:gd name="connsiteY1" fmla="*/ 1723440 h 5998000"/>
              <a:gd name="connsiteX2" fmla="*/ 6951167 w 6961851"/>
              <a:gd name="connsiteY2" fmla="*/ 3787414 h 5998000"/>
              <a:gd name="connsiteX3" fmla="*/ 6961726 w 6961851"/>
              <a:gd name="connsiteY3" fmla="*/ 5998000 h 5998000"/>
              <a:gd name="connsiteX4" fmla="*/ 2452854 w 6961851"/>
              <a:gd name="connsiteY4" fmla="*/ 5992461 h 5998000"/>
              <a:gd name="connsiteX5" fmla="*/ 638297 w 6961851"/>
              <a:gd name="connsiteY5" fmla="*/ 3927443 h 5998000"/>
              <a:gd name="connsiteX6" fmla="*/ 347877 w 6961851"/>
              <a:gd name="connsiteY6" fmla="*/ 3398393 h 5998000"/>
              <a:gd name="connsiteX7" fmla="*/ 0 w 6961851"/>
              <a:gd name="connsiteY7" fmla="*/ 43013 h 5998000"/>
              <a:gd name="connsiteX8" fmla="*/ 599473 w 6961851"/>
              <a:gd name="connsiteY8" fmla="*/ 110390 h 5998000"/>
              <a:gd name="connsiteX0" fmla="*/ 599473 w 6961851"/>
              <a:gd name="connsiteY0" fmla="*/ 56493 h 6015882"/>
              <a:gd name="connsiteX1" fmla="*/ 6952889 w 6961851"/>
              <a:gd name="connsiteY1" fmla="*/ 1741322 h 6015882"/>
              <a:gd name="connsiteX2" fmla="*/ 6951167 w 6961851"/>
              <a:gd name="connsiteY2" fmla="*/ 3805296 h 6015882"/>
              <a:gd name="connsiteX3" fmla="*/ 6961726 w 6961851"/>
              <a:gd name="connsiteY3" fmla="*/ 6015882 h 6015882"/>
              <a:gd name="connsiteX4" fmla="*/ 2452854 w 6961851"/>
              <a:gd name="connsiteY4" fmla="*/ 6010343 h 6015882"/>
              <a:gd name="connsiteX5" fmla="*/ 638297 w 6961851"/>
              <a:gd name="connsiteY5" fmla="*/ 3945325 h 6015882"/>
              <a:gd name="connsiteX6" fmla="*/ 347877 w 6961851"/>
              <a:gd name="connsiteY6" fmla="*/ 3416275 h 6015882"/>
              <a:gd name="connsiteX7" fmla="*/ 0 w 6961851"/>
              <a:gd name="connsiteY7" fmla="*/ 60895 h 6015882"/>
              <a:gd name="connsiteX8" fmla="*/ 599473 w 6961851"/>
              <a:gd name="connsiteY8" fmla="*/ 56493 h 6015882"/>
              <a:gd name="connsiteX0" fmla="*/ 599473 w 6961851"/>
              <a:gd name="connsiteY0" fmla="*/ 56493 h 6015882"/>
              <a:gd name="connsiteX1" fmla="*/ 6952889 w 6961851"/>
              <a:gd name="connsiteY1" fmla="*/ 1741322 h 6015882"/>
              <a:gd name="connsiteX2" fmla="*/ 6951167 w 6961851"/>
              <a:gd name="connsiteY2" fmla="*/ 3805296 h 6015882"/>
              <a:gd name="connsiteX3" fmla="*/ 6961726 w 6961851"/>
              <a:gd name="connsiteY3" fmla="*/ 6015882 h 6015882"/>
              <a:gd name="connsiteX4" fmla="*/ 2452854 w 6961851"/>
              <a:gd name="connsiteY4" fmla="*/ 6010343 h 6015882"/>
              <a:gd name="connsiteX5" fmla="*/ 638297 w 6961851"/>
              <a:gd name="connsiteY5" fmla="*/ 3945325 h 6015882"/>
              <a:gd name="connsiteX6" fmla="*/ 347877 w 6961851"/>
              <a:gd name="connsiteY6" fmla="*/ 3416275 h 6015882"/>
              <a:gd name="connsiteX7" fmla="*/ 0 w 6961851"/>
              <a:gd name="connsiteY7" fmla="*/ 60895 h 6015882"/>
              <a:gd name="connsiteX8" fmla="*/ 599473 w 6961851"/>
              <a:gd name="connsiteY8" fmla="*/ 56493 h 6015882"/>
              <a:gd name="connsiteX0" fmla="*/ 599473 w 6961851"/>
              <a:gd name="connsiteY0" fmla="*/ 56493 h 6015882"/>
              <a:gd name="connsiteX1" fmla="*/ 6942600 w 6961851"/>
              <a:gd name="connsiteY1" fmla="*/ 2254025 h 6015882"/>
              <a:gd name="connsiteX2" fmla="*/ 6951167 w 6961851"/>
              <a:gd name="connsiteY2" fmla="*/ 3805296 h 6015882"/>
              <a:gd name="connsiteX3" fmla="*/ 6961726 w 6961851"/>
              <a:gd name="connsiteY3" fmla="*/ 6015882 h 6015882"/>
              <a:gd name="connsiteX4" fmla="*/ 2452854 w 6961851"/>
              <a:gd name="connsiteY4" fmla="*/ 6010343 h 6015882"/>
              <a:gd name="connsiteX5" fmla="*/ 638297 w 6961851"/>
              <a:gd name="connsiteY5" fmla="*/ 3945325 h 6015882"/>
              <a:gd name="connsiteX6" fmla="*/ 347877 w 6961851"/>
              <a:gd name="connsiteY6" fmla="*/ 3416275 h 6015882"/>
              <a:gd name="connsiteX7" fmla="*/ 0 w 6961851"/>
              <a:gd name="connsiteY7" fmla="*/ 60895 h 6015882"/>
              <a:gd name="connsiteX8" fmla="*/ 599473 w 6961851"/>
              <a:gd name="connsiteY8" fmla="*/ 56493 h 6015882"/>
              <a:gd name="connsiteX0" fmla="*/ 599473 w 6961851"/>
              <a:gd name="connsiteY0" fmla="*/ 56493 h 6015882"/>
              <a:gd name="connsiteX1" fmla="*/ 6952891 w 6961851"/>
              <a:gd name="connsiteY1" fmla="*/ 1956658 h 6015882"/>
              <a:gd name="connsiteX2" fmla="*/ 6951167 w 6961851"/>
              <a:gd name="connsiteY2" fmla="*/ 3805296 h 6015882"/>
              <a:gd name="connsiteX3" fmla="*/ 6961726 w 6961851"/>
              <a:gd name="connsiteY3" fmla="*/ 6015882 h 6015882"/>
              <a:gd name="connsiteX4" fmla="*/ 2452854 w 6961851"/>
              <a:gd name="connsiteY4" fmla="*/ 6010343 h 6015882"/>
              <a:gd name="connsiteX5" fmla="*/ 638297 w 6961851"/>
              <a:gd name="connsiteY5" fmla="*/ 3945325 h 6015882"/>
              <a:gd name="connsiteX6" fmla="*/ 347877 w 6961851"/>
              <a:gd name="connsiteY6" fmla="*/ 3416275 h 6015882"/>
              <a:gd name="connsiteX7" fmla="*/ 0 w 6961851"/>
              <a:gd name="connsiteY7" fmla="*/ 60895 h 6015882"/>
              <a:gd name="connsiteX8" fmla="*/ 599473 w 6961851"/>
              <a:gd name="connsiteY8" fmla="*/ 56493 h 6015882"/>
              <a:gd name="connsiteX0" fmla="*/ 599473 w 6961851"/>
              <a:gd name="connsiteY0" fmla="*/ 56493 h 6015882"/>
              <a:gd name="connsiteX1" fmla="*/ 6952891 w 6961851"/>
              <a:gd name="connsiteY1" fmla="*/ 1956658 h 6015882"/>
              <a:gd name="connsiteX2" fmla="*/ 6951167 w 6961851"/>
              <a:gd name="connsiteY2" fmla="*/ 3805296 h 6015882"/>
              <a:gd name="connsiteX3" fmla="*/ 6961726 w 6961851"/>
              <a:gd name="connsiteY3" fmla="*/ 6015882 h 6015882"/>
              <a:gd name="connsiteX4" fmla="*/ 2452854 w 6961851"/>
              <a:gd name="connsiteY4" fmla="*/ 6010343 h 6015882"/>
              <a:gd name="connsiteX5" fmla="*/ 638297 w 6961851"/>
              <a:gd name="connsiteY5" fmla="*/ 3945325 h 6015882"/>
              <a:gd name="connsiteX6" fmla="*/ 347877 w 6961851"/>
              <a:gd name="connsiteY6" fmla="*/ 3416275 h 6015882"/>
              <a:gd name="connsiteX7" fmla="*/ 0 w 6961851"/>
              <a:gd name="connsiteY7" fmla="*/ 60895 h 6015882"/>
              <a:gd name="connsiteX8" fmla="*/ 599473 w 6961851"/>
              <a:gd name="connsiteY8" fmla="*/ 56493 h 6015882"/>
              <a:gd name="connsiteX0" fmla="*/ 599473 w 6961851"/>
              <a:gd name="connsiteY0" fmla="*/ 56493 h 6015882"/>
              <a:gd name="connsiteX1" fmla="*/ 6798543 w 6961851"/>
              <a:gd name="connsiteY1" fmla="*/ 1915641 h 6015882"/>
              <a:gd name="connsiteX2" fmla="*/ 6951167 w 6961851"/>
              <a:gd name="connsiteY2" fmla="*/ 3805296 h 6015882"/>
              <a:gd name="connsiteX3" fmla="*/ 6961726 w 6961851"/>
              <a:gd name="connsiteY3" fmla="*/ 6015882 h 6015882"/>
              <a:gd name="connsiteX4" fmla="*/ 2452854 w 6961851"/>
              <a:gd name="connsiteY4" fmla="*/ 6010343 h 6015882"/>
              <a:gd name="connsiteX5" fmla="*/ 638297 w 6961851"/>
              <a:gd name="connsiteY5" fmla="*/ 3945325 h 6015882"/>
              <a:gd name="connsiteX6" fmla="*/ 347877 w 6961851"/>
              <a:gd name="connsiteY6" fmla="*/ 3416275 h 6015882"/>
              <a:gd name="connsiteX7" fmla="*/ 0 w 6961851"/>
              <a:gd name="connsiteY7" fmla="*/ 60895 h 6015882"/>
              <a:gd name="connsiteX8" fmla="*/ 599473 w 6961851"/>
              <a:gd name="connsiteY8" fmla="*/ 56493 h 6015882"/>
              <a:gd name="connsiteX0" fmla="*/ 599473 w 6961739"/>
              <a:gd name="connsiteY0" fmla="*/ 56493 h 6015882"/>
              <a:gd name="connsiteX1" fmla="*/ 6798543 w 6961739"/>
              <a:gd name="connsiteY1" fmla="*/ 1915641 h 6015882"/>
              <a:gd name="connsiteX2" fmla="*/ 6827688 w 6961739"/>
              <a:gd name="connsiteY2" fmla="*/ 3907837 h 6015882"/>
              <a:gd name="connsiteX3" fmla="*/ 6961726 w 6961739"/>
              <a:gd name="connsiteY3" fmla="*/ 6015882 h 6015882"/>
              <a:gd name="connsiteX4" fmla="*/ 2452854 w 6961739"/>
              <a:gd name="connsiteY4" fmla="*/ 6010343 h 6015882"/>
              <a:gd name="connsiteX5" fmla="*/ 638297 w 6961739"/>
              <a:gd name="connsiteY5" fmla="*/ 3945325 h 6015882"/>
              <a:gd name="connsiteX6" fmla="*/ 347877 w 6961739"/>
              <a:gd name="connsiteY6" fmla="*/ 3416275 h 6015882"/>
              <a:gd name="connsiteX7" fmla="*/ 0 w 6961739"/>
              <a:gd name="connsiteY7" fmla="*/ 60895 h 6015882"/>
              <a:gd name="connsiteX8" fmla="*/ 599473 w 6961739"/>
              <a:gd name="connsiteY8" fmla="*/ 56493 h 6015882"/>
              <a:gd name="connsiteX0" fmla="*/ 599473 w 6848610"/>
              <a:gd name="connsiteY0" fmla="*/ 56493 h 6010343"/>
              <a:gd name="connsiteX1" fmla="*/ 6798543 w 6848610"/>
              <a:gd name="connsiteY1" fmla="*/ 1915641 h 6010343"/>
              <a:gd name="connsiteX2" fmla="*/ 6827688 w 6848610"/>
              <a:gd name="connsiteY2" fmla="*/ 3907837 h 6010343"/>
              <a:gd name="connsiteX3" fmla="*/ 6848537 w 6848610"/>
              <a:gd name="connsiteY3" fmla="*/ 5728769 h 6010343"/>
              <a:gd name="connsiteX4" fmla="*/ 2452854 w 6848610"/>
              <a:gd name="connsiteY4" fmla="*/ 6010343 h 6010343"/>
              <a:gd name="connsiteX5" fmla="*/ 638297 w 6848610"/>
              <a:gd name="connsiteY5" fmla="*/ 3945325 h 6010343"/>
              <a:gd name="connsiteX6" fmla="*/ 347877 w 6848610"/>
              <a:gd name="connsiteY6" fmla="*/ 3416275 h 6010343"/>
              <a:gd name="connsiteX7" fmla="*/ 0 w 6848610"/>
              <a:gd name="connsiteY7" fmla="*/ 60895 h 6010343"/>
              <a:gd name="connsiteX8" fmla="*/ 599473 w 6848610"/>
              <a:gd name="connsiteY8" fmla="*/ 56493 h 6010343"/>
              <a:gd name="connsiteX0" fmla="*/ 599473 w 6827688"/>
              <a:gd name="connsiteY0" fmla="*/ 56493 h 6010343"/>
              <a:gd name="connsiteX1" fmla="*/ 6798543 w 6827688"/>
              <a:gd name="connsiteY1" fmla="*/ 1915641 h 6010343"/>
              <a:gd name="connsiteX2" fmla="*/ 6827688 w 6827688"/>
              <a:gd name="connsiteY2" fmla="*/ 3907837 h 6010343"/>
              <a:gd name="connsiteX3" fmla="*/ 6755928 w 6827688"/>
              <a:gd name="connsiteY3" fmla="*/ 5810801 h 6010343"/>
              <a:gd name="connsiteX4" fmla="*/ 2452854 w 6827688"/>
              <a:gd name="connsiteY4" fmla="*/ 6010343 h 6010343"/>
              <a:gd name="connsiteX5" fmla="*/ 638297 w 6827688"/>
              <a:gd name="connsiteY5" fmla="*/ 3945325 h 6010343"/>
              <a:gd name="connsiteX6" fmla="*/ 347877 w 6827688"/>
              <a:gd name="connsiteY6" fmla="*/ 3416275 h 6010343"/>
              <a:gd name="connsiteX7" fmla="*/ 0 w 6827688"/>
              <a:gd name="connsiteY7" fmla="*/ 60895 h 6010343"/>
              <a:gd name="connsiteX8" fmla="*/ 599473 w 6827688"/>
              <a:gd name="connsiteY8" fmla="*/ 56493 h 6010343"/>
              <a:gd name="connsiteX0" fmla="*/ 599473 w 6827688"/>
              <a:gd name="connsiteY0" fmla="*/ 56493 h 5810801"/>
              <a:gd name="connsiteX1" fmla="*/ 6798543 w 6827688"/>
              <a:gd name="connsiteY1" fmla="*/ 1915641 h 5810801"/>
              <a:gd name="connsiteX2" fmla="*/ 6827688 w 6827688"/>
              <a:gd name="connsiteY2" fmla="*/ 3907837 h 5810801"/>
              <a:gd name="connsiteX3" fmla="*/ 6755928 w 6827688"/>
              <a:gd name="connsiteY3" fmla="*/ 5810801 h 5810801"/>
              <a:gd name="connsiteX4" fmla="*/ 2010387 w 6827688"/>
              <a:gd name="connsiteY4" fmla="*/ 5795008 h 5810801"/>
              <a:gd name="connsiteX5" fmla="*/ 638297 w 6827688"/>
              <a:gd name="connsiteY5" fmla="*/ 3945325 h 5810801"/>
              <a:gd name="connsiteX6" fmla="*/ 347877 w 6827688"/>
              <a:gd name="connsiteY6" fmla="*/ 3416275 h 5810801"/>
              <a:gd name="connsiteX7" fmla="*/ 0 w 6827688"/>
              <a:gd name="connsiteY7" fmla="*/ 60895 h 5810801"/>
              <a:gd name="connsiteX8" fmla="*/ 599473 w 6827688"/>
              <a:gd name="connsiteY8" fmla="*/ 56493 h 5810801"/>
              <a:gd name="connsiteX0" fmla="*/ 599473 w 6827688"/>
              <a:gd name="connsiteY0" fmla="*/ 56493 h 5825770"/>
              <a:gd name="connsiteX1" fmla="*/ 6798543 w 6827688"/>
              <a:gd name="connsiteY1" fmla="*/ 1915641 h 5825770"/>
              <a:gd name="connsiteX2" fmla="*/ 6827688 w 6827688"/>
              <a:gd name="connsiteY2" fmla="*/ 3907837 h 5825770"/>
              <a:gd name="connsiteX3" fmla="*/ 6755928 w 6827688"/>
              <a:gd name="connsiteY3" fmla="*/ 5810801 h 5825770"/>
              <a:gd name="connsiteX4" fmla="*/ 2000097 w 6827688"/>
              <a:gd name="connsiteY4" fmla="*/ 5825770 h 5825770"/>
              <a:gd name="connsiteX5" fmla="*/ 638297 w 6827688"/>
              <a:gd name="connsiteY5" fmla="*/ 3945325 h 5825770"/>
              <a:gd name="connsiteX6" fmla="*/ 347877 w 6827688"/>
              <a:gd name="connsiteY6" fmla="*/ 3416275 h 5825770"/>
              <a:gd name="connsiteX7" fmla="*/ 0 w 6827688"/>
              <a:gd name="connsiteY7" fmla="*/ 60895 h 5825770"/>
              <a:gd name="connsiteX8" fmla="*/ 599473 w 6827688"/>
              <a:gd name="connsiteY8" fmla="*/ 56493 h 5825770"/>
              <a:gd name="connsiteX0" fmla="*/ 599473 w 6827688"/>
              <a:gd name="connsiteY0" fmla="*/ 56493 h 5825770"/>
              <a:gd name="connsiteX1" fmla="*/ 6798543 w 6827688"/>
              <a:gd name="connsiteY1" fmla="*/ 1915641 h 5825770"/>
              <a:gd name="connsiteX2" fmla="*/ 6827688 w 6827688"/>
              <a:gd name="connsiteY2" fmla="*/ 3907837 h 5825770"/>
              <a:gd name="connsiteX3" fmla="*/ 6786798 w 6827688"/>
              <a:gd name="connsiteY3" fmla="*/ 5800547 h 5825770"/>
              <a:gd name="connsiteX4" fmla="*/ 2000097 w 6827688"/>
              <a:gd name="connsiteY4" fmla="*/ 5825770 h 5825770"/>
              <a:gd name="connsiteX5" fmla="*/ 638297 w 6827688"/>
              <a:gd name="connsiteY5" fmla="*/ 3945325 h 5825770"/>
              <a:gd name="connsiteX6" fmla="*/ 347877 w 6827688"/>
              <a:gd name="connsiteY6" fmla="*/ 3416275 h 5825770"/>
              <a:gd name="connsiteX7" fmla="*/ 0 w 6827688"/>
              <a:gd name="connsiteY7" fmla="*/ 60895 h 5825770"/>
              <a:gd name="connsiteX8" fmla="*/ 599473 w 6827688"/>
              <a:gd name="connsiteY8" fmla="*/ 56493 h 5825770"/>
              <a:gd name="connsiteX0" fmla="*/ 599473 w 6831508"/>
              <a:gd name="connsiteY0" fmla="*/ 56493 h 5825770"/>
              <a:gd name="connsiteX1" fmla="*/ 6798543 w 6831508"/>
              <a:gd name="connsiteY1" fmla="*/ 1915641 h 5825770"/>
              <a:gd name="connsiteX2" fmla="*/ 6827688 w 6831508"/>
              <a:gd name="connsiteY2" fmla="*/ 3907837 h 5825770"/>
              <a:gd name="connsiteX3" fmla="*/ 6786798 w 6831508"/>
              <a:gd name="connsiteY3" fmla="*/ 5800547 h 5825770"/>
              <a:gd name="connsiteX4" fmla="*/ 2000097 w 6831508"/>
              <a:gd name="connsiteY4" fmla="*/ 5825770 h 5825770"/>
              <a:gd name="connsiteX5" fmla="*/ 638297 w 6831508"/>
              <a:gd name="connsiteY5" fmla="*/ 3945325 h 5825770"/>
              <a:gd name="connsiteX6" fmla="*/ 347877 w 6831508"/>
              <a:gd name="connsiteY6" fmla="*/ 3416275 h 5825770"/>
              <a:gd name="connsiteX7" fmla="*/ 0 w 6831508"/>
              <a:gd name="connsiteY7" fmla="*/ 60895 h 5825770"/>
              <a:gd name="connsiteX8" fmla="*/ 599473 w 6831508"/>
              <a:gd name="connsiteY8" fmla="*/ 56493 h 5825770"/>
              <a:gd name="connsiteX0" fmla="*/ 599473 w 6798543"/>
              <a:gd name="connsiteY0" fmla="*/ 56493 h 5825770"/>
              <a:gd name="connsiteX1" fmla="*/ 6798543 w 6798543"/>
              <a:gd name="connsiteY1" fmla="*/ 1915641 h 5825770"/>
              <a:gd name="connsiteX2" fmla="*/ 6786529 w 6798543"/>
              <a:gd name="connsiteY2" fmla="*/ 4041140 h 5825770"/>
              <a:gd name="connsiteX3" fmla="*/ 6786798 w 6798543"/>
              <a:gd name="connsiteY3" fmla="*/ 5800547 h 5825770"/>
              <a:gd name="connsiteX4" fmla="*/ 2000097 w 6798543"/>
              <a:gd name="connsiteY4" fmla="*/ 5825770 h 5825770"/>
              <a:gd name="connsiteX5" fmla="*/ 638297 w 6798543"/>
              <a:gd name="connsiteY5" fmla="*/ 3945325 h 5825770"/>
              <a:gd name="connsiteX6" fmla="*/ 347877 w 6798543"/>
              <a:gd name="connsiteY6" fmla="*/ 3416275 h 5825770"/>
              <a:gd name="connsiteX7" fmla="*/ 0 w 6798543"/>
              <a:gd name="connsiteY7" fmla="*/ 60895 h 5825770"/>
              <a:gd name="connsiteX8" fmla="*/ 599473 w 6798543"/>
              <a:gd name="connsiteY8" fmla="*/ 56493 h 5825770"/>
              <a:gd name="connsiteX0" fmla="*/ 599473 w 6798543"/>
              <a:gd name="connsiteY0" fmla="*/ 56493 h 5825770"/>
              <a:gd name="connsiteX1" fmla="*/ 6798543 w 6798543"/>
              <a:gd name="connsiteY1" fmla="*/ 1915641 h 5825770"/>
              <a:gd name="connsiteX2" fmla="*/ 6786529 w 6798543"/>
              <a:gd name="connsiteY2" fmla="*/ 4041140 h 5825770"/>
              <a:gd name="connsiteX3" fmla="*/ 6786798 w 6798543"/>
              <a:gd name="connsiteY3" fmla="*/ 5800547 h 5825770"/>
              <a:gd name="connsiteX4" fmla="*/ 2000097 w 6798543"/>
              <a:gd name="connsiteY4" fmla="*/ 5825770 h 5825770"/>
              <a:gd name="connsiteX5" fmla="*/ 638297 w 6798543"/>
              <a:gd name="connsiteY5" fmla="*/ 3945325 h 5825770"/>
              <a:gd name="connsiteX6" fmla="*/ 342817 w 6798543"/>
              <a:gd name="connsiteY6" fmla="*/ 3144004 h 5825770"/>
              <a:gd name="connsiteX7" fmla="*/ 0 w 6798543"/>
              <a:gd name="connsiteY7" fmla="*/ 60895 h 5825770"/>
              <a:gd name="connsiteX8" fmla="*/ 599473 w 6798543"/>
              <a:gd name="connsiteY8" fmla="*/ 56493 h 5825770"/>
              <a:gd name="connsiteX0" fmla="*/ 599473 w 6798543"/>
              <a:gd name="connsiteY0" fmla="*/ 56493 h 5825770"/>
              <a:gd name="connsiteX1" fmla="*/ 6798543 w 6798543"/>
              <a:gd name="connsiteY1" fmla="*/ 1915641 h 5825770"/>
              <a:gd name="connsiteX2" fmla="*/ 6786529 w 6798543"/>
              <a:gd name="connsiteY2" fmla="*/ 4041140 h 5825770"/>
              <a:gd name="connsiteX3" fmla="*/ 6786798 w 6798543"/>
              <a:gd name="connsiteY3" fmla="*/ 5800547 h 5825770"/>
              <a:gd name="connsiteX4" fmla="*/ 2000097 w 6798543"/>
              <a:gd name="connsiteY4" fmla="*/ 5825770 h 5825770"/>
              <a:gd name="connsiteX5" fmla="*/ 638297 w 6798543"/>
              <a:gd name="connsiteY5" fmla="*/ 3945325 h 5825770"/>
              <a:gd name="connsiteX6" fmla="*/ 342817 w 6798543"/>
              <a:gd name="connsiteY6" fmla="*/ 3144004 h 5825770"/>
              <a:gd name="connsiteX7" fmla="*/ 0 w 6798543"/>
              <a:gd name="connsiteY7" fmla="*/ 60895 h 5825770"/>
              <a:gd name="connsiteX8" fmla="*/ 599473 w 6798543"/>
              <a:gd name="connsiteY8" fmla="*/ 56493 h 5825770"/>
              <a:gd name="connsiteX0" fmla="*/ 599473 w 6798543"/>
              <a:gd name="connsiteY0" fmla="*/ 56493 h 5825770"/>
              <a:gd name="connsiteX1" fmla="*/ 6798543 w 6798543"/>
              <a:gd name="connsiteY1" fmla="*/ 1915641 h 5825770"/>
              <a:gd name="connsiteX2" fmla="*/ 6786529 w 6798543"/>
              <a:gd name="connsiteY2" fmla="*/ 4041140 h 5825770"/>
              <a:gd name="connsiteX3" fmla="*/ 6786798 w 6798543"/>
              <a:gd name="connsiteY3" fmla="*/ 5800547 h 5825770"/>
              <a:gd name="connsiteX4" fmla="*/ 2000097 w 6798543"/>
              <a:gd name="connsiteY4" fmla="*/ 5825770 h 5825770"/>
              <a:gd name="connsiteX5" fmla="*/ 638297 w 6798543"/>
              <a:gd name="connsiteY5" fmla="*/ 3945325 h 5825770"/>
              <a:gd name="connsiteX6" fmla="*/ 342817 w 6798543"/>
              <a:gd name="connsiteY6" fmla="*/ 3144004 h 5825770"/>
              <a:gd name="connsiteX7" fmla="*/ 0 w 6798543"/>
              <a:gd name="connsiteY7" fmla="*/ 60895 h 5825770"/>
              <a:gd name="connsiteX8" fmla="*/ 599473 w 6798543"/>
              <a:gd name="connsiteY8" fmla="*/ 56493 h 5825770"/>
              <a:gd name="connsiteX0" fmla="*/ 599473 w 6798543"/>
              <a:gd name="connsiteY0" fmla="*/ 56493 h 5825770"/>
              <a:gd name="connsiteX1" fmla="*/ 6798543 w 6798543"/>
              <a:gd name="connsiteY1" fmla="*/ 1915641 h 5825770"/>
              <a:gd name="connsiteX2" fmla="*/ 6786529 w 6798543"/>
              <a:gd name="connsiteY2" fmla="*/ 4041140 h 5825770"/>
              <a:gd name="connsiteX3" fmla="*/ 6786798 w 6798543"/>
              <a:gd name="connsiteY3" fmla="*/ 5800547 h 5825770"/>
              <a:gd name="connsiteX4" fmla="*/ 2000097 w 6798543"/>
              <a:gd name="connsiteY4" fmla="*/ 5825770 h 5825770"/>
              <a:gd name="connsiteX5" fmla="*/ 638297 w 6798543"/>
              <a:gd name="connsiteY5" fmla="*/ 3945325 h 5825770"/>
              <a:gd name="connsiteX6" fmla="*/ 342817 w 6798543"/>
              <a:gd name="connsiteY6" fmla="*/ 3144004 h 5825770"/>
              <a:gd name="connsiteX7" fmla="*/ 0 w 6798543"/>
              <a:gd name="connsiteY7" fmla="*/ 60895 h 5825770"/>
              <a:gd name="connsiteX8" fmla="*/ 599473 w 6798543"/>
              <a:gd name="connsiteY8" fmla="*/ 56493 h 5825770"/>
              <a:gd name="connsiteX0" fmla="*/ 599473 w 6798543"/>
              <a:gd name="connsiteY0" fmla="*/ 56493 h 5825770"/>
              <a:gd name="connsiteX1" fmla="*/ 6798543 w 6798543"/>
              <a:gd name="connsiteY1" fmla="*/ 1915641 h 5825770"/>
              <a:gd name="connsiteX2" fmla="*/ 6786529 w 6798543"/>
              <a:gd name="connsiteY2" fmla="*/ 4041140 h 5825770"/>
              <a:gd name="connsiteX3" fmla="*/ 6786798 w 6798543"/>
              <a:gd name="connsiteY3" fmla="*/ 5800547 h 5825770"/>
              <a:gd name="connsiteX4" fmla="*/ 2000097 w 6798543"/>
              <a:gd name="connsiteY4" fmla="*/ 5825770 h 5825770"/>
              <a:gd name="connsiteX5" fmla="*/ 638297 w 6798543"/>
              <a:gd name="connsiteY5" fmla="*/ 3945325 h 5825770"/>
              <a:gd name="connsiteX6" fmla="*/ 342817 w 6798543"/>
              <a:gd name="connsiteY6" fmla="*/ 3144004 h 5825770"/>
              <a:gd name="connsiteX7" fmla="*/ 0 w 6798543"/>
              <a:gd name="connsiteY7" fmla="*/ 60895 h 5825770"/>
              <a:gd name="connsiteX8" fmla="*/ 599473 w 6798543"/>
              <a:gd name="connsiteY8" fmla="*/ 56493 h 5825770"/>
              <a:gd name="connsiteX0" fmla="*/ 599473 w 6798543"/>
              <a:gd name="connsiteY0" fmla="*/ 56493 h 5825770"/>
              <a:gd name="connsiteX1" fmla="*/ 6798543 w 6798543"/>
              <a:gd name="connsiteY1" fmla="*/ 1915641 h 5825770"/>
              <a:gd name="connsiteX2" fmla="*/ 6786529 w 6798543"/>
              <a:gd name="connsiteY2" fmla="*/ 4041140 h 5825770"/>
              <a:gd name="connsiteX3" fmla="*/ 6786798 w 6798543"/>
              <a:gd name="connsiteY3" fmla="*/ 5800547 h 5825770"/>
              <a:gd name="connsiteX4" fmla="*/ 2000097 w 6798543"/>
              <a:gd name="connsiteY4" fmla="*/ 5825770 h 5825770"/>
              <a:gd name="connsiteX5" fmla="*/ 638297 w 6798543"/>
              <a:gd name="connsiteY5" fmla="*/ 3945325 h 5825770"/>
              <a:gd name="connsiteX6" fmla="*/ 342817 w 6798543"/>
              <a:gd name="connsiteY6" fmla="*/ 3144004 h 5825770"/>
              <a:gd name="connsiteX7" fmla="*/ 0 w 6798543"/>
              <a:gd name="connsiteY7" fmla="*/ 60895 h 5825770"/>
              <a:gd name="connsiteX8" fmla="*/ 599473 w 6798543"/>
              <a:gd name="connsiteY8" fmla="*/ 56493 h 5825770"/>
              <a:gd name="connsiteX0" fmla="*/ 624772 w 6823842"/>
              <a:gd name="connsiteY0" fmla="*/ 101233 h 5870510"/>
              <a:gd name="connsiteX1" fmla="*/ 6823842 w 6823842"/>
              <a:gd name="connsiteY1" fmla="*/ 1960381 h 5870510"/>
              <a:gd name="connsiteX2" fmla="*/ 6811828 w 6823842"/>
              <a:gd name="connsiteY2" fmla="*/ 4085880 h 5870510"/>
              <a:gd name="connsiteX3" fmla="*/ 6812097 w 6823842"/>
              <a:gd name="connsiteY3" fmla="*/ 5845287 h 5870510"/>
              <a:gd name="connsiteX4" fmla="*/ 2025396 w 6823842"/>
              <a:gd name="connsiteY4" fmla="*/ 5870510 h 5870510"/>
              <a:gd name="connsiteX5" fmla="*/ 663596 w 6823842"/>
              <a:gd name="connsiteY5" fmla="*/ 3990065 h 5870510"/>
              <a:gd name="connsiteX6" fmla="*/ 368116 w 6823842"/>
              <a:gd name="connsiteY6" fmla="*/ 3188744 h 5870510"/>
              <a:gd name="connsiteX7" fmla="*/ 0 w 6823842"/>
              <a:gd name="connsiteY7" fmla="*/ 45129 h 5870510"/>
              <a:gd name="connsiteX8" fmla="*/ 624772 w 6823842"/>
              <a:gd name="connsiteY8" fmla="*/ 101233 h 5870510"/>
              <a:gd name="connsiteX0" fmla="*/ 633674 w 6832744"/>
              <a:gd name="connsiteY0" fmla="*/ 387203 h 6156480"/>
              <a:gd name="connsiteX1" fmla="*/ 6832744 w 6832744"/>
              <a:gd name="connsiteY1" fmla="*/ 2246351 h 6156480"/>
              <a:gd name="connsiteX2" fmla="*/ 6820730 w 6832744"/>
              <a:gd name="connsiteY2" fmla="*/ 4371850 h 6156480"/>
              <a:gd name="connsiteX3" fmla="*/ 6820999 w 6832744"/>
              <a:gd name="connsiteY3" fmla="*/ 6131257 h 6156480"/>
              <a:gd name="connsiteX4" fmla="*/ 2034298 w 6832744"/>
              <a:gd name="connsiteY4" fmla="*/ 6156480 h 6156480"/>
              <a:gd name="connsiteX5" fmla="*/ 672498 w 6832744"/>
              <a:gd name="connsiteY5" fmla="*/ 4276035 h 6156480"/>
              <a:gd name="connsiteX6" fmla="*/ 377018 w 6832744"/>
              <a:gd name="connsiteY6" fmla="*/ 3474714 h 6156480"/>
              <a:gd name="connsiteX7" fmla="*/ 8902 w 6832744"/>
              <a:gd name="connsiteY7" fmla="*/ 331099 h 6156480"/>
              <a:gd name="connsiteX8" fmla="*/ 633674 w 6832744"/>
              <a:gd name="connsiteY8" fmla="*/ 387203 h 6156480"/>
              <a:gd name="connsiteX0" fmla="*/ 624839 w 6823909"/>
              <a:gd name="connsiteY0" fmla="*/ 165681 h 5934958"/>
              <a:gd name="connsiteX1" fmla="*/ 6823909 w 6823909"/>
              <a:gd name="connsiteY1" fmla="*/ 2024829 h 5934958"/>
              <a:gd name="connsiteX2" fmla="*/ 6811895 w 6823909"/>
              <a:gd name="connsiteY2" fmla="*/ 4150328 h 5934958"/>
              <a:gd name="connsiteX3" fmla="*/ 6812164 w 6823909"/>
              <a:gd name="connsiteY3" fmla="*/ 5909735 h 5934958"/>
              <a:gd name="connsiteX4" fmla="*/ 2025463 w 6823909"/>
              <a:gd name="connsiteY4" fmla="*/ 5934958 h 5934958"/>
              <a:gd name="connsiteX5" fmla="*/ 663663 w 6823909"/>
              <a:gd name="connsiteY5" fmla="*/ 4054513 h 5934958"/>
              <a:gd name="connsiteX6" fmla="*/ 368183 w 6823909"/>
              <a:gd name="connsiteY6" fmla="*/ 3253192 h 5934958"/>
              <a:gd name="connsiteX7" fmla="*/ 67 w 6823909"/>
              <a:gd name="connsiteY7" fmla="*/ 109577 h 5934958"/>
              <a:gd name="connsiteX8" fmla="*/ 624839 w 6823909"/>
              <a:gd name="connsiteY8" fmla="*/ 165681 h 5934958"/>
              <a:gd name="connsiteX0" fmla="*/ 625212 w 6824282"/>
              <a:gd name="connsiteY0" fmla="*/ 123362 h 5892639"/>
              <a:gd name="connsiteX1" fmla="*/ 6824282 w 6824282"/>
              <a:gd name="connsiteY1" fmla="*/ 1982510 h 5892639"/>
              <a:gd name="connsiteX2" fmla="*/ 6812268 w 6824282"/>
              <a:gd name="connsiteY2" fmla="*/ 4108009 h 5892639"/>
              <a:gd name="connsiteX3" fmla="*/ 6812537 w 6824282"/>
              <a:gd name="connsiteY3" fmla="*/ 5867416 h 5892639"/>
              <a:gd name="connsiteX4" fmla="*/ 2025836 w 6824282"/>
              <a:gd name="connsiteY4" fmla="*/ 5892639 h 5892639"/>
              <a:gd name="connsiteX5" fmla="*/ 664036 w 6824282"/>
              <a:gd name="connsiteY5" fmla="*/ 4012194 h 5892639"/>
              <a:gd name="connsiteX6" fmla="*/ 368556 w 6824282"/>
              <a:gd name="connsiteY6" fmla="*/ 3210873 h 5892639"/>
              <a:gd name="connsiteX7" fmla="*/ 440 w 6824282"/>
              <a:gd name="connsiteY7" fmla="*/ 67258 h 5892639"/>
              <a:gd name="connsiteX8" fmla="*/ 625212 w 6824282"/>
              <a:gd name="connsiteY8" fmla="*/ 123362 h 5892639"/>
              <a:gd name="connsiteX0" fmla="*/ 625884 w 6824954"/>
              <a:gd name="connsiteY0" fmla="*/ 136701 h 5905978"/>
              <a:gd name="connsiteX1" fmla="*/ 6824954 w 6824954"/>
              <a:gd name="connsiteY1" fmla="*/ 1995849 h 5905978"/>
              <a:gd name="connsiteX2" fmla="*/ 6812940 w 6824954"/>
              <a:gd name="connsiteY2" fmla="*/ 4121348 h 5905978"/>
              <a:gd name="connsiteX3" fmla="*/ 6813209 w 6824954"/>
              <a:gd name="connsiteY3" fmla="*/ 5880755 h 5905978"/>
              <a:gd name="connsiteX4" fmla="*/ 2026508 w 6824954"/>
              <a:gd name="connsiteY4" fmla="*/ 5905978 h 5905978"/>
              <a:gd name="connsiteX5" fmla="*/ 664708 w 6824954"/>
              <a:gd name="connsiteY5" fmla="*/ 4025533 h 5905978"/>
              <a:gd name="connsiteX6" fmla="*/ 369228 w 6824954"/>
              <a:gd name="connsiteY6" fmla="*/ 3224212 h 5905978"/>
              <a:gd name="connsiteX7" fmla="*/ 1112 w 6824954"/>
              <a:gd name="connsiteY7" fmla="*/ 80597 h 5905978"/>
              <a:gd name="connsiteX8" fmla="*/ 625884 w 6824954"/>
              <a:gd name="connsiteY8" fmla="*/ 136701 h 5905978"/>
              <a:gd name="connsiteX0" fmla="*/ 635980 w 6835050"/>
              <a:gd name="connsiteY0" fmla="*/ 106211 h 5875488"/>
              <a:gd name="connsiteX1" fmla="*/ 6835050 w 6835050"/>
              <a:gd name="connsiteY1" fmla="*/ 1965359 h 5875488"/>
              <a:gd name="connsiteX2" fmla="*/ 6823036 w 6835050"/>
              <a:gd name="connsiteY2" fmla="*/ 4090858 h 5875488"/>
              <a:gd name="connsiteX3" fmla="*/ 6823305 w 6835050"/>
              <a:gd name="connsiteY3" fmla="*/ 5850265 h 5875488"/>
              <a:gd name="connsiteX4" fmla="*/ 2036604 w 6835050"/>
              <a:gd name="connsiteY4" fmla="*/ 5875488 h 5875488"/>
              <a:gd name="connsiteX5" fmla="*/ 674804 w 6835050"/>
              <a:gd name="connsiteY5" fmla="*/ 3995043 h 5875488"/>
              <a:gd name="connsiteX6" fmla="*/ 379324 w 6835050"/>
              <a:gd name="connsiteY6" fmla="*/ 3193722 h 5875488"/>
              <a:gd name="connsiteX7" fmla="*/ 1088 w 6835050"/>
              <a:gd name="connsiteY7" fmla="*/ 90444 h 5875488"/>
              <a:gd name="connsiteX8" fmla="*/ 635980 w 6835050"/>
              <a:gd name="connsiteY8" fmla="*/ 106211 h 5875488"/>
              <a:gd name="connsiteX0" fmla="*/ 637449 w 6836519"/>
              <a:gd name="connsiteY0" fmla="*/ 135328 h 5904605"/>
              <a:gd name="connsiteX1" fmla="*/ 6836519 w 6836519"/>
              <a:gd name="connsiteY1" fmla="*/ 1994476 h 5904605"/>
              <a:gd name="connsiteX2" fmla="*/ 6824505 w 6836519"/>
              <a:gd name="connsiteY2" fmla="*/ 4119975 h 5904605"/>
              <a:gd name="connsiteX3" fmla="*/ 6824774 w 6836519"/>
              <a:gd name="connsiteY3" fmla="*/ 5879382 h 5904605"/>
              <a:gd name="connsiteX4" fmla="*/ 2038073 w 6836519"/>
              <a:gd name="connsiteY4" fmla="*/ 5904605 h 5904605"/>
              <a:gd name="connsiteX5" fmla="*/ 676273 w 6836519"/>
              <a:gd name="connsiteY5" fmla="*/ 4024160 h 5904605"/>
              <a:gd name="connsiteX6" fmla="*/ 380793 w 6836519"/>
              <a:gd name="connsiteY6" fmla="*/ 3222839 h 5904605"/>
              <a:gd name="connsiteX7" fmla="*/ 2557 w 6836519"/>
              <a:gd name="connsiteY7" fmla="*/ 119561 h 5904605"/>
              <a:gd name="connsiteX8" fmla="*/ 637449 w 6836519"/>
              <a:gd name="connsiteY8" fmla="*/ 135328 h 5904605"/>
              <a:gd name="connsiteX0" fmla="*/ 637449 w 6836519"/>
              <a:gd name="connsiteY0" fmla="*/ 93511 h 5862788"/>
              <a:gd name="connsiteX1" fmla="*/ 6836519 w 6836519"/>
              <a:gd name="connsiteY1" fmla="*/ 1952659 h 5862788"/>
              <a:gd name="connsiteX2" fmla="*/ 6824505 w 6836519"/>
              <a:gd name="connsiteY2" fmla="*/ 4078158 h 5862788"/>
              <a:gd name="connsiteX3" fmla="*/ 6824774 w 6836519"/>
              <a:gd name="connsiteY3" fmla="*/ 5837565 h 5862788"/>
              <a:gd name="connsiteX4" fmla="*/ 2038073 w 6836519"/>
              <a:gd name="connsiteY4" fmla="*/ 5862788 h 5862788"/>
              <a:gd name="connsiteX5" fmla="*/ 676273 w 6836519"/>
              <a:gd name="connsiteY5" fmla="*/ 3982343 h 5862788"/>
              <a:gd name="connsiteX6" fmla="*/ 380793 w 6836519"/>
              <a:gd name="connsiteY6" fmla="*/ 3181022 h 5862788"/>
              <a:gd name="connsiteX7" fmla="*/ 2557 w 6836519"/>
              <a:gd name="connsiteY7" fmla="*/ 138248 h 5862788"/>
              <a:gd name="connsiteX8" fmla="*/ 637449 w 6836519"/>
              <a:gd name="connsiteY8" fmla="*/ 93511 h 5862788"/>
              <a:gd name="connsiteX0" fmla="*/ 640070 w 6839140"/>
              <a:gd name="connsiteY0" fmla="*/ 128024 h 5897301"/>
              <a:gd name="connsiteX1" fmla="*/ 6839140 w 6839140"/>
              <a:gd name="connsiteY1" fmla="*/ 1987172 h 5897301"/>
              <a:gd name="connsiteX2" fmla="*/ 6827126 w 6839140"/>
              <a:gd name="connsiteY2" fmla="*/ 4112671 h 5897301"/>
              <a:gd name="connsiteX3" fmla="*/ 6827395 w 6839140"/>
              <a:gd name="connsiteY3" fmla="*/ 5872078 h 5897301"/>
              <a:gd name="connsiteX4" fmla="*/ 2040694 w 6839140"/>
              <a:gd name="connsiteY4" fmla="*/ 5897301 h 5897301"/>
              <a:gd name="connsiteX5" fmla="*/ 678894 w 6839140"/>
              <a:gd name="connsiteY5" fmla="*/ 4016856 h 5897301"/>
              <a:gd name="connsiteX6" fmla="*/ 383414 w 6839140"/>
              <a:gd name="connsiteY6" fmla="*/ 3215535 h 5897301"/>
              <a:gd name="connsiteX7" fmla="*/ 5178 w 6839140"/>
              <a:gd name="connsiteY7" fmla="*/ 172761 h 5897301"/>
              <a:gd name="connsiteX8" fmla="*/ 640070 w 6839140"/>
              <a:gd name="connsiteY8" fmla="*/ 128024 h 5897301"/>
              <a:gd name="connsiteX0" fmla="*/ 640070 w 6839140"/>
              <a:gd name="connsiteY0" fmla="*/ 128024 h 5897301"/>
              <a:gd name="connsiteX1" fmla="*/ 6839140 w 6839140"/>
              <a:gd name="connsiteY1" fmla="*/ 1987172 h 5897301"/>
              <a:gd name="connsiteX2" fmla="*/ 6827126 w 6839140"/>
              <a:gd name="connsiteY2" fmla="*/ 4112671 h 5897301"/>
              <a:gd name="connsiteX3" fmla="*/ 6827395 w 6839140"/>
              <a:gd name="connsiteY3" fmla="*/ 5872078 h 5897301"/>
              <a:gd name="connsiteX4" fmla="*/ 2040694 w 6839140"/>
              <a:gd name="connsiteY4" fmla="*/ 5897301 h 5897301"/>
              <a:gd name="connsiteX5" fmla="*/ 792423 w 6839140"/>
              <a:gd name="connsiteY5" fmla="*/ 4092279 h 5897301"/>
              <a:gd name="connsiteX6" fmla="*/ 383414 w 6839140"/>
              <a:gd name="connsiteY6" fmla="*/ 3215535 h 5897301"/>
              <a:gd name="connsiteX7" fmla="*/ 5178 w 6839140"/>
              <a:gd name="connsiteY7" fmla="*/ 172761 h 5897301"/>
              <a:gd name="connsiteX8" fmla="*/ 640070 w 6839140"/>
              <a:gd name="connsiteY8" fmla="*/ 128024 h 5897301"/>
              <a:gd name="connsiteX0" fmla="*/ 640070 w 6839140"/>
              <a:gd name="connsiteY0" fmla="*/ 128024 h 5897301"/>
              <a:gd name="connsiteX1" fmla="*/ 6839140 w 6839140"/>
              <a:gd name="connsiteY1" fmla="*/ 1987172 h 5897301"/>
              <a:gd name="connsiteX2" fmla="*/ 6827126 w 6839140"/>
              <a:gd name="connsiteY2" fmla="*/ 4112671 h 5897301"/>
              <a:gd name="connsiteX3" fmla="*/ 6827395 w 6839140"/>
              <a:gd name="connsiteY3" fmla="*/ 5872078 h 5897301"/>
              <a:gd name="connsiteX4" fmla="*/ 2040694 w 6839140"/>
              <a:gd name="connsiteY4" fmla="*/ 5897301 h 5897301"/>
              <a:gd name="connsiteX5" fmla="*/ 777286 w 6839140"/>
              <a:gd name="connsiteY5" fmla="*/ 4145075 h 5897301"/>
              <a:gd name="connsiteX6" fmla="*/ 383414 w 6839140"/>
              <a:gd name="connsiteY6" fmla="*/ 3215535 h 5897301"/>
              <a:gd name="connsiteX7" fmla="*/ 5178 w 6839140"/>
              <a:gd name="connsiteY7" fmla="*/ 172761 h 5897301"/>
              <a:gd name="connsiteX8" fmla="*/ 640070 w 6839140"/>
              <a:gd name="connsiteY8" fmla="*/ 128024 h 5897301"/>
              <a:gd name="connsiteX0" fmla="*/ 640070 w 6839140"/>
              <a:gd name="connsiteY0" fmla="*/ 128024 h 5897301"/>
              <a:gd name="connsiteX1" fmla="*/ 6839140 w 6839140"/>
              <a:gd name="connsiteY1" fmla="*/ 1987172 h 5897301"/>
              <a:gd name="connsiteX2" fmla="*/ 6827126 w 6839140"/>
              <a:gd name="connsiteY2" fmla="*/ 4112671 h 5897301"/>
              <a:gd name="connsiteX3" fmla="*/ 6827395 w 6839140"/>
              <a:gd name="connsiteY3" fmla="*/ 5872078 h 5897301"/>
              <a:gd name="connsiteX4" fmla="*/ 2040694 w 6839140"/>
              <a:gd name="connsiteY4" fmla="*/ 5897301 h 5897301"/>
              <a:gd name="connsiteX5" fmla="*/ 777286 w 6839140"/>
              <a:gd name="connsiteY5" fmla="*/ 4145075 h 5897301"/>
              <a:gd name="connsiteX6" fmla="*/ 383414 w 6839140"/>
              <a:gd name="connsiteY6" fmla="*/ 3215535 h 5897301"/>
              <a:gd name="connsiteX7" fmla="*/ 5178 w 6839140"/>
              <a:gd name="connsiteY7" fmla="*/ 172761 h 5897301"/>
              <a:gd name="connsiteX8" fmla="*/ 640070 w 6839140"/>
              <a:gd name="connsiteY8" fmla="*/ 128024 h 589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39140" h="5897301">
                <a:moveTo>
                  <a:pt x="640070" y="128024"/>
                </a:moveTo>
                <a:cubicBezTo>
                  <a:pt x="3385560" y="884462"/>
                  <a:pt x="4711046" y="1364038"/>
                  <a:pt x="6839140" y="1987172"/>
                </a:cubicBezTo>
                <a:cubicBezTo>
                  <a:pt x="6833985" y="2673233"/>
                  <a:pt x="6845232" y="3280404"/>
                  <a:pt x="6827126" y="4112671"/>
                </a:cubicBezTo>
                <a:cubicBezTo>
                  <a:pt x="6825559" y="4808984"/>
                  <a:pt x="6828962" y="5175765"/>
                  <a:pt x="6827395" y="5872078"/>
                </a:cubicBezTo>
                <a:lnTo>
                  <a:pt x="2040694" y="5897301"/>
                </a:lnTo>
                <a:lnTo>
                  <a:pt x="777286" y="4145075"/>
                </a:lnTo>
                <a:cubicBezTo>
                  <a:pt x="465935" y="3767255"/>
                  <a:pt x="426360" y="3559956"/>
                  <a:pt x="383414" y="3215535"/>
                </a:cubicBezTo>
                <a:cubicBezTo>
                  <a:pt x="250722" y="2214231"/>
                  <a:pt x="46798" y="434530"/>
                  <a:pt x="5178" y="172761"/>
                </a:cubicBezTo>
                <a:cubicBezTo>
                  <a:pt x="-36442" y="-89008"/>
                  <a:pt x="172602" y="-10551"/>
                  <a:pt x="640070" y="128024"/>
                </a:cubicBezTo>
                <a:close/>
              </a:path>
            </a:pathLst>
          </a:custGeom>
          <a:blipFill dpi="0" rotWithShape="0">
            <a:blip r:embed="rId4"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6" name="Text Placeholder 11">
            <a:extLst>
              <a:ext uri="{FF2B5EF4-FFF2-40B4-BE49-F238E27FC236}">
                <a16:creationId xmlns:a16="http://schemas.microsoft.com/office/drawing/2014/main" id="{73C85070-DE13-534F-AAD5-3AD213500083}"/>
              </a:ext>
            </a:extLst>
          </p:cNvPr>
          <p:cNvSpPr>
            <a:spLocks noGrp="1"/>
          </p:cNvSpPr>
          <p:nvPr>
            <p:ph type="body" sz="quarter" idx="11" hasCustomPrompt="1"/>
          </p:nvPr>
        </p:nvSpPr>
        <p:spPr>
          <a:xfrm>
            <a:off x="359999" y="1980000"/>
            <a:ext cx="5040000" cy="1800000"/>
          </a:xfrm>
          <a:prstGeom prst="rect">
            <a:avLst/>
          </a:prstGeom>
          <a:noFill/>
        </p:spPr>
        <p:txBody>
          <a:bodyPr anchor="ctr">
            <a:noAutofit/>
          </a:bodyPr>
          <a:lstStyle>
            <a:lvl1pPr>
              <a:lnSpc>
                <a:spcPct val="80000"/>
              </a:lnSpc>
              <a:defRPr sz="4800">
                <a:solidFill>
                  <a:schemeClr val="bg1"/>
                </a:solidFill>
              </a:defRPr>
            </a:lvl1pPr>
            <a:lvl2pPr marL="457200" indent="0">
              <a:buNone/>
              <a:defRPr/>
            </a:lvl2pPr>
          </a:lstStyle>
          <a:p>
            <a:pPr lvl="0"/>
            <a:r>
              <a:rPr lang="en-US"/>
              <a:t>Section </a:t>
            </a:r>
            <a:br>
              <a:rPr lang="en-US"/>
            </a:br>
            <a:r>
              <a:rPr lang="en-US"/>
              <a:t>header</a:t>
            </a:r>
          </a:p>
        </p:txBody>
      </p:sp>
      <p:sp>
        <p:nvSpPr>
          <p:cNvPr id="17" name="Slide Number Placeholder 5">
            <a:extLst>
              <a:ext uri="{FF2B5EF4-FFF2-40B4-BE49-F238E27FC236}">
                <a16:creationId xmlns:a16="http://schemas.microsoft.com/office/drawing/2014/main" id="{A54D7D2B-C95A-714F-B867-02AAE96F2B7C}"/>
              </a:ext>
            </a:extLst>
          </p:cNvPr>
          <p:cNvSpPr txBox="1">
            <a:spLocks/>
          </p:cNvSpPr>
          <p:nvPr/>
        </p:nvSpPr>
        <p:spPr>
          <a:xfrm>
            <a:off x="359999" y="6264872"/>
            <a:ext cx="360000" cy="360000"/>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8A41853-EF22-D446-BDBC-A7CF3FE93503}" type="slidenum">
              <a:rPr lang="en-US" smtClean="0">
                <a:solidFill>
                  <a:schemeClr val="bg1"/>
                </a:solidFill>
              </a:rPr>
              <a:pPr/>
              <a:t>‹#›</a:t>
            </a:fld>
            <a:endParaRPr lang="en-US">
              <a:solidFill>
                <a:schemeClr val="bg1"/>
              </a:solidFill>
            </a:endParaRPr>
          </a:p>
        </p:txBody>
      </p:sp>
      <p:sp>
        <p:nvSpPr>
          <p:cNvPr id="11" name="TextBox 10">
            <a:extLst>
              <a:ext uri="{FF2B5EF4-FFF2-40B4-BE49-F238E27FC236}">
                <a16:creationId xmlns:a16="http://schemas.microsoft.com/office/drawing/2014/main" id="{12847E93-0C19-5E4D-9A33-AD6176A0F9A8}"/>
              </a:ext>
            </a:extLst>
          </p:cNvPr>
          <p:cNvSpPr txBox="1"/>
          <p:nvPr/>
        </p:nvSpPr>
        <p:spPr>
          <a:xfrm>
            <a:off x="720000" y="6336000"/>
            <a:ext cx="5400000" cy="216000"/>
          </a:xfrm>
          <a:prstGeom prst="rect">
            <a:avLst/>
          </a:prstGeom>
          <a:noFill/>
        </p:spPr>
        <p:txBody>
          <a:bodyPr wrap="square" lIns="90000" rtlCol="0" anchor="ctr" anchorCtr="0">
            <a:spAutoFit/>
          </a:bodyPr>
          <a:lstStyle/>
          <a:p>
            <a:r>
              <a:rPr lang="en-GB" sz="800" b="0" i="0">
                <a:solidFill>
                  <a:schemeClr val="bg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endParaRPr lang="en-US" sz="800" b="0" i="0">
              <a:solidFill>
                <a:schemeClr val="bg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60157A6C-0B58-7D4C-9393-E5E71E4757F5}"/>
              </a:ext>
            </a:extLst>
          </p:cNvPr>
          <p:cNvSpPr txBox="1"/>
          <p:nvPr/>
        </p:nvSpPr>
        <p:spPr>
          <a:xfrm>
            <a:off x="-1170000" y="2440557"/>
            <a:ext cx="1052488" cy="1785104"/>
          </a:xfrm>
          <a:prstGeom prst="rect">
            <a:avLst/>
          </a:prstGeom>
          <a:solidFill>
            <a:schemeClr val="bg1"/>
          </a:solidFill>
        </p:spPr>
        <p:txBody>
          <a:bodyPr wrap="square" rtlCol="0">
            <a:spAutoFit/>
          </a:bodyPr>
          <a:lstStyle/>
          <a:p>
            <a:pPr algn="l"/>
            <a:r>
              <a:rPr lang="en-US" sz="1000">
                <a:solidFill>
                  <a:srgbClr val="333D47"/>
                </a:solidFill>
                <a:latin typeface="Arial" panose="020B0604020202020204" pitchFamily="34" charset="0"/>
                <a:cs typeface="Arial" panose="020B0604020202020204" pitchFamily="34" charset="0"/>
              </a:rPr>
              <a:t>The image can be replaced here and master view</a:t>
            </a:r>
          </a:p>
          <a:p>
            <a:pPr algn="l"/>
            <a:endParaRPr lang="en-US" sz="1000">
              <a:solidFill>
                <a:srgbClr val="333D47"/>
              </a:solidFill>
              <a:latin typeface="Arial" panose="020B0604020202020204" pitchFamily="34" charset="0"/>
              <a:cs typeface="Arial" panose="020B0604020202020204" pitchFamily="34" charset="0"/>
            </a:endParaRPr>
          </a:p>
          <a:p>
            <a:pPr algn="l"/>
            <a:r>
              <a:rPr lang="en-GB" sz="1000">
                <a:latin typeface="Helvetica Neue" panose="02000503000000020004" pitchFamily="2" charset="0"/>
              </a:rPr>
              <a:t>Please </a:t>
            </a:r>
            <a:r>
              <a:rPr lang="en-GB" sz="1000" b="1">
                <a:latin typeface="Helvetica Neue" panose="02000503000000020004" pitchFamily="2" charset="0"/>
              </a:rPr>
              <a:t>do not </a:t>
            </a:r>
            <a:r>
              <a:rPr lang="en-GB" sz="1000">
                <a:latin typeface="Helvetica Neue" panose="02000503000000020004" pitchFamily="2" charset="0"/>
              </a:rPr>
              <a:t>use any internal photo competition participants’ images</a:t>
            </a:r>
            <a:endParaRPr lang="en-US" sz="1000">
              <a:solidFill>
                <a:srgbClr val="333D47"/>
              </a:solidFill>
            </a:endParaRPr>
          </a:p>
        </p:txBody>
      </p:sp>
      <p:pic>
        <p:nvPicPr>
          <p:cNvPr id="13" name="Graphic 12">
            <a:extLst>
              <a:ext uri="{FF2B5EF4-FFF2-40B4-BE49-F238E27FC236}">
                <a16:creationId xmlns:a16="http://schemas.microsoft.com/office/drawing/2014/main" id="{C73EA868-3485-2542-9A1A-39EB1348817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0000" y="360000"/>
            <a:ext cx="1828800" cy="660400"/>
          </a:xfrm>
          <a:prstGeom prst="rect">
            <a:avLst/>
          </a:prstGeom>
        </p:spPr>
      </p:pic>
    </p:spTree>
    <p:extLst>
      <p:ext uri="{BB962C8B-B14F-4D97-AF65-F5344CB8AC3E}">
        <p14:creationId xmlns:p14="http://schemas.microsoft.com/office/powerpoint/2010/main" val="295111010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3086465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76233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1704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12118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241884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96699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996981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89549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9376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75789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AIA_SectionRe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CAF6B96-A12F-1945-8D91-2097D3B334A6}"/>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1">
            <a:extLst>
              <a:ext uri="{FF2B5EF4-FFF2-40B4-BE49-F238E27FC236}">
                <a16:creationId xmlns:a16="http://schemas.microsoft.com/office/drawing/2014/main" id="{D298D650-E8F3-4545-ABF5-903E2FF5D018}"/>
              </a:ext>
            </a:extLst>
          </p:cNvPr>
          <p:cNvSpPr>
            <a:spLocks noGrp="1"/>
          </p:cNvSpPr>
          <p:nvPr>
            <p:ph type="body" sz="quarter" idx="11" hasCustomPrompt="1"/>
          </p:nvPr>
        </p:nvSpPr>
        <p:spPr>
          <a:xfrm>
            <a:off x="359999" y="1980000"/>
            <a:ext cx="5040000" cy="1800000"/>
          </a:xfrm>
          <a:prstGeom prst="rect">
            <a:avLst/>
          </a:prstGeom>
          <a:noFill/>
        </p:spPr>
        <p:txBody>
          <a:bodyPr anchor="ctr">
            <a:noAutofit/>
          </a:bodyPr>
          <a:lstStyle>
            <a:lvl1pPr>
              <a:lnSpc>
                <a:spcPct val="80000"/>
              </a:lnSpc>
              <a:defRPr sz="4800">
                <a:solidFill>
                  <a:schemeClr val="bg1"/>
                </a:solidFill>
              </a:defRPr>
            </a:lvl1pPr>
            <a:lvl2pPr marL="457200" indent="0">
              <a:buNone/>
              <a:defRPr/>
            </a:lvl2pPr>
          </a:lstStyle>
          <a:p>
            <a:pPr lvl="0"/>
            <a:r>
              <a:rPr lang="en-US"/>
              <a:t>Section </a:t>
            </a:r>
            <a:br>
              <a:rPr lang="en-US"/>
            </a:br>
            <a:r>
              <a:rPr lang="en-US"/>
              <a:t>header</a:t>
            </a:r>
          </a:p>
        </p:txBody>
      </p:sp>
      <p:pic>
        <p:nvPicPr>
          <p:cNvPr id="3" name="Graphic 2">
            <a:extLst>
              <a:ext uri="{FF2B5EF4-FFF2-40B4-BE49-F238E27FC236}">
                <a16:creationId xmlns:a16="http://schemas.microsoft.com/office/drawing/2014/main" id="{B2ABAF11-BD0B-7542-94F0-2129DC9E9C52}"/>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b="65180"/>
          <a:stretch/>
        </p:blipFill>
        <p:spPr>
          <a:xfrm>
            <a:off x="0" y="2160000"/>
            <a:ext cx="12192000" cy="4698000"/>
          </a:xfrm>
          <a:prstGeom prst="rect">
            <a:avLst/>
          </a:prstGeom>
        </p:spPr>
      </p:pic>
      <p:pic>
        <p:nvPicPr>
          <p:cNvPr id="6" name="Graphic 5">
            <a:extLst>
              <a:ext uri="{FF2B5EF4-FFF2-40B4-BE49-F238E27FC236}">
                <a16:creationId xmlns:a16="http://schemas.microsoft.com/office/drawing/2014/main" id="{28E0E0F3-5DCB-3A49-8070-D9496897D82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60000" y="360000"/>
            <a:ext cx="1828800" cy="660400"/>
          </a:xfrm>
          <a:prstGeom prst="rect">
            <a:avLst/>
          </a:prstGeom>
        </p:spPr>
      </p:pic>
    </p:spTree>
    <p:extLst>
      <p:ext uri="{BB962C8B-B14F-4D97-AF65-F5344CB8AC3E}">
        <p14:creationId xmlns:p14="http://schemas.microsoft.com/office/powerpoint/2010/main" val="104916804"/>
      </p:ext>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688332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466"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7522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28250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351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921014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7732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989281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408921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575344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245769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658"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218188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74273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image" Target="../media/image4.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3.png"/><Relationship Id="rId38" Type="http://schemas.openxmlformats.org/officeDocument/2006/relationships/image" Target="../media/image8.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svg"/><Relationship Id="rId37" Type="http://schemas.openxmlformats.org/officeDocument/2006/relationships/image" Target="../media/image7.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6.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5.png"/><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3.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5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5" Type="http://schemas.openxmlformats.org/officeDocument/2006/relationships/slideLayout" Target="../slideLayouts/slideLayout59.xml"/><Relationship Id="rId10" Type="http://schemas.openxmlformats.org/officeDocument/2006/relationships/theme" Target="../theme/theme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66.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5" Type="http://schemas.openxmlformats.org/officeDocument/2006/relationships/slideLayout" Target="../slideLayouts/slideLayout68.xml"/><Relationship Id="rId10" Type="http://schemas.openxmlformats.org/officeDocument/2006/relationships/image" Target="../media/image66.png"/><Relationship Id="rId4" Type="http://schemas.openxmlformats.org/officeDocument/2006/relationships/slideLayout" Target="../slideLayouts/slideLayout67.xml"/><Relationship Id="rId9" Type="http://schemas.openxmlformats.org/officeDocument/2006/relationships/image" Target="../media/image65.png"/></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image" Target="../media/image67.emf"/><Relationship Id="rId3" Type="http://schemas.openxmlformats.org/officeDocument/2006/relationships/slideLayout" Target="../slideLayouts/slideLayout73.xml"/><Relationship Id="rId21" Type="http://schemas.openxmlformats.org/officeDocument/2006/relationships/tags" Target="../tags/tag13.xml"/><Relationship Id="rId7" Type="http://schemas.openxmlformats.org/officeDocument/2006/relationships/theme" Target="../theme/theme6.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oleObject" Target="../embeddings/oleObject1.bin"/><Relationship Id="rId2" Type="http://schemas.openxmlformats.org/officeDocument/2006/relationships/slideLayout" Target="../slideLayouts/slideLayout72.xml"/><Relationship Id="rId16" Type="http://schemas.openxmlformats.org/officeDocument/2006/relationships/tags" Target="../tags/tag8.xml"/><Relationship Id="rId20" Type="http://schemas.openxmlformats.org/officeDocument/2006/relationships/tags" Target="../tags/tag1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75.xml"/><Relationship Id="rId15" Type="http://schemas.openxmlformats.org/officeDocument/2006/relationships/tags" Target="../tags/tag7.xml"/><Relationship Id="rId23" Type="http://schemas.openxmlformats.org/officeDocument/2006/relationships/tags" Target="../tags/tag15.xml"/><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74.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image" Target="../media/image68.png"/></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102.xml"/><Relationship Id="rId21" Type="http://schemas.openxmlformats.org/officeDocument/2006/relationships/slideLayout" Target="../slideLayouts/slideLayout97.xml"/><Relationship Id="rId42" Type="http://schemas.openxmlformats.org/officeDocument/2006/relationships/slideLayout" Target="../slideLayouts/slideLayout118.xml"/><Relationship Id="rId47" Type="http://schemas.openxmlformats.org/officeDocument/2006/relationships/slideLayout" Target="../slideLayouts/slideLayout123.xml"/><Relationship Id="rId63" Type="http://schemas.openxmlformats.org/officeDocument/2006/relationships/slideLayout" Target="../slideLayouts/slideLayout139.xml"/><Relationship Id="rId68" Type="http://schemas.openxmlformats.org/officeDocument/2006/relationships/slideLayout" Target="../slideLayouts/slideLayout144.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9" Type="http://schemas.openxmlformats.org/officeDocument/2006/relationships/slideLayout" Target="../slideLayouts/slideLayout105.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37" Type="http://schemas.openxmlformats.org/officeDocument/2006/relationships/slideLayout" Target="../slideLayouts/slideLayout113.xml"/><Relationship Id="rId40" Type="http://schemas.openxmlformats.org/officeDocument/2006/relationships/slideLayout" Target="../slideLayouts/slideLayout116.xml"/><Relationship Id="rId45" Type="http://schemas.openxmlformats.org/officeDocument/2006/relationships/slideLayout" Target="../slideLayouts/slideLayout121.xml"/><Relationship Id="rId53" Type="http://schemas.openxmlformats.org/officeDocument/2006/relationships/slideLayout" Target="../slideLayouts/slideLayout129.xml"/><Relationship Id="rId58" Type="http://schemas.openxmlformats.org/officeDocument/2006/relationships/slideLayout" Target="../slideLayouts/slideLayout134.xml"/><Relationship Id="rId66" Type="http://schemas.openxmlformats.org/officeDocument/2006/relationships/slideLayout" Target="../slideLayouts/slideLayout142.xml"/><Relationship Id="rId5" Type="http://schemas.openxmlformats.org/officeDocument/2006/relationships/slideLayout" Target="../slideLayouts/slideLayout81.xml"/><Relationship Id="rId61" Type="http://schemas.openxmlformats.org/officeDocument/2006/relationships/slideLayout" Target="../slideLayouts/slideLayout137.xml"/><Relationship Id="rId19" Type="http://schemas.openxmlformats.org/officeDocument/2006/relationships/slideLayout" Target="../slideLayouts/slideLayout9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slideLayout" Target="../slideLayouts/slideLayout111.xml"/><Relationship Id="rId43" Type="http://schemas.openxmlformats.org/officeDocument/2006/relationships/slideLayout" Target="../slideLayouts/slideLayout119.xml"/><Relationship Id="rId48" Type="http://schemas.openxmlformats.org/officeDocument/2006/relationships/slideLayout" Target="../slideLayouts/slideLayout124.xml"/><Relationship Id="rId56" Type="http://schemas.openxmlformats.org/officeDocument/2006/relationships/slideLayout" Target="../slideLayouts/slideLayout132.xml"/><Relationship Id="rId64" Type="http://schemas.openxmlformats.org/officeDocument/2006/relationships/slideLayout" Target="../slideLayouts/slideLayout140.xml"/><Relationship Id="rId69" Type="http://schemas.openxmlformats.org/officeDocument/2006/relationships/theme" Target="../theme/theme7.xml"/><Relationship Id="rId8" Type="http://schemas.openxmlformats.org/officeDocument/2006/relationships/slideLayout" Target="../slideLayouts/slideLayout84.xml"/><Relationship Id="rId51" Type="http://schemas.openxmlformats.org/officeDocument/2006/relationships/slideLayout" Target="../slideLayouts/slideLayout127.xml"/><Relationship Id="rId72" Type="http://schemas.openxmlformats.org/officeDocument/2006/relationships/oleObject" Target="../embeddings/oleObject7.bin"/><Relationship Id="rId3" Type="http://schemas.openxmlformats.org/officeDocument/2006/relationships/slideLayout" Target="../slideLayouts/slideLayout79.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38" Type="http://schemas.openxmlformats.org/officeDocument/2006/relationships/slideLayout" Target="../slideLayouts/slideLayout114.xml"/><Relationship Id="rId46" Type="http://schemas.openxmlformats.org/officeDocument/2006/relationships/slideLayout" Target="../slideLayouts/slideLayout122.xml"/><Relationship Id="rId59" Type="http://schemas.openxmlformats.org/officeDocument/2006/relationships/slideLayout" Target="../slideLayouts/slideLayout135.xml"/><Relationship Id="rId67" Type="http://schemas.openxmlformats.org/officeDocument/2006/relationships/slideLayout" Target="../slideLayouts/slideLayout143.xml"/><Relationship Id="rId20" Type="http://schemas.openxmlformats.org/officeDocument/2006/relationships/slideLayout" Target="../slideLayouts/slideLayout96.xml"/><Relationship Id="rId41" Type="http://schemas.openxmlformats.org/officeDocument/2006/relationships/slideLayout" Target="../slideLayouts/slideLayout117.xml"/><Relationship Id="rId54" Type="http://schemas.openxmlformats.org/officeDocument/2006/relationships/slideLayout" Target="../slideLayouts/slideLayout130.xml"/><Relationship Id="rId62" Type="http://schemas.openxmlformats.org/officeDocument/2006/relationships/slideLayout" Target="../slideLayouts/slideLayout138.xml"/><Relationship Id="rId70" Type="http://schemas.openxmlformats.org/officeDocument/2006/relationships/vmlDrawing" Target="../drawings/vmlDrawing7.vml"/><Relationship Id="rId1" Type="http://schemas.openxmlformats.org/officeDocument/2006/relationships/slideLayout" Target="../slideLayouts/slideLayout77.xml"/><Relationship Id="rId6" Type="http://schemas.openxmlformats.org/officeDocument/2006/relationships/slideLayout" Target="../slideLayouts/slideLayout82.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slideLayout" Target="../slideLayouts/slideLayout112.xml"/><Relationship Id="rId49" Type="http://schemas.openxmlformats.org/officeDocument/2006/relationships/slideLayout" Target="../slideLayouts/slideLayout125.xml"/><Relationship Id="rId57" Type="http://schemas.openxmlformats.org/officeDocument/2006/relationships/slideLayout" Target="../slideLayouts/slideLayout133.xml"/><Relationship Id="rId10" Type="http://schemas.openxmlformats.org/officeDocument/2006/relationships/slideLayout" Target="../slideLayouts/slideLayout86.xml"/><Relationship Id="rId31" Type="http://schemas.openxmlformats.org/officeDocument/2006/relationships/slideLayout" Target="../slideLayouts/slideLayout107.xml"/><Relationship Id="rId44" Type="http://schemas.openxmlformats.org/officeDocument/2006/relationships/slideLayout" Target="../slideLayouts/slideLayout120.xml"/><Relationship Id="rId52" Type="http://schemas.openxmlformats.org/officeDocument/2006/relationships/slideLayout" Target="../slideLayouts/slideLayout128.xml"/><Relationship Id="rId60" Type="http://schemas.openxmlformats.org/officeDocument/2006/relationships/slideLayout" Target="../slideLayouts/slideLayout136.xml"/><Relationship Id="rId65" Type="http://schemas.openxmlformats.org/officeDocument/2006/relationships/slideLayout" Target="../slideLayouts/slideLayout141.xml"/><Relationship Id="rId73" Type="http://schemas.openxmlformats.org/officeDocument/2006/relationships/image" Target="../media/image76.emf"/><Relationship Id="rId4" Type="http://schemas.openxmlformats.org/officeDocument/2006/relationships/slideLayout" Target="../slideLayouts/slideLayout80.xml"/><Relationship Id="rId9" Type="http://schemas.openxmlformats.org/officeDocument/2006/relationships/slideLayout" Target="../slideLayouts/slideLayout85.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9" Type="http://schemas.openxmlformats.org/officeDocument/2006/relationships/slideLayout" Target="../slideLayouts/slideLayout115.xml"/><Relationship Id="rId34" Type="http://schemas.openxmlformats.org/officeDocument/2006/relationships/slideLayout" Target="../slideLayouts/slideLayout110.xml"/><Relationship Id="rId50" Type="http://schemas.openxmlformats.org/officeDocument/2006/relationships/slideLayout" Target="../slideLayouts/slideLayout126.xml"/><Relationship Id="rId55" Type="http://schemas.openxmlformats.org/officeDocument/2006/relationships/slideLayout" Target="../slideLayouts/slideLayout131.xml"/><Relationship Id="rId7" Type="http://schemas.openxmlformats.org/officeDocument/2006/relationships/slideLayout" Target="../slideLayouts/slideLayout83.xml"/><Relationship Id="rId71" Type="http://schemas.openxmlformats.org/officeDocument/2006/relationships/tags" Target="../tags/tag25.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170.xml"/><Relationship Id="rId21" Type="http://schemas.openxmlformats.org/officeDocument/2006/relationships/slideLayout" Target="../slideLayouts/slideLayout165.xml"/><Relationship Id="rId42" Type="http://schemas.openxmlformats.org/officeDocument/2006/relationships/slideLayout" Target="../slideLayouts/slideLayout186.xml"/><Relationship Id="rId47" Type="http://schemas.openxmlformats.org/officeDocument/2006/relationships/slideLayout" Target="../slideLayouts/slideLayout191.xml"/><Relationship Id="rId63" Type="http://schemas.openxmlformats.org/officeDocument/2006/relationships/slideLayout" Target="../slideLayouts/slideLayout207.xml"/><Relationship Id="rId68" Type="http://schemas.openxmlformats.org/officeDocument/2006/relationships/slideLayout" Target="../slideLayouts/slideLayout212.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9" Type="http://schemas.openxmlformats.org/officeDocument/2006/relationships/slideLayout" Target="../slideLayouts/slideLayout173.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slideLayout" Target="../slideLayouts/slideLayout176.xml"/><Relationship Id="rId37" Type="http://schemas.openxmlformats.org/officeDocument/2006/relationships/slideLayout" Target="../slideLayouts/slideLayout181.xml"/><Relationship Id="rId40" Type="http://schemas.openxmlformats.org/officeDocument/2006/relationships/slideLayout" Target="../slideLayouts/slideLayout184.xml"/><Relationship Id="rId45" Type="http://schemas.openxmlformats.org/officeDocument/2006/relationships/slideLayout" Target="../slideLayouts/slideLayout189.xml"/><Relationship Id="rId53" Type="http://schemas.openxmlformats.org/officeDocument/2006/relationships/slideLayout" Target="../slideLayouts/slideLayout197.xml"/><Relationship Id="rId58" Type="http://schemas.openxmlformats.org/officeDocument/2006/relationships/slideLayout" Target="../slideLayouts/slideLayout202.xml"/><Relationship Id="rId66" Type="http://schemas.openxmlformats.org/officeDocument/2006/relationships/slideLayout" Target="../slideLayouts/slideLayout210.xml"/><Relationship Id="rId5" Type="http://schemas.openxmlformats.org/officeDocument/2006/relationships/slideLayout" Target="../slideLayouts/slideLayout149.xml"/><Relationship Id="rId61" Type="http://schemas.openxmlformats.org/officeDocument/2006/relationships/slideLayout" Target="../slideLayouts/slideLayout205.xml"/><Relationship Id="rId19" Type="http://schemas.openxmlformats.org/officeDocument/2006/relationships/slideLayout" Target="../slideLayouts/slideLayout16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slideLayout" Target="../slideLayouts/slideLayout174.xml"/><Relationship Id="rId35" Type="http://schemas.openxmlformats.org/officeDocument/2006/relationships/slideLayout" Target="../slideLayouts/slideLayout179.xml"/><Relationship Id="rId43" Type="http://schemas.openxmlformats.org/officeDocument/2006/relationships/slideLayout" Target="../slideLayouts/slideLayout187.xml"/><Relationship Id="rId48" Type="http://schemas.openxmlformats.org/officeDocument/2006/relationships/slideLayout" Target="../slideLayouts/slideLayout192.xml"/><Relationship Id="rId56" Type="http://schemas.openxmlformats.org/officeDocument/2006/relationships/slideLayout" Target="../slideLayouts/slideLayout200.xml"/><Relationship Id="rId64" Type="http://schemas.openxmlformats.org/officeDocument/2006/relationships/slideLayout" Target="../slideLayouts/slideLayout208.xml"/><Relationship Id="rId69" Type="http://schemas.openxmlformats.org/officeDocument/2006/relationships/theme" Target="../theme/theme8.xml"/><Relationship Id="rId8" Type="http://schemas.openxmlformats.org/officeDocument/2006/relationships/slideLayout" Target="../slideLayouts/slideLayout152.xml"/><Relationship Id="rId51" Type="http://schemas.openxmlformats.org/officeDocument/2006/relationships/slideLayout" Target="../slideLayouts/slideLayout195.xml"/><Relationship Id="rId72" Type="http://schemas.openxmlformats.org/officeDocument/2006/relationships/oleObject" Target="../embeddings/oleObject7.bin"/><Relationship Id="rId3" Type="http://schemas.openxmlformats.org/officeDocument/2006/relationships/slideLayout" Target="../slideLayouts/slideLayout147.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33" Type="http://schemas.openxmlformats.org/officeDocument/2006/relationships/slideLayout" Target="../slideLayouts/slideLayout177.xml"/><Relationship Id="rId38" Type="http://schemas.openxmlformats.org/officeDocument/2006/relationships/slideLayout" Target="../slideLayouts/slideLayout182.xml"/><Relationship Id="rId46" Type="http://schemas.openxmlformats.org/officeDocument/2006/relationships/slideLayout" Target="../slideLayouts/slideLayout190.xml"/><Relationship Id="rId59" Type="http://schemas.openxmlformats.org/officeDocument/2006/relationships/slideLayout" Target="../slideLayouts/slideLayout203.xml"/><Relationship Id="rId67" Type="http://schemas.openxmlformats.org/officeDocument/2006/relationships/slideLayout" Target="../slideLayouts/slideLayout211.xml"/><Relationship Id="rId20" Type="http://schemas.openxmlformats.org/officeDocument/2006/relationships/slideLayout" Target="../slideLayouts/slideLayout164.xml"/><Relationship Id="rId41" Type="http://schemas.openxmlformats.org/officeDocument/2006/relationships/slideLayout" Target="../slideLayouts/slideLayout185.xml"/><Relationship Id="rId54" Type="http://schemas.openxmlformats.org/officeDocument/2006/relationships/slideLayout" Target="../slideLayouts/slideLayout198.xml"/><Relationship Id="rId62" Type="http://schemas.openxmlformats.org/officeDocument/2006/relationships/slideLayout" Target="../slideLayouts/slideLayout206.xml"/><Relationship Id="rId70" Type="http://schemas.openxmlformats.org/officeDocument/2006/relationships/vmlDrawing" Target="../drawings/vmlDrawing26.v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36" Type="http://schemas.openxmlformats.org/officeDocument/2006/relationships/slideLayout" Target="../slideLayouts/slideLayout180.xml"/><Relationship Id="rId49" Type="http://schemas.openxmlformats.org/officeDocument/2006/relationships/slideLayout" Target="../slideLayouts/slideLayout193.xml"/><Relationship Id="rId57" Type="http://schemas.openxmlformats.org/officeDocument/2006/relationships/slideLayout" Target="../slideLayouts/slideLayout201.xml"/><Relationship Id="rId10" Type="http://schemas.openxmlformats.org/officeDocument/2006/relationships/slideLayout" Target="../slideLayouts/slideLayout154.xml"/><Relationship Id="rId31" Type="http://schemas.openxmlformats.org/officeDocument/2006/relationships/slideLayout" Target="../slideLayouts/slideLayout175.xml"/><Relationship Id="rId44" Type="http://schemas.openxmlformats.org/officeDocument/2006/relationships/slideLayout" Target="../slideLayouts/slideLayout188.xml"/><Relationship Id="rId52" Type="http://schemas.openxmlformats.org/officeDocument/2006/relationships/slideLayout" Target="../slideLayouts/slideLayout196.xml"/><Relationship Id="rId60" Type="http://schemas.openxmlformats.org/officeDocument/2006/relationships/slideLayout" Target="../slideLayouts/slideLayout204.xml"/><Relationship Id="rId65" Type="http://schemas.openxmlformats.org/officeDocument/2006/relationships/slideLayout" Target="../slideLayouts/slideLayout209.xml"/><Relationship Id="rId73" Type="http://schemas.openxmlformats.org/officeDocument/2006/relationships/image" Target="../media/image76.emf"/><Relationship Id="rId4" Type="http://schemas.openxmlformats.org/officeDocument/2006/relationships/slideLayout" Target="../slideLayouts/slideLayout148.xml"/><Relationship Id="rId9" Type="http://schemas.openxmlformats.org/officeDocument/2006/relationships/slideLayout" Target="../slideLayouts/slideLayout153.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39" Type="http://schemas.openxmlformats.org/officeDocument/2006/relationships/slideLayout" Target="../slideLayouts/slideLayout183.xml"/><Relationship Id="rId34" Type="http://schemas.openxmlformats.org/officeDocument/2006/relationships/slideLayout" Target="../slideLayouts/slideLayout178.xml"/><Relationship Id="rId50" Type="http://schemas.openxmlformats.org/officeDocument/2006/relationships/slideLayout" Target="../slideLayouts/slideLayout194.xml"/><Relationship Id="rId55" Type="http://schemas.openxmlformats.org/officeDocument/2006/relationships/slideLayout" Target="../slideLayouts/slideLayout199.xml"/><Relationship Id="rId7" Type="http://schemas.openxmlformats.org/officeDocument/2006/relationships/slideLayout" Target="../slideLayouts/slideLayout151.xml"/><Relationship Id="rId71" Type="http://schemas.openxmlformats.org/officeDocument/2006/relationships/tags" Target="../tags/tag56.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tags" Target="../tags/tag99.xml"/><Relationship Id="rId3" Type="http://schemas.openxmlformats.org/officeDocument/2006/relationships/slideLayout" Target="../slideLayouts/slideLayout215.xml"/><Relationship Id="rId21" Type="http://schemas.openxmlformats.org/officeDocument/2006/relationships/tags" Target="../tags/tag102.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 Type="http://schemas.openxmlformats.org/officeDocument/2006/relationships/slideLayout" Target="../slideLayouts/slideLayout214.xml"/><Relationship Id="rId16" Type="http://schemas.openxmlformats.org/officeDocument/2006/relationships/tags" Target="../tags/tag97.xml"/><Relationship Id="rId20" Type="http://schemas.openxmlformats.org/officeDocument/2006/relationships/tags" Target="../tags/tag101.xml"/><Relationship Id="rId1" Type="http://schemas.openxmlformats.org/officeDocument/2006/relationships/slideLayout" Target="../slideLayouts/slideLayout213.xml"/><Relationship Id="rId6" Type="http://schemas.openxmlformats.org/officeDocument/2006/relationships/tags" Target="../tags/tag87.xml"/><Relationship Id="rId11" Type="http://schemas.openxmlformats.org/officeDocument/2006/relationships/tags" Target="../tags/tag92.xml"/><Relationship Id="rId24" Type="http://schemas.openxmlformats.org/officeDocument/2006/relationships/image" Target="../media/image68.png"/><Relationship Id="rId5" Type="http://schemas.openxmlformats.org/officeDocument/2006/relationships/vmlDrawing" Target="../drawings/vmlDrawing45.vml"/><Relationship Id="rId15" Type="http://schemas.openxmlformats.org/officeDocument/2006/relationships/tags" Target="../tags/tag96.xml"/><Relationship Id="rId23" Type="http://schemas.openxmlformats.org/officeDocument/2006/relationships/image" Target="../media/image67.emf"/><Relationship Id="rId10" Type="http://schemas.openxmlformats.org/officeDocument/2006/relationships/tags" Target="../tags/tag91.xml"/><Relationship Id="rId19" Type="http://schemas.openxmlformats.org/officeDocument/2006/relationships/tags" Target="../tags/tag100.xml"/><Relationship Id="rId4" Type="http://schemas.openxmlformats.org/officeDocument/2006/relationships/theme" Target="../theme/theme9.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oleObject" Target="../embeddings/oleObject3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6106E65-026A-4C46-AFB0-85C3E7848DD0}"/>
              </a:ext>
            </a:extLst>
          </p:cNvPr>
          <p:cNvSpPr>
            <a:spLocks noGrp="1"/>
          </p:cNvSpPr>
          <p:nvPr>
            <p:ph type="title"/>
          </p:nvPr>
        </p:nvSpPr>
        <p:spPr>
          <a:xfrm>
            <a:off x="360000" y="540000"/>
            <a:ext cx="11472000" cy="1021287"/>
          </a:xfrm>
          <a:prstGeom prst="rect">
            <a:avLst/>
          </a:prstGeom>
        </p:spPr>
        <p:txBody>
          <a:bodyPr vert="horz" lIns="91440" tIns="45720" rIns="91440" bIns="45720" rtlCol="0" anchor="t">
            <a:normAutofit/>
          </a:bodyPr>
          <a:lstStyle/>
          <a:p>
            <a:r>
              <a:rPr lang="en-GB"/>
              <a:t>Click to edit master style</a:t>
            </a:r>
            <a:endParaRPr lang="en-US"/>
          </a:p>
        </p:txBody>
      </p:sp>
      <p:sp>
        <p:nvSpPr>
          <p:cNvPr id="10" name="Text Placeholder 2">
            <a:extLst>
              <a:ext uri="{FF2B5EF4-FFF2-40B4-BE49-F238E27FC236}">
                <a16:creationId xmlns:a16="http://schemas.microsoft.com/office/drawing/2014/main" id="{5707E24A-2FF5-4246-BEF6-082A6111800B}"/>
              </a:ext>
            </a:extLst>
          </p:cNvPr>
          <p:cNvSpPr>
            <a:spLocks noGrp="1"/>
          </p:cNvSpPr>
          <p:nvPr>
            <p:ph type="body" idx="1"/>
          </p:nvPr>
        </p:nvSpPr>
        <p:spPr>
          <a:xfrm>
            <a:off x="360000" y="1800000"/>
            <a:ext cx="11472000" cy="3364189"/>
          </a:xfrm>
          <a:prstGeom prst="rect">
            <a:avLst/>
          </a:prstGeom>
        </p:spPr>
        <p:txBody>
          <a:bodyPr vert="horz" lIns="91440" tIns="45720" rIns="91440" bIns="45720" rtlCol="0"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D7F45575-B773-1649-9EFE-1C08EEFD46D1}"/>
              </a:ext>
            </a:extLst>
          </p:cNvPr>
          <p:cNvSpPr>
            <a:spLocks noGrp="1"/>
          </p:cNvSpPr>
          <p:nvPr>
            <p:ph type="sldNum" sz="quarter" idx="4"/>
          </p:nvPr>
        </p:nvSpPr>
        <p:spPr>
          <a:xfrm>
            <a:off x="359999" y="6264872"/>
            <a:ext cx="360000" cy="360000"/>
          </a:xfrm>
          <a:prstGeom prst="rect">
            <a:avLst/>
          </a:prstGeom>
        </p:spPr>
        <p:txBody>
          <a:bodyPr vert="horz" lIns="91440" tIns="45720" rIns="91440" bIns="45720" rtlCol="0" anchor="ctr"/>
          <a:lstStyle>
            <a:lvl1pPr algn="l">
              <a:defRPr sz="800" b="0" i="0">
                <a:solidFill>
                  <a:schemeClr val="tx1"/>
                </a:solidFill>
                <a:latin typeface="Arial" panose="020B0604020202020204" pitchFamily="34" charset="0"/>
                <a:cs typeface="Arial" panose="020B0604020202020204" pitchFamily="34" charset="0"/>
              </a:defRPr>
            </a:lvl1pPr>
          </a:lstStyle>
          <a:p>
            <a:fld id="{52BD4378-72E1-444F-8B73-E4C8D03E6D72}" type="slidenum">
              <a:rPr lang="en-MY" smtClean="0"/>
              <a:t>‹#›</a:t>
            </a:fld>
            <a:endParaRPr lang="en-MY"/>
          </a:p>
        </p:txBody>
      </p:sp>
      <p:sp>
        <p:nvSpPr>
          <p:cNvPr id="14" name="TextBox 13">
            <a:extLst>
              <a:ext uri="{FF2B5EF4-FFF2-40B4-BE49-F238E27FC236}">
                <a16:creationId xmlns:a16="http://schemas.microsoft.com/office/drawing/2014/main" id="{14FEDD73-913A-A14E-9158-0586EE3B58B5}"/>
              </a:ext>
            </a:extLst>
          </p:cNvPr>
          <p:cNvSpPr txBox="1"/>
          <p:nvPr/>
        </p:nvSpPr>
        <p:spPr>
          <a:xfrm>
            <a:off x="720000" y="6336000"/>
            <a:ext cx="5400000" cy="216000"/>
          </a:xfrm>
          <a:prstGeom prst="rect">
            <a:avLst/>
          </a:prstGeom>
          <a:noFill/>
        </p:spPr>
        <p:txBody>
          <a:bodyPr wrap="square" lIns="90000" rtlCol="0" anchor="ctr" anchorCtr="0">
            <a:spAutoFit/>
          </a:bodyPr>
          <a:lstStyle/>
          <a:p>
            <a:r>
              <a:rPr lang="en-GB" sz="800" b="0" i="0">
                <a:solidFill>
                  <a:schemeClr val="tx1"/>
                </a:solidFill>
                <a:latin typeface="Arial" panose="020B0604020202020204" pitchFamily="34" charset="0"/>
                <a:ea typeface="MS PGothic" pitchFamily="34" charset="-128"/>
                <a:cs typeface="Arial" panose="020B0604020202020204" pitchFamily="34" charset="0"/>
              </a:rPr>
              <a:t>AIA confidential and proprietary information. Not for distribution. </a:t>
            </a:r>
            <a:endParaRPr lang="en-US" sz="800" b="0" i="0">
              <a:solidFill>
                <a:schemeClr val="tx1"/>
              </a:solidFill>
              <a:latin typeface="Arial" panose="020B0604020202020204" pitchFamily="34" charset="0"/>
              <a:cs typeface="Arial" panose="020B0604020202020204" pitchFamily="34" charset="0"/>
            </a:endParaRPr>
          </a:p>
        </p:txBody>
      </p:sp>
      <p:sp>
        <p:nvSpPr>
          <p:cNvPr id="49" name="Rectangle 9">
            <a:extLst>
              <a:ext uri="{FF2B5EF4-FFF2-40B4-BE49-F238E27FC236}">
                <a16:creationId xmlns:a16="http://schemas.microsoft.com/office/drawing/2014/main" id="{E0203ACC-1921-3649-A2D8-9E4ECC5D23B4}"/>
              </a:ext>
            </a:extLst>
          </p:cNvPr>
          <p:cNvSpPr>
            <a:spLocks noChangeArrowheads="1"/>
          </p:cNvSpPr>
          <p:nvPr/>
        </p:nvSpPr>
        <p:spPr bwMode="auto">
          <a:xfrm>
            <a:off x="-2626840" y="1353662"/>
            <a:ext cx="1844675" cy="801569"/>
          </a:xfrm>
          <a:prstGeom prst="rect">
            <a:avLst/>
          </a:prstGeom>
          <a:solidFill>
            <a:srgbClr val="333D47"/>
          </a:solidFill>
          <a:ln w="9525">
            <a:noFill/>
            <a:miter lim="800000"/>
            <a:headEnd/>
            <a:tailEnd/>
          </a:ln>
          <a:effectLst/>
        </p:spPr>
        <p:txBody>
          <a:bodyPr wrap="none" anchor="ctr"/>
          <a:lstStyle/>
          <a:p>
            <a:pPr>
              <a:spcBef>
                <a:spcPct val="0"/>
              </a:spcBef>
              <a:buFontTx/>
              <a:buNone/>
            </a:pPr>
            <a:r>
              <a:rPr lang="en-US" sz="1400" b="1" spc="-100" baseline="0">
                <a:solidFill>
                  <a:srgbClr val="FFFFFF"/>
                </a:solidFill>
                <a:latin typeface="Arial" panose="020B0604020202020204" pitchFamily="34" charset="0"/>
                <a:cs typeface="Arial" panose="020B0604020202020204" pitchFamily="34" charset="0"/>
              </a:rPr>
              <a:t>AIA CHARCOAL </a:t>
            </a:r>
            <a:br>
              <a:rPr lang="en-US" sz="1400" b="1" spc="-100" baseline="0">
                <a:solidFill>
                  <a:srgbClr val="FFFFFF"/>
                </a:solidFill>
                <a:latin typeface="Arial" panose="020B0604020202020204" pitchFamily="34" charset="0"/>
                <a:cs typeface="Arial" panose="020B0604020202020204" pitchFamily="34" charset="0"/>
              </a:rPr>
            </a:br>
            <a:r>
              <a:rPr lang="en-US" sz="1400" spc="-100" baseline="0">
                <a:solidFill>
                  <a:srgbClr val="FFFFFF"/>
                </a:solidFill>
                <a:latin typeface="Arial" panose="020B0604020202020204" pitchFamily="34" charset="0"/>
                <a:cs typeface="Arial" panose="020B0604020202020204" pitchFamily="34" charset="0"/>
              </a:rPr>
              <a:t>R51 G61 B71</a:t>
            </a:r>
          </a:p>
          <a:p>
            <a:pPr>
              <a:spcBef>
                <a:spcPct val="0"/>
              </a:spcBef>
              <a:buFontTx/>
              <a:buNone/>
            </a:pPr>
            <a:endParaRPr lang="en-US" sz="1400" spc="-100" baseline="0">
              <a:solidFill>
                <a:srgbClr val="FFFFFF"/>
              </a:solidFill>
              <a:latin typeface="Arial" panose="020B0604020202020204" pitchFamily="34" charset="0"/>
              <a:cs typeface="Arial" panose="020B0604020202020204" pitchFamily="34" charset="0"/>
            </a:endParaRPr>
          </a:p>
        </p:txBody>
      </p:sp>
      <p:sp>
        <p:nvSpPr>
          <p:cNvPr id="50" name="Rectangle 7">
            <a:extLst>
              <a:ext uri="{FF2B5EF4-FFF2-40B4-BE49-F238E27FC236}">
                <a16:creationId xmlns:a16="http://schemas.microsoft.com/office/drawing/2014/main" id="{3EE7A4A7-B933-B24E-AC2D-C118217EFEB4}"/>
              </a:ext>
            </a:extLst>
          </p:cNvPr>
          <p:cNvSpPr>
            <a:spLocks noChangeArrowheads="1"/>
          </p:cNvSpPr>
          <p:nvPr/>
        </p:nvSpPr>
        <p:spPr bwMode="auto">
          <a:xfrm>
            <a:off x="-2614697" y="407231"/>
            <a:ext cx="1821348" cy="806397"/>
          </a:xfrm>
          <a:prstGeom prst="rect">
            <a:avLst/>
          </a:prstGeom>
          <a:solidFill>
            <a:srgbClr val="D31145"/>
          </a:solidFill>
          <a:ln w="9525">
            <a:noFill/>
            <a:miter lim="800000"/>
            <a:headEnd/>
            <a:tailEnd/>
          </a:ln>
          <a:effectLst/>
        </p:spPr>
        <p:txBody>
          <a:bodyPr wrap="none" anchor="ctr"/>
          <a:lstStyle/>
          <a:p>
            <a:pPr>
              <a:spcBef>
                <a:spcPct val="0"/>
              </a:spcBef>
              <a:buFontTx/>
              <a:buNone/>
            </a:pPr>
            <a:r>
              <a:rPr lang="en-US" sz="1400" b="1" spc="-100" baseline="0">
                <a:solidFill>
                  <a:srgbClr val="FFFFFF"/>
                </a:solidFill>
                <a:latin typeface="Arial" panose="020B0604020202020204" pitchFamily="34" charset="0"/>
                <a:cs typeface="Arial" panose="020B0604020202020204" pitchFamily="34" charset="0"/>
              </a:rPr>
              <a:t>AIA RED</a:t>
            </a:r>
          </a:p>
          <a:p>
            <a:pPr>
              <a:spcBef>
                <a:spcPct val="0"/>
              </a:spcBef>
              <a:buFontTx/>
              <a:buNone/>
            </a:pPr>
            <a:r>
              <a:rPr lang="en-US" sz="1400" spc="-100" baseline="0">
                <a:solidFill>
                  <a:srgbClr val="FFFFFF"/>
                </a:solidFill>
                <a:latin typeface="Arial" panose="020B0604020202020204" pitchFamily="34" charset="0"/>
                <a:cs typeface="Arial" panose="020B0604020202020204" pitchFamily="34" charset="0"/>
              </a:rPr>
              <a:t>R211 G17 B69</a:t>
            </a:r>
          </a:p>
          <a:p>
            <a:pPr>
              <a:spcBef>
                <a:spcPct val="0"/>
              </a:spcBef>
              <a:buFontTx/>
              <a:buNone/>
            </a:pPr>
            <a:endParaRPr lang="en-US" sz="1400" spc="-100" baseline="0">
              <a:solidFill>
                <a:srgbClr val="FFFFFF"/>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B57F8F61-AACF-4D43-A48E-73FD89E9FAC0}"/>
              </a:ext>
            </a:extLst>
          </p:cNvPr>
          <p:cNvSpPr txBox="1"/>
          <p:nvPr/>
        </p:nvSpPr>
        <p:spPr>
          <a:xfrm>
            <a:off x="-2942426" y="376236"/>
            <a:ext cx="259484" cy="1937287"/>
          </a:xfrm>
          <a:prstGeom prst="rect">
            <a:avLst/>
          </a:prstGeom>
          <a:noFill/>
        </p:spPr>
        <p:txBody>
          <a:bodyPr vert="vert270" wrap="square" lIns="0" tIns="0" rIns="0" bIns="0" rtlCol="0">
            <a:noAutofit/>
          </a:bodyPr>
          <a:lstStyle/>
          <a:p>
            <a:pPr algn="r">
              <a:lnSpc>
                <a:spcPct val="80000"/>
              </a:lnSpc>
            </a:pPr>
            <a:r>
              <a:rPr lang="en-US" b="1" i="0">
                <a:solidFill>
                  <a:srgbClr val="585858"/>
                </a:solidFill>
                <a:latin typeface="Arial" panose="020B0604020202020204" pitchFamily="34" charset="0"/>
                <a:cs typeface="Arial" panose="020B0604020202020204" pitchFamily="34" charset="0"/>
              </a:rPr>
              <a:t>CORE COLOURS</a:t>
            </a:r>
          </a:p>
        </p:txBody>
      </p:sp>
      <p:sp>
        <p:nvSpPr>
          <p:cNvPr id="67" name="Rectangle 9">
            <a:extLst>
              <a:ext uri="{FF2B5EF4-FFF2-40B4-BE49-F238E27FC236}">
                <a16:creationId xmlns:a16="http://schemas.microsoft.com/office/drawing/2014/main" id="{6E16C6D7-5D67-3F48-9BAD-5211CB2770DE}"/>
              </a:ext>
            </a:extLst>
          </p:cNvPr>
          <p:cNvSpPr>
            <a:spLocks noChangeArrowheads="1"/>
          </p:cNvSpPr>
          <p:nvPr/>
        </p:nvSpPr>
        <p:spPr bwMode="auto">
          <a:xfrm>
            <a:off x="-4617303" y="5798524"/>
            <a:ext cx="1487670" cy="646439"/>
          </a:xfrm>
          <a:prstGeom prst="rect">
            <a:avLst/>
          </a:prstGeom>
          <a:solidFill>
            <a:schemeClr val="bg2"/>
          </a:solidFill>
          <a:ln w="9525">
            <a:noFill/>
            <a:miter lim="800000"/>
            <a:headEnd/>
            <a:tailEnd/>
          </a:ln>
          <a:effectLst/>
        </p:spPr>
        <p:txBody>
          <a:bodyPr wrap="none" anchor="ctr"/>
          <a:lstStyle/>
          <a:p>
            <a:pPr>
              <a:spcBef>
                <a:spcPct val="0"/>
              </a:spcBef>
              <a:buFontTx/>
              <a:buNone/>
            </a:pPr>
            <a:r>
              <a:rPr lang="en-US" sz="1400" b="1" spc="-100" baseline="0">
                <a:solidFill>
                  <a:srgbClr val="FFFFFF"/>
                </a:solidFill>
                <a:latin typeface="Arial" panose="020B0604020202020204" pitchFamily="34" charset="0"/>
                <a:cs typeface="Arial" panose="020B0604020202020204" pitchFamily="34" charset="0"/>
              </a:rPr>
              <a:t>AIA WARM GREY </a:t>
            </a:r>
            <a:br>
              <a:rPr lang="en-US" sz="1400" b="1" spc="-100" baseline="0">
                <a:solidFill>
                  <a:srgbClr val="FFFFFF"/>
                </a:solidFill>
                <a:latin typeface="Arial" panose="020B0604020202020204" pitchFamily="34" charset="0"/>
                <a:cs typeface="Arial" panose="020B0604020202020204" pitchFamily="34" charset="0"/>
              </a:rPr>
            </a:br>
            <a:r>
              <a:rPr lang="en-US" sz="1400" spc="-100" baseline="0">
                <a:solidFill>
                  <a:srgbClr val="FFFFFF"/>
                </a:solidFill>
                <a:latin typeface="Arial" panose="020B0604020202020204" pitchFamily="34" charset="0"/>
                <a:cs typeface="Arial" panose="020B0604020202020204" pitchFamily="34" charset="0"/>
              </a:rPr>
              <a:t>R211 G202 B195</a:t>
            </a:r>
          </a:p>
          <a:p>
            <a:pPr>
              <a:spcBef>
                <a:spcPct val="0"/>
              </a:spcBef>
              <a:buFontTx/>
              <a:buNone/>
            </a:pPr>
            <a:endParaRPr lang="en-US" sz="1400" spc="-100" baseline="0">
              <a:solidFill>
                <a:srgbClr val="FFFFFF"/>
              </a:solidFill>
              <a:latin typeface="Arial" panose="020B0604020202020204" pitchFamily="34" charset="0"/>
              <a:cs typeface="Arial" panose="020B0604020202020204" pitchFamily="34" charset="0"/>
            </a:endParaRPr>
          </a:p>
        </p:txBody>
      </p:sp>
      <p:sp>
        <p:nvSpPr>
          <p:cNvPr id="68" name="Rectangle 9">
            <a:extLst>
              <a:ext uri="{FF2B5EF4-FFF2-40B4-BE49-F238E27FC236}">
                <a16:creationId xmlns:a16="http://schemas.microsoft.com/office/drawing/2014/main" id="{30414EC1-704C-FF47-9611-AD4C8B879B94}"/>
              </a:ext>
            </a:extLst>
          </p:cNvPr>
          <p:cNvSpPr>
            <a:spLocks noChangeArrowheads="1"/>
          </p:cNvSpPr>
          <p:nvPr/>
        </p:nvSpPr>
        <p:spPr bwMode="auto">
          <a:xfrm>
            <a:off x="-4611596" y="1877530"/>
            <a:ext cx="1487670" cy="646439"/>
          </a:xfrm>
          <a:prstGeom prst="rect">
            <a:avLst/>
          </a:prstGeom>
          <a:solidFill>
            <a:schemeClr val="accent3"/>
          </a:solidFill>
          <a:ln w="9525">
            <a:noFill/>
            <a:miter lim="800000"/>
            <a:headEnd/>
            <a:tailEnd/>
          </a:ln>
          <a:effectLst/>
        </p:spPr>
        <p:txBody>
          <a:bodyPr wrap="none" anchor="ctr"/>
          <a:lstStyle/>
          <a:p>
            <a:pPr>
              <a:spcBef>
                <a:spcPct val="0"/>
              </a:spcBef>
              <a:buFontTx/>
              <a:buNone/>
            </a:pPr>
            <a:r>
              <a:rPr lang="en-US" sz="1400" b="1" spc="-100" baseline="0">
                <a:solidFill>
                  <a:srgbClr val="FFFFFF"/>
                </a:solidFill>
                <a:latin typeface="Arial" panose="020B0604020202020204" pitchFamily="34" charset="0"/>
                <a:cs typeface="Arial" panose="020B0604020202020204" pitchFamily="34" charset="0"/>
              </a:rPr>
              <a:t>AIA  ORANGE </a:t>
            </a:r>
            <a:br>
              <a:rPr lang="en-US" sz="1400" b="1" spc="-100" baseline="0">
                <a:solidFill>
                  <a:srgbClr val="FFFFFF"/>
                </a:solidFill>
                <a:latin typeface="Arial" panose="020B0604020202020204" pitchFamily="34" charset="0"/>
                <a:cs typeface="Arial" panose="020B0604020202020204" pitchFamily="34" charset="0"/>
              </a:rPr>
            </a:br>
            <a:r>
              <a:rPr lang="en-US" sz="1400" spc="-100" baseline="0">
                <a:solidFill>
                  <a:srgbClr val="FFFFFF"/>
                </a:solidFill>
                <a:latin typeface="Arial" panose="020B0604020202020204" pitchFamily="34" charset="0"/>
                <a:cs typeface="Arial" panose="020B0604020202020204" pitchFamily="34" charset="0"/>
              </a:rPr>
              <a:t>R255 G117 B77</a:t>
            </a:r>
          </a:p>
          <a:p>
            <a:pPr>
              <a:spcBef>
                <a:spcPct val="0"/>
              </a:spcBef>
              <a:buFontTx/>
              <a:buNone/>
            </a:pPr>
            <a:endParaRPr lang="en-US" sz="1400" spc="-100" baseline="0">
              <a:solidFill>
                <a:srgbClr val="FFFFFF"/>
              </a:solidFill>
              <a:latin typeface="Arial" panose="020B0604020202020204" pitchFamily="34" charset="0"/>
              <a:cs typeface="Arial" panose="020B0604020202020204" pitchFamily="34" charset="0"/>
            </a:endParaRPr>
          </a:p>
        </p:txBody>
      </p:sp>
      <p:sp>
        <p:nvSpPr>
          <p:cNvPr id="69" name="TextBox 68">
            <a:extLst>
              <a:ext uri="{FF2B5EF4-FFF2-40B4-BE49-F238E27FC236}">
                <a16:creationId xmlns:a16="http://schemas.microsoft.com/office/drawing/2014/main" id="{46EDC2E1-B0F0-2B4D-8CFB-F684F18144D9}"/>
              </a:ext>
            </a:extLst>
          </p:cNvPr>
          <p:cNvSpPr txBox="1"/>
          <p:nvPr/>
        </p:nvSpPr>
        <p:spPr>
          <a:xfrm>
            <a:off x="-4910208" y="379515"/>
            <a:ext cx="314328" cy="3271299"/>
          </a:xfrm>
          <a:prstGeom prst="rect">
            <a:avLst/>
          </a:prstGeom>
          <a:noFill/>
        </p:spPr>
        <p:txBody>
          <a:bodyPr vert="vert270" wrap="square" lIns="0" tIns="0" rIns="0" bIns="0" rtlCol="0">
            <a:noAutofit/>
          </a:bodyPr>
          <a:lstStyle/>
          <a:p>
            <a:pPr algn="r">
              <a:lnSpc>
                <a:spcPct val="80000"/>
              </a:lnSpc>
            </a:pPr>
            <a:r>
              <a:rPr lang="en-US" b="1" i="0">
                <a:solidFill>
                  <a:srgbClr val="585858"/>
                </a:solidFill>
                <a:latin typeface="Arial" panose="020B0604020202020204" pitchFamily="34" charset="0"/>
                <a:cs typeface="Arial" panose="020B0604020202020204" pitchFamily="34" charset="0"/>
              </a:rPr>
              <a:t>SUPPORTING COLOURS</a:t>
            </a:r>
          </a:p>
        </p:txBody>
      </p:sp>
      <p:sp>
        <p:nvSpPr>
          <p:cNvPr id="70" name="Rectangle 9">
            <a:extLst>
              <a:ext uri="{FF2B5EF4-FFF2-40B4-BE49-F238E27FC236}">
                <a16:creationId xmlns:a16="http://schemas.microsoft.com/office/drawing/2014/main" id="{32D26DB1-D22B-0146-BEE0-26A6F1234774}"/>
              </a:ext>
            </a:extLst>
          </p:cNvPr>
          <p:cNvSpPr>
            <a:spLocks noChangeArrowheads="1"/>
          </p:cNvSpPr>
          <p:nvPr/>
        </p:nvSpPr>
        <p:spPr bwMode="auto">
          <a:xfrm>
            <a:off x="-4611596" y="2663784"/>
            <a:ext cx="1487670" cy="646439"/>
          </a:xfrm>
          <a:prstGeom prst="rect">
            <a:avLst/>
          </a:prstGeom>
          <a:solidFill>
            <a:schemeClr val="accent4"/>
          </a:solidFill>
          <a:ln w="9525">
            <a:noFill/>
            <a:miter lim="800000"/>
            <a:headEnd/>
            <a:tailEnd/>
          </a:ln>
          <a:effectLst/>
        </p:spPr>
        <p:txBody>
          <a:bodyPr wrap="none" anchor="ctr"/>
          <a:lstStyle/>
          <a:p>
            <a:pPr>
              <a:spcBef>
                <a:spcPct val="0"/>
              </a:spcBef>
              <a:buFontTx/>
              <a:buNone/>
            </a:pPr>
            <a:r>
              <a:rPr lang="en-US" sz="1400" b="1" spc="-100" baseline="0">
                <a:solidFill>
                  <a:srgbClr val="FFFFFF"/>
                </a:solidFill>
                <a:latin typeface="Arial" panose="020B0604020202020204" pitchFamily="34" charset="0"/>
                <a:cs typeface="Arial" panose="020B0604020202020204" pitchFamily="34" charset="0"/>
              </a:rPr>
              <a:t>AIA YELLOW</a:t>
            </a:r>
            <a:br>
              <a:rPr lang="en-US" sz="1400" b="1" spc="-100" baseline="0">
                <a:solidFill>
                  <a:srgbClr val="FFFFFF"/>
                </a:solidFill>
                <a:latin typeface="Arial" panose="020B0604020202020204" pitchFamily="34" charset="0"/>
                <a:cs typeface="Arial" panose="020B0604020202020204" pitchFamily="34" charset="0"/>
              </a:rPr>
            </a:br>
            <a:r>
              <a:rPr lang="en-US" sz="1400" spc="-100" baseline="0">
                <a:solidFill>
                  <a:srgbClr val="FFFFFF"/>
                </a:solidFill>
                <a:latin typeface="Arial" panose="020B0604020202020204" pitchFamily="34" charset="0"/>
                <a:cs typeface="Arial" panose="020B0604020202020204" pitchFamily="34" charset="0"/>
              </a:rPr>
              <a:t>R247 G201 B38</a:t>
            </a:r>
          </a:p>
          <a:p>
            <a:pPr>
              <a:spcBef>
                <a:spcPct val="0"/>
              </a:spcBef>
              <a:buFontTx/>
              <a:buNone/>
            </a:pPr>
            <a:endParaRPr lang="en-US" sz="1400" spc="-100" baseline="0">
              <a:solidFill>
                <a:srgbClr val="FFFFFF"/>
              </a:solidFill>
              <a:latin typeface="Arial" panose="020B0604020202020204" pitchFamily="34" charset="0"/>
              <a:cs typeface="Arial" panose="020B0604020202020204" pitchFamily="34" charset="0"/>
            </a:endParaRPr>
          </a:p>
        </p:txBody>
      </p:sp>
      <p:sp>
        <p:nvSpPr>
          <p:cNvPr id="71" name="Rectangle 9">
            <a:extLst>
              <a:ext uri="{FF2B5EF4-FFF2-40B4-BE49-F238E27FC236}">
                <a16:creationId xmlns:a16="http://schemas.microsoft.com/office/drawing/2014/main" id="{38917B89-6ECF-F74A-9BA2-E9FCB7C72DD1}"/>
              </a:ext>
            </a:extLst>
          </p:cNvPr>
          <p:cNvSpPr>
            <a:spLocks noChangeArrowheads="1"/>
          </p:cNvSpPr>
          <p:nvPr/>
        </p:nvSpPr>
        <p:spPr bwMode="auto">
          <a:xfrm>
            <a:off x="-4611596" y="4266004"/>
            <a:ext cx="1487670" cy="646439"/>
          </a:xfrm>
          <a:prstGeom prst="rect">
            <a:avLst/>
          </a:prstGeom>
          <a:solidFill>
            <a:schemeClr val="accent5"/>
          </a:solidFill>
          <a:ln w="9525">
            <a:noFill/>
            <a:miter lim="800000"/>
            <a:headEnd/>
            <a:tailEnd/>
          </a:ln>
          <a:effectLst/>
        </p:spPr>
        <p:txBody>
          <a:bodyPr wrap="none" anchor="ctr"/>
          <a:lstStyle/>
          <a:p>
            <a:pPr>
              <a:spcBef>
                <a:spcPct val="0"/>
              </a:spcBef>
              <a:buFontTx/>
              <a:buNone/>
            </a:pPr>
            <a:r>
              <a:rPr lang="en-US" sz="1400" b="1" spc="-100" baseline="0">
                <a:solidFill>
                  <a:srgbClr val="FFFFFF"/>
                </a:solidFill>
                <a:latin typeface="Arial" panose="020B0604020202020204" pitchFamily="34" charset="0"/>
                <a:cs typeface="Arial" panose="020B0604020202020204" pitchFamily="34" charset="0"/>
              </a:rPr>
              <a:t>AIA LAVENDER </a:t>
            </a:r>
            <a:br>
              <a:rPr lang="en-US" sz="1400" b="1" spc="-100" baseline="0">
                <a:solidFill>
                  <a:srgbClr val="FFFFFF"/>
                </a:solidFill>
                <a:latin typeface="Arial" panose="020B0604020202020204" pitchFamily="34" charset="0"/>
                <a:cs typeface="Arial" panose="020B0604020202020204" pitchFamily="34" charset="0"/>
              </a:rPr>
            </a:br>
            <a:r>
              <a:rPr lang="en-US" sz="1400" spc="-100" baseline="0">
                <a:solidFill>
                  <a:srgbClr val="FFFFFF"/>
                </a:solidFill>
                <a:latin typeface="Arial" panose="020B0604020202020204" pitchFamily="34" charset="0"/>
                <a:cs typeface="Arial" panose="020B0604020202020204" pitchFamily="34" charset="0"/>
              </a:rPr>
              <a:t>R161 G153 B186</a:t>
            </a:r>
          </a:p>
          <a:p>
            <a:pPr>
              <a:spcBef>
                <a:spcPct val="0"/>
              </a:spcBef>
              <a:buFontTx/>
              <a:buNone/>
            </a:pPr>
            <a:endParaRPr lang="en-US" sz="1400" spc="-100" baseline="0">
              <a:solidFill>
                <a:srgbClr val="FFFFFF"/>
              </a:solidFill>
              <a:latin typeface="Arial" panose="020B0604020202020204" pitchFamily="34" charset="0"/>
              <a:cs typeface="Arial" panose="020B0604020202020204" pitchFamily="34" charset="0"/>
            </a:endParaRPr>
          </a:p>
        </p:txBody>
      </p:sp>
      <p:sp>
        <p:nvSpPr>
          <p:cNvPr id="72" name="Rectangle 9">
            <a:extLst>
              <a:ext uri="{FF2B5EF4-FFF2-40B4-BE49-F238E27FC236}">
                <a16:creationId xmlns:a16="http://schemas.microsoft.com/office/drawing/2014/main" id="{A835CB3C-C322-B743-8984-3B3E27A039B3}"/>
              </a:ext>
            </a:extLst>
          </p:cNvPr>
          <p:cNvSpPr>
            <a:spLocks noChangeArrowheads="1"/>
          </p:cNvSpPr>
          <p:nvPr/>
        </p:nvSpPr>
        <p:spPr bwMode="auto">
          <a:xfrm>
            <a:off x="-4611596" y="5052258"/>
            <a:ext cx="1487670" cy="646439"/>
          </a:xfrm>
          <a:prstGeom prst="rect">
            <a:avLst/>
          </a:prstGeom>
          <a:solidFill>
            <a:schemeClr val="tx2"/>
          </a:solidFill>
          <a:ln w="9525">
            <a:noFill/>
            <a:miter lim="800000"/>
            <a:headEnd/>
            <a:tailEnd/>
          </a:ln>
          <a:effectLst/>
        </p:spPr>
        <p:txBody>
          <a:bodyPr wrap="none" anchor="ctr"/>
          <a:lstStyle/>
          <a:p>
            <a:pPr>
              <a:spcBef>
                <a:spcPct val="0"/>
              </a:spcBef>
              <a:buFontTx/>
              <a:buNone/>
            </a:pPr>
            <a:r>
              <a:rPr lang="en-US" sz="1400" b="1" spc="-100" baseline="0">
                <a:solidFill>
                  <a:srgbClr val="FFFFFF"/>
                </a:solidFill>
                <a:latin typeface="Arial" panose="020B0604020202020204" pitchFamily="34" charset="0"/>
                <a:cs typeface="Arial" panose="020B0604020202020204" pitchFamily="34" charset="0"/>
              </a:rPr>
              <a:t>AIA BLUE </a:t>
            </a:r>
            <a:br>
              <a:rPr lang="en-US" sz="1400" b="1" spc="-100" baseline="0">
                <a:solidFill>
                  <a:srgbClr val="FFFFFF"/>
                </a:solidFill>
                <a:latin typeface="Arial" panose="020B0604020202020204" pitchFamily="34" charset="0"/>
                <a:cs typeface="Arial" panose="020B0604020202020204" pitchFamily="34" charset="0"/>
              </a:rPr>
            </a:br>
            <a:r>
              <a:rPr lang="en-US" sz="1400" spc="-100" baseline="0">
                <a:solidFill>
                  <a:srgbClr val="FFFFFF"/>
                </a:solidFill>
                <a:latin typeface="Arial" panose="020B0604020202020204" pitchFamily="34" charset="0"/>
                <a:cs typeface="Arial" panose="020B0604020202020204" pitchFamily="34" charset="0"/>
              </a:rPr>
              <a:t>R31 G120 B173</a:t>
            </a:r>
          </a:p>
          <a:p>
            <a:pPr>
              <a:spcBef>
                <a:spcPct val="0"/>
              </a:spcBef>
              <a:buFontTx/>
              <a:buNone/>
            </a:pPr>
            <a:endParaRPr lang="en-US" sz="1400" spc="-100" baseline="0">
              <a:solidFill>
                <a:srgbClr val="FFFFFF"/>
              </a:solidFill>
              <a:latin typeface="Arial" panose="020B0604020202020204" pitchFamily="34" charset="0"/>
              <a:cs typeface="Arial" panose="020B0604020202020204" pitchFamily="34" charset="0"/>
            </a:endParaRPr>
          </a:p>
        </p:txBody>
      </p:sp>
      <p:sp>
        <p:nvSpPr>
          <p:cNvPr id="73" name="Rectangle 9">
            <a:extLst>
              <a:ext uri="{FF2B5EF4-FFF2-40B4-BE49-F238E27FC236}">
                <a16:creationId xmlns:a16="http://schemas.microsoft.com/office/drawing/2014/main" id="{0EB3A011-77AD-EE4C-BB9E-688A1F0E49B1}"/>
              </a:ext>
            </a:extLst>
          </p:cNvPr>
          <p:cNvSpPr>
            <a:spLocks noChangeArrowheads="1"/>
          </p:cNvSpPr>
          <p:nvPr/>
        </p:nvSpPr>
        <p:spPr bwMode="auto">
          <a:xfrm>
            <a:off x="-4611596" y="1125046"/>
            <a:ext cx="1487670" cy="646439"/>
          </a:xfrm>
          <a:prstGeom prst="rect">
            <a:avLst/>
          </a:prstGeom>
          <a:solidFill>
            <a:schemeClr val="accent2"/>
          </a:solidFill>
          <a:ln w="9525">
            <a:noFill/>
            <a:miter lim="800000"/>
            <a:headEnd/>
            <a:tailEnd/>
          </a:ln>
          <a:effectLst/>
        </p:spPr>
        <p:txBody>
          <a:bodyPr wrap="none" anchor="ctr"/>
          <a:lstStyle/>
          <a:p>
            <a:pPr>
              <a:spcBef>
                <a:spcPct val="0"/>
              </a:spcBef>
              <a:buFontTx/>
              <a:buNone/>
            </a:pPr>
            <a:r>
              <a:rPr lang="en-US" sz="1400" b="1" spc="-100" baseline="0">
                <a:solidFill>
                  <a:srgbClr val="FFFFFF"/>
                </a:solidFill>
                <a:latin typeface="Arial" panose="020B0604020202020204" pitchFamily="34" charset="0"/>
                <a:cs typeface="Arial" panose="020B0604020202020204" pitchFamily="34" charset="0"/>
              </a:rPr>
              <a:t>AIA CERISE</a:t>
            </a:r>
            <a:br>
              <a:rPr lang="en-US" sz="1400" b="1" spc="-100" baseline="0">
                <a:solidFill>
                  <a:srgbClr val="FFFFFF"/>
                </a:solidFill>
                <a:latin typeface="Arial" panose="020B0604020202020204" pitchFamily="34" charset="0"/>
                <a:cs typeface="Arial" panose="020B0604020202020204" pitchFamily="34" charset="0"/>
              </a:rPr>
            </a:br>
            <a:r>
              <a:rPr lang="en-US" sz="1400" spc="-100" baseline="0">
                <a:solidFill>
                  <a:srgbClr val="FFFFFF"/>
                </a:solidFill>
                <a:latin typeface="Arial" panose="020B0604020202020204" pitchFamily="34" charset="0"/>
                <a:cs typeface="Arial" panose="020B0604020202020204" pitchFamily="34" charset="0"/>
              </a:rPr>
              <a:t>R186 G3 B97</a:t>
            </a:r>
          </a:p>
          <a:p>
            <a:pPr>
              <a:spcBef>
                <a:spcPct val="0"/>
              </a:spcBef>
              <a:buFontTx/>
              <a:buNone/>
            </a:pPr>
            <a:endParaRPr lang="en-US" sz="1400" spc="-100" baseline="0">
              <a:solidFill>
                <a:srgbClr val="FFFFFF"/>
              </a:solidFill>
              <a:latin typeface="Arial" panose="020B0604020202020204" pitchFamily="34" charset="0"/>
              <a:cs typeface="Arial" panose="020B0604020202020204" pitchFamily="34" charset="0"/>
            </a:endParaRPr>
          </a:p>
        </p:txBody>
      </p:sp>
      <p:sp>
        <p:nvSpPr>
          <p:cNvPr id="74" name="Rectangle 9">
            <a:extLst>
              <a:ext uri="{FF2B5EF4-FFF2-40B4-BE49-F238E27FC236}">
                <a16:creationId xmlns:a16="http://schemas.microsoft.com/office/drawing/2014/main" id="{402466E5-EFAB-0E4A-B977-56C6D30093B0}"/>
              </a:ext>
            </a:extLst>
          </p:cNvPr>
          <p:cNvSpPr>
            <a:spLocks noChangeArrowheads="1"/>
          </p:cNvSpPr>
          <p:nvPr/>
        </p:nvSpPr>
        <p:spPr bwMode="auto">
          <a:xfrm>
            <a:off x="-4611596" y="3449154"/>
            <a:ext cx="1487670" cy="646439"/>
          </a:xfrm>
          <a:prstGeom prst="rect">
            <a:avLst/>
          </a:prstGeom>
          <a:solidFill>
            <a:schemeClr val="accent6"/>
          </a:solidFill>
          <a:ln w="9525">
            <a:noFill/>
            <a:miter lim="800000"/>
            <a:headEnd/>
            <a:tailEnd/>
          </a:ln>
          <a:effectLst/>
        </p:spPr>
        <p:txBody>
          <a:bodyPr wrap="none" anchor="ctr"/>
          <a:lstStyle/>
          <a:p>
            <a:pPr>
              <a:spcBef>
                <a:spcPct val="0"/>
              </a:spcBef>
              <a:buFontTx/>
              <a:buNone/>
            </a:pPr>
            <a:r>
              <a:rPr lang="en-US" sz="1400" b="1" spc="-100" baseline="0">
                <a:solidFill>
                  <a:srgbClr val="FFFFFF"/>
                </a:solidFill>
                <a:latin typeface="Arial" panose="020B0604020202020204" pitchFamily="34" charset="0"/>
                <a:cs typeface="Arial" panose="020B0604020202020204" pitchFamily="34" charset="0"/>
              </a:rPr>
              <a:t>AIA PURPLE </a:t>
            </a:r>
            <a:br>
              <a:rPr lang="en-US" sz="1400" b="1" spc="-100" baseline="0">
                <a:solidFill>
                  <a:srgbClr val="FFFFFF"/>
                </a:solidFill>
                <a:latin typeface="Arial" panose="020B0604020202020204" pitchFamily="34" charset="0"/>
                <a:cs typeface="Arial" panose="020B0604020202020204" pitchFamily="34" charset="0"/>
              </a:rPr>
            </a:br>
            <a:r>
              <a:rPr lang="en-US" sz="1400" spc="-100" baseline="0">
                <a:solidFill>
                  <a:srgbClr val="FFFFFF"/>
                </a:solidFill>
                <a:latin typeface="Arial" panose="020B0604020202020204" pitchFamily="34" charset="0"/>
                <a:cs typeface="Arial" panose="020B0604020202020204" pitchFamily="34" charset="0"/>
              </a:rPr>
              <a:t>R76 G71 B148</a:t>
            </a:r>
          </a:p>
          <a:p>
            <a:pPr>
              <a:spcBef>
                <a:spcPct val="0"/>
              </a:spcBef>
              <a:buFontTx/>
              <a:buNone/>
            </a:pPr>
            <a:endParaRPr lang="en-US" sz="1400" spc="-100" baseline="0">
              <a:solidFill>
                <a:srgbClr val="FFFFFF"/>
              </a:solidFill>
              <a:latin typeface="Arial" panose="020B0604020202020204" pitchFamily="34" charset="0"/>
              <a:cs typeface="Arial" panose="020B0604020202020204" pitchFamily="34" charset="0"/>
            </a:endParaRPr>
          </a:p>
        </p:txBody>
      </p:sp>
      <p:sp>
        <p:nvSpPr>
          <p:cNvPr id="75" name="Rectangle 9">
            <a:extLst>
              <a:ext uri="{FF2B5EF4-FFF2-40B4-BE49-F238E27FC236}">
                <a16:creationId xmlns:a16="http://schemas.microsoft.com/office/drawing/2014/main" id="{F469A4F2-3792-2E49-8B38-6AFC63812708}"/>
              </a:ext>
            </a:extLst>
          </p:cNvPr>
          <p:cNvSpPr>
            <a:spLocks noChangeArrowheads="1"/>
          </p:cNvSpPr>
          <p:nvPr/>
        </p:nvSpPr>
        <p:spPr bwMode="auto">
          <a:xfrm>
            <a:off x="-4611596" y="373206"/>
            <a:ext cx="1487670" cy="646439"/>
          </a:xfrm>
          <a:prstGeom prst="rect">
            <a:avLst/>
          </a:prstGeom>
          <a:solidFill>
            <a:srgbClr val="FF7A85"/>
          </a:solidFill>
          <a:ln w="9525">
            <a:noFill/>
            <a:miter lim="800000"/>
            <a:headEnd/>
            <a:tailEnd/>
          </a:ln>
          <a:effectLst/>
        </p:spPr>
        <p:txBody>
          <a:bodyPr wrap="none" anchor="ctr"/>
          <a:lstStyle/>
          <a:p>
            <a:pPr>
              <a:spcBef>
                <a:spcPct val="0"/>
              </a:spcBef>
              <a:buFontTx/>
              <a:buNone/>
            </a:pPr>
            <a:r>
              <a:rPr lang="en-US" sz="1400" b="1" spc="-100" baseline="0">
                <a:solidFill>
                  <a:srgbClr val="FFFFFF"/>
                </a:solidFill>
                <a:latin typeface="Arial" panose="020B0604020202020204" pitchFamily="34" charset="0"/>
                <a:cs typeface="Arial" panose="020B0604020202020204" pitchFamily="34" charset="0"/>
              </a:rPr>
              <a:t>AIA SALMON</a:t>
            </a:r>
            <a:br>
              <a:rPr lang="en-US" sz="1400" b="1" spc="-100" baseline="0">
                <a:solidFill>
                  <a:srgbClr val="FFFFFF"/>
                </a:solidFill>
                <a:latin typeface="Arial" panose="020B0604020202020204" pitchFamily="34" charset="0"/>
                <a:cs typeface="Arial" panose="020B0604020202020204" pitchFamily="34" charset="0"/>
              </a:rPr>
            </a:br>
            <a:r>
              <a:rPr lang="en-US" sz="1400" spc="-100" baseline="0">
                <a:solidFill>
                  <a:srgbClr val="FFFFFF"/>
                </a:solidFill>
                <a:latin typeface="Arial" panose="020B0604020202020204" pitchFamily="34" charset="0"/>
                <a:cs typeface="Arial" panose="020B0604020202020204" pitchFamily="34" charset="0"/>
              </a:rPr>
              <a:t>R255 G122 B133</a:t>
            </a:r>
          </a:p>
          <a:p>
            <a:pPr>
              <a:spcBef>
                <a:spcPct val="0"/>
              </a:spcBef>
              <a:buFontTx/>
              <a:buNone/>
            </a:pPr>
            <a:endParaRPr lang="en-US" sz="1400" spc="-100" baseline="0">
              <a:solidFill>
                <a:srgbClr val="FFFFFF"/>
              </a:solidFill>
              <a:latin typeface="Arial" panose="020B0604020202020204" pitchFamily="34" charset="0"/>
              <a:cs typeface="Arial" panose="020B0604020202020204" pitchFamily="34" charset="0"/>
            </a:endParaRPr>
          </a:p>
        </p:txBody>
      </p:sp>
      <p:grpSp>
        <p:nvGrpSpPr>
          <p:cNvPr id="76" name="Group 75">
            <a:extLst>
              <a:ext uri="{FF2B5EF4-FFF2-40B4-BE49-F238E27FC236}">
                <a16:creationId xmlns:a16="http://schemas.microsoft.com/office/drawing/2014/main" id="{A0DFD5F1-7ED6-7A4F-A85D-AC9239B9A9E4}"/>
              </a:ext>
            </a:extLst>
          </p:cNvPr>
          <p:cNvGrpSpPr/>
          <p:nvPr/>
        </p:nvGrpSpPr>
        <p:grpSpPr>
          <a:xfrm>
            <a:off x="-4617304" y="796253"/>
            <a:ext cx="1494303" cy="224029"/>
            <a:chOff x="5716131" y="796253"/>
            <a:chExt cx="995522" cy="224029"/>
          </a:xfrm>
        </p:grpSpPr>
        <p:sp>
          <p:nvSpPr>
            <p:cNvPr id="77" name="Rectangle 19">
              <a:extLst>
                <a:ext uri="{FF2B5EF4-FFF2-40B4-BE49-F238E27FC236}">
                  <a16:creationId xmlns:a16="http://schemas.microsoft.com/office/drawing/2014/main" id="{69707F44-6BC5-024E-87D0-3237CAF96668}"/>
                </a:ext>
              </a:extLst>
            </p:cNvPr>
            <p:cNvSpPr>
              <a:spLocks noChangeArrowheads="1"/>
            </p:cNvSpPr>
            <p:nvPr/>
          </p:nvSpPr>
          <p:spPr bwMode="auto">
            <a:xfrm>
              <a:off x="5716131" y="796253"/>
              <a:ext cx="496740" cy="224029"/>
            </a:xfrm>
            <a:prstGeom prst="rect">
              <a:avLst/>
            </a:prstGeom>
            <a:solidFill>
              <a:schemeClr val="bg1">
                <a:alpha val="25000"/>
              </a:scheme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25%</a:t>
              </a:r>
            </a:p>
          </p:txBody>
        </p:sp>
        <p:sp>
          <p:nvSpPr>
            <p:cNvPr id="78" name="Rectangle 20">
              <a:extLst>
                <a:ext uri="{FF2B5EF4-FFF2-40B4-BE49-F238E27FC236}">
                  <a16:creationId xmlns:a16="http://schemas.microsoft.com/office/drawing/2014/main" id="{D0D916EB-9F54-2F4B-BDD0-F877343549EC}"/>
                </a:ext>
              </a:extLst>
            </p:cNvPr>
            <p:cNvSpPr>
              <a:spLocks noChangeArrowheads="1"/>
            </p:cNvSpPr>
            <p:nvPr/>
          </p:nvSpPr>
          <p:spPr bwMode="auto">
            <a:xfrm>
              <a:off x="6214913" y="796253"/>
              <a:ext cx="496740" cy="224029"/>
            </a:xfrm>
            <a:prstGeom prst="rect">
              <a:avLst/>
            </a:prstGeom>
            <a:solidFill>
              <a:schemeClr val="bg1">
                <a:alpha val="75000"/>
              </a:schemeClr>
            </a:solidFill>
            <a:ln w="9525">
              <a:noFill/>
              <a:miter lim="800000"/>
              <a:headEnd/>
              <a:tailEnd/>
            </a:ln>
            <a:effectLst/>
          </p:spPr>
          <p:txBody>
            <a:bodyPr wrap="none" anchor="ctr"/>
            <a:lstStyle/>
            <a:p>
              <a:pPr algn="ctr">
                <a:spcBef>
                  <a:spcPct val="0"/>
                </a:spcBef>
                <a:buFontTx/>
                <a:buNone/>
              </a:pPr>
              <a:r>
                <a:rPr lang="en-US" sz="1200" b="1" spc="-100">
                  <a:solidFill>
                    <a:schemeClr val="bg1"/>
                  </a:solidFill>
                  <a:latin typeface="Arial" panose="020B0604020202020204" pitchFamily="34" charset="0"/>
                  <a:cs typeface="Arial" panose="020B0604020202020204" pitchFamily="34" charset="0"/>
                </a:rPr>
                <a:t>75</a:t>
              </a:r>
              <a:r>
                <a:rPr lang="en-US" sz="1200" b="1" spc="-100" baseline="0">
                  <a:solidFill>
                    <a:schemeClr val="bg1"/>
                  </a:solidFill>
                  <a:latin typeface="Arial" panose="020B0604020202020204" pitchFamily="34" charset="0"/>
                  <a:cs typeface="Arial" panose="020B0604020202020204" pitchFamily="34" charset="0"/>
                </a:rPr>
                <a:t>%</a:t>
              </a:r>
            </a:p>
          </p:txBody>
        </p:sp>
      </p:grpSp>
      <p:grpSp>
        <p:nvGrpSpPr>
          <p:cNvPr id="79" name="Group 78">
            <a:extLst>
              <a:ext uri="{FF2B5EF4-FFF2-40B4-BE49-F238E27FC236}">
                <a16:creationId xmlns:a16="http://schemas.microsoft.com/office/drawing/2014/main" id="{7E6BDFF9-62CE-8349-B945-5E4093758751}"/>
              </a:ext>
            </a:extLst>
          </p:cNvPr>
          <p:cNvGrpSpPr/>
          <p:nvPr/>
        </p:nvGrpSpPr>
        <p:grpSpPr>
          <a:xfrm>
            <a:off x="-2626840" y="1878230"/>
            <a:ext cx="1844675" cy="277791"/>
            <a:chOff x="2606261" y="3143449"/>
            <a:chExt cx="2458017" cy="277791"/>
          </a:xfrm>
        </p:grpSpPr>
        <p:sp>
          <p:nvSpPr>
            <p:cNvPr id="80" name="Rectangle 19">
              <a:extLst>
                <a:ext uri="{FF2B5EF4-FFF2-40B4-BE49-F238E27FC236}">
                  <a16:creationId xmlns:a16="http://schemas.microsoft.com/office/drawing/2014/main" id="{914B8044-F95A-A74A-BC30-F3A5C9B45BC2}"/>
                </a:ext>
              </a:extLst>
            </p:cNvPr>
            <p:cNvSpPr>
              <a:spLocks noChangeArrowheads="1"/>
            </p:cNvSpPr>
            <p:nvPr/>
          </p:nvSpPr>
          <p:spPr bwMode="auto">
            <a:xfrm>
              <a:off x="3211379" y="3143449"/>
              <a:ext cx="615945" cy="277791"/>
            </a:xfrm>
            <a:prstGeom prst="rect">
              <a:avLst/>
            </a:prstGeom>
            <a:solidFill>
              <a:schemeClr val="bg1">
                <a:alpha val="40000"/>
              </a:schemeClr>
            </a:solidFill>
            <a:ln w="9525">
              <a:noFill/>
              <a:miter lim="800000"/>
              <a:headEnd/>
              <a:tailEnd/>
            </a:ln>
            <a:effectLst/>
          </p:spPr>
          <p:txBody>
            <a:bodyPr wrap="none" anchor="ctr"/>
            <a:lstStyle/>
            <a:p>
              <a:pPr algn="ctr">
                <a:spcBef>
                  <a:spcPct val="0"/>
                </a:spcBef>
                <a:buFontTx/>
                <a:buNone/>
              </a:pPr>
              <a:r>
                <a:rPr lang="en-US" sz="1200" b="1" spc="-100">
                  <a:solidFill>
                    <a:schemeClr val="bg1"/>
                  </a:solidFill>
                  <a:latin typeface="Arial" panose="020B0604020202020204" pitchFamily="34" charset="0"/>
                  <a:cs typeface="Arial" panose="020B0604020202020204" pitchFamily="34" charset="0"/>
                </a:rPr>
                <a:t>4</a:t>
              </a:r>
              <a:r>
                <a:rPr lang="en-US" sz="1200" b="1" spc="-100" baseline="0">
                  <a:solidFill>
                    <a:schemeClr val="bg1"/>
                  </a:solidFill>
                  <a:latin typeface="Arial" panose="020B0604020202020204" pitchFamily="34" charset="0"/>
                  <a:cs typeface="Arial" panose="020B0604020202020204" pitchFamily="34" charset="0"/>
                </a:rPr>
                <a:t>0%</a:t>
              </a:r>
            </a:p>
          </p:txBody>
        </p:sp>
        <p:sp>
          <p:nvSpPr>
            <p:cNvPr id="81" name="Rectangle 20">
              <a:extLst>
                <a:ext uri="{FF2B5EF4-FFF2-40B4-BE49-F238E27FC236}">
                  <a16:creationId xmlns:a16="http://schemas.microsoft.com/office/drawing/2014/main" id="{DCFFAD6D-DAE4-824F-BF41-EE5D85829979}"/>
                </a:ext>
              </a:extLst>
            </p:cNvPr>
            <p:cNvSpPr>
              <a:spLocks noChangeArrowheads="1"/>
            </p:cNvSpPr>
            <p:nvPr/>
          </p:nvSpPr>
          <p:spPr bwMode="auto">
            <a:xfrm>
              <a:off x="3829856" y="3143449"/>
              <a:ext cx="615945" cy="277791"/>
            </a:xfrm>
            <a:prstGeom prst="rect">
              <a:avLst/>
            </a:prstGeom>
            <a:solidFill>
              <a:schemeClr val="bg1">
                <a:alpha val="60000"/>
              </a:schemeClr>
            </a:solidFill>
            <a:ln w="9525">
              <a:noFill/>
              <a:miter lim="800000"/>
              <a:headEnd/>
              <a:tailEnd/>
            </a:ln>
            <a:effectLst/>
          </p:spPr>
          <p:txBody>
            <a:bodyPr wrap="none" anchor="ctr"/>
            <a:lstStyle/>
            <a:p>
              <a:pPr algn="ctr">
                <a:spcBef>
                  <a:spcPct val="0"/>
                </a:spcBef>
                <a:buFontTx/>
                <a:buNone/>
              </a:pPr>
              <a:r>
                <a:rPr lang="en-US" sz="1200" b="1" spc="-100">
                  <a:solidFill>
                    <a:schemeClr val="bg1"/>
                  </a:solidFill>
                  <a:latin typeface="Arial" panose="020B0604020202020204" pitchFamily="34" charset="0"/>
                  <a:cs typeface="Arial" panose="020B0604020202020204" pitchFamily="34" charset="0"/>
                </a:rPr>
                <a:t>6</a:t>
              </a:r>
              <a:r>
                <a:rPr lang="en-US" sz="1200" b="1" spc="-100" baseline="0">
                  <a:solidFill>
                    <a:schemeClr val="bg1"/>
                  </a:solidFill>
                  <a:latin typeface="Arial" panose="020B0604020202020204" pitchFamily="34" charset="0"/>
                  <a:cs typeface="Arial" panose="020B0604020202020204" pitchFamily="34" charset="0"/>
                </a:rPr>
                <a:t>0%</a:t>
              </a:r>
            </a:p>
          </p:txBody>
        </p:sp>
        <p:sp>
          <p:nvSpPr>
            <p:cNvPr id="82" name="Rectangle 22">
              <a:extLst>
                <a:ext uri="{FF2B5EF4-FFF2-40B4-BE49-F238E27FC236}">
                  <a16:creationId xmlns:a16="http://schemas.microsoft.com/office/drawing/2014/main" id="{B42DD97E-811A-2B47-918D-7C0F001104F8}"/>
                </a:ext>
              </a:extLst>
            </p:cNvPr>
            <p:cNvSpPr>
              <a:spLocks noChangeArrowheads="1"/>
            </p:cNvSpPr>
            <p:nvPr/>
          </p:nvSpPr>
          <p:spPr bwMode="auto">
            <a:xfrm>
              <a:off x="4448333" y="3143449"/>
              <a:ext cx="615945" cy="277791"/>
            </a:xfrm>
            <a:prstGeom prst="rect">
              <a:avLst/>
            </a:prstGeom>
            <a:solidFill>
              <a:schemeClr val="bg1">
                <a:alpha val="80000"/>
              </a:scheme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80%</a:t>
              </a:r>
            </a:p>
          </p:txBody>
        </p:sp>
        <p:sp>
          <p:nvSpPr>
            <p:cNvPr id="83" name="Rectangle 19">
              <a:extLst>
                <a:ext uri="{FF2B5EF4-FFF2-40B4-BE49-F238E27FC236}">
                  <a16:creationId xmlns:a16="http://schemas.microsoft.com/office/drawing/2014/main" id="{3D37BE17-9C0A-E749-A606-9BC8E7CE3C80}"/>
                </a:ext>
              </a:extLst>
            </p:cNvPr>
            <p:cNvSpPr>
              <a:spLocks noChangeArrowheads="1"/>
            </p:cNvSpPr>
            <p:nvPr/>
          </p:nvSpPr>
          <p:spPr bwMode="auto">
            <a:xfrm>
              <a:off x="2606261" y="3143449"/>
              <a:ext cx="615945" cy="277791"/>
            </a:xfrm>
            <a:prstGeom prst="rect">
              <a:avLst/>
            </a:prstGeom>
            <a:solidFill>
              <a:schemeClr val="bg1">
                <a:alpha val="20000"/>
              </a:scheme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20%</a:t>
              </a:r>
            </a:p>
          </p:txBody>
        </p:sp>
      </p:grpSp>
      <p:grpSp>
        <p:nvGrpSpPr>
          <p:cNvPr id="84" name="Group 83">
            <a:extLst>
              <a:ext uri="{FF2B5EF4-FFF2-40B4-BE49-F238E27FC236}">
                <a16:creationId xmlns:a16="http://schemas.microsoft.com/office/drawing/2014/main" id="{029FDAA7-EDA4-E344-BCAC-7F6CCDECD451}"/>
              </a:ext>
            </a:extLst>
          </p:cNvPr>
          <p:cNvGrpSpPr/>
          <p:nvPr/>
        </p:nvGrpSpPr>
        <p:grpSpPr>
          <a:xfrm>
            <a:off x="-2626840" y="957107"/>
            <a:ext cx="1844675" cy="277791"/>
            <a:chOff x="2606261" y="3143449"/>
            <a:chExt cx="2458017" cy="277791"/>
          </a:xfrm>
        </p:grpSpPr>
        <p:sp>
          <p:nvSpPr>
            <p:cNvPr id="85" name="Rectangle 19">
              <a:extLst>
                <a:ext uri="{FF2B5EF4-FFF2-40B4-BE49-F238E27FC236}">
                  <a16:creationId xmlns:a16="http://schemas.microsoft.com/office/drawing/2014/main" id="{322E5F21-86AC-9847-9EAE-BB1715E938D4}"/>
                </a:ext>
              </a:extLst>
            </p:cNvPr>
            <p:cNvSpPr>
              <a:spLocks noChangeArrowheads="1"/>
            </p:cNvSpPr>
            <p:nvPr/>
          </p:nvSpPr>
          <p:spPr bwMode="auto">
            <a:xfrm>
              <a:off x="3211379" y="3143449"/>
              <a:ext cx="615945" cy="277791"/>
            </a:xfrm>
            <a:prstGeom prst="rect">
              <a:avLst/>
            </a:prstGeom>
            <a:solidFill>
              <a:schemeClr val="bg1">
                <a:alpha val="40000"/>
              </a:schemeClr>
            </a:solidFill>
            <a:ln w="9525">
              <a:noFill/>
              <a:miter lim="800000"/>
              <a:headEnd/>
              <a:tailEnd/>
            </a:ln>
            <a:effectLst/>
          </p:spPr>
          <p:txBody>
            <a:bodyPr wrap="none" anchor="ctr"/>
            <a:lstStyle/>
            <a:p>
              <a:pPr algn="ctr">
                <a:spcBef>
                  <a:spcPct val="0"/>
                </a:spcBef>
                <a:buFontTx/>
                <a:buNone/>
              </a:pPr>
              <a:r>
                <a:rPr lang="en-US" sz="1200" b="1" spc="-100">
                  <a:solidFill>
                    <a:schemeClr val="bg1"/>
                  </a:solidFill>
                  <a:latin typeface="Arial" panose="020B0604020202020204" pitchFamily="34" charset="0"/>
                  <a:cs typeface="Arial" panose="020B0604020202020204" pitchFamily="34" charset="0"/>
                </a:rPr>
                <a:t>4</a:t>
              </a:r>
              <a:r>
                <a:rPr lang="en-US" sz="1200" b="1" spc="-100" baseline="0">
                  <a:solidFill>
                    <a:schemeClr val="bg1"/>
                  </a:solidFill>
                  <a:latin typeface="Arial" panose="020B0604020202020204" pitchFamily="34" charset="0"/>
                  <a:cs typeface="Arial" panose="020B0604020202020204" pitchFamily="34" charset="0"/>
                </a:rPr>
                <a:t>0%</a:t>
              </a:r>
            </a:p>
          </p:txBody>
        </p:sp>
        <p:sp>
          <p:nvSpPr>
            <p:cNvPr id="86" name="Rectangle 20">
              <a:extLst>
                <a:ext uri="{FF2B5EF4-FFF2-40B4-BE49-F238E27FC236}">
                  <a16:creationId xmlns:a16="http://schemas.microsoft.com/office/drawing/2014/main" id="{6F019A4D-1606-E749-A834-546B40C5FC10}"/>
                </a:ext>
              </a:extLst>
            </p:cNvPr>
            <p:cNvSpPr>
              <a:spLocks noChangeArrowheads="1"/>
            </p:cNvSpPr>
            <p:nvPr/>
          </p:nvSpPr>
          <p:spPr bwMode="auto">
            <a:xfrm>
              <a:off x="3829856" y="3143449"/>
              <a:ext cx="615945" cy="277791"/>
            </a:xfrm>
            <a:prstGeom prst="rect">
              <a:avLst/>
            </a:prstGeom>
            <a:solidFill>
              <a:schemeClr val="bg1">
                <a:alpha val="60000"/>
              </a:schemeClr>
            </a:solidFill>
            <a:ln w="9525">
              <a:noFill/>
              <a:miter lim="800000"/>
              <a:headEnd/>
              <a:tailEnd/>
            </a:ln>
            <a:effectLst/>
          </p:spPr>
          <p:txBody>
            <a:bodyPr wrap="none" anchor="ctr"/>
            <a:lstStyle/>
            <a:p>
              <a:pPr algn="ctr">
                <a:spcBef>
                  <a:spcPct val="0"/>
                </a:spcBef>
                <a:buFontTx/>
                <a:buNone/>
              </a:pPr>
              <a:r>
                <a:rPr lang="en-US" sz="1200" b="1" spc="-100">
                  <a:solidFill>
                    <a:schemeClr val="bg1"/>
                  </a:solidFill>
                  <a:latin typeface="Arial" panose="020B0604020202020204" pitchFamily="34" charset="0"/>
                  <a:cs typeface="Arial" panose="020B0604020202020204" pitchFamily="34" charset="0"/>
                </a:rPr>
                <a:t>6</a:t>
              </a:r>
              <a:r>
                <a:rPr lang="en-US" sz="1200" b="1" spc="-100" baseline="0">
                  <a:solidFill>
                    <a:schemeClr val="bg1"/>
                  </a:solidFill>
                  <a:latin typeface="Arial" panose="020B0604020202020204" pitchFamily="34" charset="0"/>
                  <a:cs typeface="Arial" panose="020B0604020202020204" pitchFamily="34" charset="0"/>
                </a:rPr>
                <a:t>0%</a:t>
              </a:r>
            </a:p>
          </p:txBody>
        </p:sp>
        <p:sp>
          <p:nvSpPr>
            <p:cNvPr id="87" name="Rectangle 22">
              <a:extLst>
                <a:ext uri="{FF2B5EF4-FFF2-40B4-BE49-F238E27FC236}">
                  <a16:creationId xmlns:a16="http://schemas.microsoft.com/office/drawing/2014/main" id="{7308B2FC-69DD-954E-8980-2EC3AA1D7544}"/>
                </a:ext>
              </a:extLst>
            </p:cNvPr>
            <p:cNvSpPr>
              <a:spLocks noChangeArrowheads="1"/>
            </p:cNvSpPr>
            <p:nvPr/>
          </p:nvSpPr>
          <p:spPr bwMode="auto">
            <a:xfrm>
              <a:off x="4448333" y="3143449"/>
              <a:ext cx="615945" cy="277791"/>
            </a:xfrm>
            <a:prstGeom prst="rect">
              <a:avLst/>
            </a:prstGeom>
            <a:solidFill>
              <a:schemeClr val="bg1">
                <a:alpha val="80000"/>
              </a:scheme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80%</a:t>
              </a:r>
            </a:p>
          </p:txBody>
        </p:sp>
        <p:sp>
          <p:nvSpPr>
            <p:cNvPr id="88" name="Rectangle 19">
              <a:extLst>
                <a:ext uri="{FF2B5EF4-FFF2-40B4-BE49-F238E27FC236}">
                  <a16:creationId xmlns:a16="http://schemas.microsoft.com/office/drawing/2014/main" id="{74AC479E-3F57-E644-A3C7-97D4AB45ADFF}"/>
                </a:ext>
              </a:extLst>
            </p:cNvPr>
            <p:cNvSpPr>
              <a:spLocks noChangeArrowheads="1"/>
            </p:cNvSpPr>
            <p:nvPr/>
          </p:nvSpPr>
          <p:spPr bwMode="auto">
            <a:xfrm>
              <a:off x="2606261" y="3143449"/>
              <a:ext cx="615945" cy="277791"/>
            </a:xfrm>
            <a:prstGeom prst="rect">
              <a:avLst/>
            </a:prstGeom>
            <a:solidFill>
              <a:schemeClr val="bg1">
                <a:alpha val="20000"/>
              </a:scheme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20%</a:t>
              </a:r>
            </a:p>
          </p:txBody>
        </p:sp>
      </p:grpSp>
      <p:grpSp>
        <p:nvGrpSpPr>
          <p:cNvPr id="89" name="Group 88">
            <a:extLst>
              <a:ext uri="{FF2B5EF4-FFF2-40B4-BE49-F238E27FC236}">
                <a16:creationId xmlns:a16="http://schemas.microsoft.com/office/drawing/2014/main" id="{EE533266-6387-9B46-8624-65A0D9D79FF0}"/>
              </a:ext>
            </a:extLst>
          </p:cNvPr>
          <p:cNvGrpSpPr/>
          <p:nvPr/>
        </p:nvGrpSpPr>
        <p:grpSpPr>
          <a:xfrm>
            <a:off x="-4617304" y="1549288"/>
            <a:ext cx="1494303" cy="224029"/>
            <a:chOff x="5716131" y="796253"/>
            <a:chExt cx="995522" cy="224029"/>
          </a:xfrm>
        </p:grpSpPr>
        <p:sp>
          <p:nvSpPr>
            <p:cNvPr id="90" name="Rectangle 19">
              <a:extLst>
                <a:ext uri="{FF2B5EF4-FFF2-40B4-BE49-F238E27FC236}">
                  <a16:creationId xmlns:a16="http://schemas.microsoft.com/office/drawing/2014/main" id="{BB7C84DB-7787-A44D-865E-1BD05831D911}"/>
                </a:ext>
              </a:extLst>
            </p:cNvPr>
            <p:cNvSpPr>
              <a:spLocks noChangeArrowheads="1"/>
            </p:cNvSpPr>
            <p:nvPr/>
          </p:nvSpPr>
          <p:spPr bwMode="auto">
            <a:xfrm>
              <a:off x="5716131" y="796253"/>
              <a:ext cx="496740" cy="224029"/>
            </a:xfrm>
            <a:prstGeom prst="rect">
              <a:avLst/>
            </a:prstGeom>
            <a:solidFill>
              <a:schemeClr val="bg1">
                <a:alpha val="25000"/>
              </a:scheme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25%</a:t>
              </a:r>
            </a:p>
          </p:txBody>
        </p:sp>
        <p:sp>
          <p:nvSpPr>
            <p:cNvPr id="91" name="Rectangle 20">
              <a:extLst>
                <a:ext uri="{FF2B5EF4-FFF2-40B4-BE49-F238E27FC236}">
                  <a16:creationId xmlns:a16="http://schemas.microsoft.com/office/drawing/2014/main" id="{9A96F96C-40C9-8D49-A8DD-AB3B11C9C2C0}"/>
                </a:ext>
              </a:extLst>
            </p:cNvPr>
            <p:cNvSpPr>
              <a:spLocks noChangeArrowheads="1"/>
            </p:cNvSpPr>
            <p:nvPr/>
          </p:nvSpPr>
          <p:spPr bwMode="auto">
            <a:xfrm>
              <a:off x="6214913" y="796253"/>
              <a:ext cx="496740" cy="224029"/>
            </a:xfrm>
            <a:prstGeom prst="rect">
              <a:avLst/>
            </a:prstGeom>
            <a:solidFill>
              <a:schemeClr val="bg1">
                <a:alpha val="75000"/>
              </a:schemeClr>
            </a:solidFill>
            <a:ln w="9525">
              <a:noFill/>
              <a:miter lim="800000"/>
              <a:headEnd/>
              <a:tailEnd/>
            </a:ln>
            <a:effectLst/>
          </p:spPr>
          <p:txBody>
            <a:bodyPr wrap="none" anchor="ctr"/>
            <a:lstStyle/>
            <a:p>
              <a:pPr algn="ctr">
                <a:spcBef>
                  <a:spcPct val="0"/>
                </a:spcBef>
                <a:buFontTx/>
                <a:buNone/>
              </a:pPr>
              <a:r>
                <a:rPr lang="en-US" sz="1200" b="1" spc="-100">
                  <a:solidFill>
                    <a:schemeClr val="bg1"/>
                  </a:solidFill>
                  <a:latin typeface="Arial" panose="020B0604020202020204" pitchFamily="34" charset="0"/>
                  <a:cs typeface="Arial" panose="020B0604020202020204" pitchFamily="34" charset="0"/>
                </a:rPr>
                <a:t>75</a:t>
              </a:r>
              <a:r>
                <a:rPr lang="en-US" sz="1200" b="1" spc="-100" baseline="0">
                  <a:solidFill>
                    <a:schemeClr val="bg1"/>
                  </a:solidFill>
                  <a:latin typeface="Arial" panose="020B0604020202020204" pitchFamily="34" charset="0"/>
                  <a:cs typeface="Arial" panose="020B0604020202020204" pitchFamily="34" charset="0"/>
                </a:rPr>
                <a:t>%</a:t>
              </a:r>
            </a:p>
          </p:txBody>
        </p:sp>
      </p:grpSp>
      <p:grpSp>
        <p:nvGrpSpPr>
          <p:cNvPr id="92" name="Group 91">
            <a:extLst>
              <a:ext uri="{FF2B5EF4-FFF2-40B4-BE49-F238E27FC236}">
                <a16:creationId xmlns:a16="http://schemas.microsoft.com/office/drawing/2014/main" id="{DA26BA09-7293-5840-8B41-BA669E1DA42E}"/>
              </a:ext>
            </a:extLst>
          </p:cNvPr>
          <p:cNvGrpSpPr/>
          <p:nvPr/>
        </p:nvGrpSpPr>
        <p:grpSpPr>
          <a:xfrm>
            <a:off x="-4617304" y="2295599"/>
            <a:ext cx="1494303" cy="224029"/>
            <a:chOff x="5716131" y="796253"/>
            <a:chExt cx="995522" cy="224029"/>
          </a:xfrm>
        </p:grpSpPr>
        <p:sp>
          <p:nvSpPr>
            <p:cNvPr id="93" name="Rectangle 19">
              <a:extLst>
                <a:ext uri="{FF2B5EF4-FFF2-40B4-BE49-F238E27FC236}">
                  <a16:creationId xmlns:a16="http://schemas.microsoft.com/office/drawing/2014/main" id="{07DA5FAE-B117-1349-8D4B-5D7FCC8142A1}"/>
                </a:ext>
              </a:extLst>
            </p:cNvPr>
            <p:cNvSpPr>
              <a:spLocks noChangeArrowheads="1"/>
            </p:cNvSpPr>
            <p:nvPr/>
          </p:nvSpPr>
          <p:spPr bwMode="auto">
            <a:xfrm>
              <a:off x="5716131" y="796253"/>
              <a:ext cx="496740" cy="224029"/>
            </a:xfrm>
            <a:prstGeom prst="rect">
              <a:avLst/>
            </a:prstGeom>
            <a:solidFill>
              <a:schemeClr val="bg1">
                <a:alpha val="25000"/>
              </a:scheme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25%</a:t>
              </a:r>
            </a:p>
          </p:txBody>
        </p:sp>
        <p:sp>
          <p:nvSpPr>
            <p:cNvPr id="94" name="Rectangle 20">
              <a:extLst>
                <a:ext uri="{FF2B5EF4-FFF2-40B4-BE49-F238E27FC236}">
                  <a16:creationId xmlns:a16="http://schemas.microsoft.com/office/drawing/2014/main" id="{F8E4D5C8-28FE-3740-934F-B88CFC79C337}"/>
                </a:ext>
              </a:extLst>
            </p:cNvPr>
            <p:cNvSpPr>
              <a:spLocks noChangeArrowheads="1"/>
            </p:cNvSpPr>
            <p:nvPr/>
          </p:nvSpPr>
          <p:spPr bwMode="auto">
            <a:xfrm>
              <a:off x="6214913" y="796253"/>
              <a:ext cx="496740" cy="224029"/>
            </a:xfrm>
            <a:prstGeom prst="rect">
              <a:avLst/>
            </a:prstGeom>
            <a:solidFill>
              <a:schemeClr val="bg1">
                <a:alpha val="75000"/>
              </a:schemeClr>
            </a:solidFill>
            <a:ln w="9525">
              <a:noFill/>
              <a:miter lim="800000"/>
              <a:headEnd/>
              <a:tailEnd/>
            </a:ln>
            <a:effectLst/>
          </p:spPr>
          <p:txBody>
            <a:bodyPr wrap="none" anchor="ctr"/>
            <a:lstStyle/>
            <a:p>
              <a:pPr algn="ctr">
                <a:spcBef>
                  <a:spcPct val="0"/>
                </a:spcBef>
                <a:buFontTx/>
                <a:buNone/>
              </a:pPr>
              <a:r>
                <a:rPr lang="en-US" sz="1200" b="1" spc="-100">
                  <a:solidFill>
                    <a:schemeClr val="bg1"/>
                  </a:solidFill>
                  <a:latin typeface="Arial" panose="020B0604020202020204" pitchFamily="34" charset="0"/>
                  <a:cs typeface="Arial" panose="020B0604020202020204" pitchFamily="34" charset="0"/>
                </a:rPr>
                <a:t>75</a:t>
              </a:r>
              <a:r>
                <a:rPr lang="en-US" sz="1200" b="1" spc="-100" baseline="0">
                  <a:solidFill>
                    <a:schemeClr val="bg1"/>
                  </a:solidFill>
                  <a:latin typeface="Arial" panose="020B0604020202020204" pitchFamily="34" charset="0"/>
                  <a:cs typeface="Arial" panose="020B0604020202020204" pitchFamily="34" charset="0"/>
                </a:rPr>
                <a:t>%</a:t>
              </a:r>
            </a:p>
          </p:txBody>
        </p:sp>
      </p:grpSp>
      <p:grpSp>
        <p:nvGrpSpPr>
          <p:cNvPr id="95" name="Group 94">
            <a:extLst>
              <a:ext uri="{FF2B5EF4-FFF2-40B4-BE49-F238E27FC236}">
                <a16:creationId xmlns:a16="http://schemas.microsoft.com/office/drawing/2014/main" id="{BE60DD88-FE73-4A4E-83B0-C27EC4180A40}"/>
              </a:ext>
            </a:extLst>
          </p:cNvPr>
          <p:cNvGrpSpPr/>
          <p:nvPr/>
        </p:nvGrpSpPr>
        <p:grpSpPr>
          <a:xfrm>
            <a:off x="-4617304" y="3088976"/>
            <a:ext cx="1494303" cy="224029"/>
            <a:chOff x="5716131" y="796253"/>
            <a:chExt cx="995522" cy="224029"/>
          </a:xfrm>
        </p:grpSpPr>
        <p:sp>
          <p:nvSpPr>
            <p:cNvPr id="96" name="Rectangle 19">
              <a:extLst>
                <a:ext uri="{FF2B5EF4-FFF2-40B4-BE49-F238E27FC236}">
                  <a16:creationId xmlns:a16="http://schemas.microsoft.com/office/drawing/2014/main" id="{F65AC04E-77DF-3D4F-ABC4-331908CD1675}"/>
                </a:ext>
              </a:extLst>
            </p:cNvPr>
            <p:cNvSpPr>
              <a:spLocks noChangeArrowheads="1"/>
            </p:cNvSpPr>
            <p:nvPr/>
          </p:nvSpPr>
          <p:spPr bwMode="auto">
            <a:xfrm>
              <a:off x="5716131" y="796253"/>
              <a:ext cx="496740" cy="224029"/>
            </a:xfrm>
            <a:prstGeom prst="rect">
              <a:avLst/>
            </a:prstGeom>
            <a:solidFill>
              <a:schemeClr val="bg1">
                <a:alpha val="25000"/>
              </a:scheme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25%</a:t>
              </a:r>
            </a:p>
          </p:txBody>
        </p:sp>
        <p:sp>
          <p:nvSpPr>
            <p:cNvPr id="97" name="Rectangle 20">
              <a:extLst>
                <a:ext uri="{FF2B5EF4-FFF2-40B4-BE49-F238E27FC236}">
                  <a16:creationId xmlns:a16="http://schemas.microsoft.com/office/drawing/2014/main" id="{3A43A58E-FE1C-F241-9FCD-27CDB423B5A7}"/>
                </a:ext>
              </a:extLst>
            </p:cNvPr>
            <p:cNvSpPr>
              <a:spLocks noChangeArrowheads="1"/>
            </p:cNvSpPr>
            <p:nvPr/>
          </p:nvSpPr>
          <p:spPr bwMode="auto">
            <a:xfrm>
              <a:off x="6214913" y="796253"/>
              <a:ext cx="496740" cy="224029"/>
            </a:xfrm>
            <a:prstGeom prst="rect">
              <a:avLst/>
            </a:prstGeom>
            <a:solidFill>
              <a:schemeClr val="bg1">
                <a:alpha val="75000"/>
              </a:schemeClr>
            </a:solidFill>
            <a:ln w="9525">
              <a:noFill/>
              <a:miter lim="800000"/>
              <a:headEnd/>
              <a:tailEnd/>
            </a:ln>
            <a:effectLst/>
          </p:spPr>
          <p:txBody>
            <a:bodyPr wrap="none" anchor="ctr"/>
            <a:lstStyle/>
            <a:p>
              <a:pPr algn="ctr">
                <a:spcBef>
                  <a:spcPct val="0"/>
                </a:spcBef>
                <a:buFontTx/>
                <a:buNone/>
              </a:pPr>
              <a:r>
                <a:rPr lang="en-US" sz="1200" b="1" spc="-100">
                  <a:solidFill>
                    <a:schemeClr val="bg1"/>
                  </a:solidFill>
                  <a:latin typeface="Arial" panose="020B0604020202020204" pitchFamily="34" charset="0"/>
                  <a:cs typeface="Arial" panose="020B0604020202020204" pitchFamily="34" charset="0"/>
                </a:rPr>
                <a:t>75</a:t>
              </a:r>
              <a:r>
                <a:rPr lang="en-US" sz="1200" b="1" spc="-100" baseline="0">
                  <a:solidFill>
                    <a:schemeClr val="bg1"/>
                  </a:solidFill>
                  <a:latin typeface="Arial" panose="020B0604020202020204" pitchFamily="34" charset="0"/>
                  <a:cs typeface="Arial" panose="020B0604020202020204" pitchFamily="34" charset="0"/>
                </a:rPr>
                <a:t>%</a:t>
              </a:r>
            </a:p>
          </p:txBody>
        </p:sp>
      </p:grpSp>
      <p:grpSp>
        <p:nvGrpSpPr>
          <p:cNvPr id="98" name="Group 97">
            <a:extLst>
              <a:ext uri="{FF2B5EF4-FFF2-40B4-BE49-F238E27FC236}">
                <a16:creationId xmlns:a16="http://schemas.microsoft.com/office/drawing/2014/main" id="{85EC0C6B-BF0B-E84D-94EC-435A104A61F7}"/>
              </a:ext>
            </a:extLst>
          </p:cNvPr>
          <p:cNvGrpSpPr/>
          <p:nvPr/>
        </p:nvGrpSpPr>
        <p:grpSpPr>
          <a:xfrm>
            <a:off x="-4617304" y="3875629"/>
            <a:ext cx="1494303" cy="224029"/>
            <a:chOff x="5716131" y="796253"/>
            <a:chExt cx="995522" cy="224029"/>
          </a:xfrm>
        </p:grpSpPr>
        <p:sp>
          <p:nvSpPr>
            <p:cNvPr id="99" name="Rectangle 19">
              <a:extLst>
                <a:ext uri="{FF2B5EF4-FFF2-40B4-BE49-F238E27FC236}">
                  <a16:creationId xmlns:a16="http://schemas.microsoft.com/office/drawing/2014/main" id="{E7176F59-7B72-9148-B6EC-3D9A485B69F4}"/>
                </a:ext>
              </a:extLst>
            </p:cNvPr>
            <p:cNvSpPr>
              <a:spLocks noChangeArrowheads="1"/>
            </p:cNvSpPr>
            <p:nvPr/>
          </p:nvSpPr>
          <p:spPr bwMode="auto">
            <a:xfrm>
              <a:off x="5716131" y="796253"/>
              <a:ext cx="496740" cy="224029"/>
            </a:xfrm>
            <a:prstGeom prst="rect">
              <a:avLst/>
            </a:prstGeom>
            <a:solidFill>
              <a:schemeClr val="bg1">
                <a:alpha val="25000"/>
              </a:scheme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25%</a:t>
              </a:r>
            </a:p>
          </p:txBody>
        </p:sp>
        <p:sp>
          <p:nvSpPr>
            <p:cNvPr id="100" name="Rectangle 20">
              <a:extLst>
                <a:ext uri="{FF2B5EF4-FFF2-40B4-BE49-F238E27FC236}">
                  <a16:creationId xmlns:a16="http://schemas.microsoft.com/office/drawing/2014/main" id="{2C7F8097-BD91-F644-9F8C-937FCE32DCE9}"/>
                </a:ext>
              </a:extLst>
            </p:cNvPr>
            <p:cNvSpPr>
              <a:spLocks noChangeArrowheads="1"/>
            </p:cNvSpPr>
            <p:nvPr/>
          </p:nvSpPr>
          <p:spPr bwMode="auto">
            <a:xfrm>
              <a:off x="6214913" y="796253"/>
              <a:ext cx="496740" cy="224029"/>
            </a:xfrm>
            <a:prstGeom prst="rect">
              <a:avLst/>
            </a:prstGeom>
            <a:solidFill>
              <a:schemeClr val="bg1">
                <a:alpha val="75000"/>
              </a:schemeClr>
            </a:solidFill>
            <a:ln w="9525">
              <a:noFill/>
              <a:miter lim="800000"/>
              <a:headEnd/>
              <a:tailEnd/>
            </a:ln>
            <a:effectLst/>
          </p:spPr>
          <p:txBody>
            <a:bodyPr wrap="none" anchor="ctr"/>
            <a:lstStyle/>
            <a:p>
              <a:pPr algn="ctr">
                <a:spcBef>
                  <a:spcPct val="0"/>
                </a:spcBef>
                <a:buFontTx/>
                <a:buNone/>
              </a:pPr>
              <a:r>
                <a:rPr lang="en-US" sz="1200" b="1" spc="-100">
                  <a:solidFill>
                    <a:schemeClr val="bg1"/>
                  </a:solidFill>
                  <a:latin typeface="Arial" panose="020B0604020202020204" pitchFamily="34" charset="0"/>
                  <a:cs typeface="Arial" panose="020B0604020202020204" pitchFamily="34" charset="0"/>
                </a:rPr>
                <a:t>75</a:t>
              </a:r>
              <a:r>
                <a:rPr lang="en-US" sz="1200" b="1" spc="-100" baseline="0">
                  <a:solidFill>
                    <a:schemeClr val="bg1"/>
                  </a:solidFill>
                  <a:latin typeface="Arial" panose="020B0604020202020204" pitchFamily="34" charset="0"/>
                  <a:cs typeface="Arial" panose="020B0604020202020204" pitchFamily="34" charset="0"/>
                </a:rPr>
                <a:t>%</a:t>
              </a:r>
            </a:p>
          </p:txBody>
        </p:sp>
      </p:grpSp>
      <p:grpSp>
        <p:nvGrpSpPr>
          <p:cNvPr id="101" name="Group 100">
            <a:extLst>
              <a:ext uri="{FF2B5EF4-FFF2-40B4-BE49-F238E27FC236}">
                <a16:creationId xmlns:a16="http://schemas.microsoft.com/office/drawing/2014/main" id="{1E38DB8D-4AE7-FB41-966F-59657509D300}"/>
              </a:ext>
            </a:extLst>
          </p:cNvPr>
          <p:cNvGrpSpPr/>
          <p:nvPr/>
        </p:nvGrpSpPr>
        <p:grpSpPr>
          <a:xfrm>
            <a:off x="-4617304" y="4695900"/>
            <a:ext cx="1494303" cy="224029"/>
            <a:chOff x="5716131" y="796253"/>
            <a:chExt cx="995522" cy="224029"/>
          </a:xfrm>
        </p:grpSpPr>
        <p:sp>
          <p:nvSpPr>
            <p:cNvPr id="102" name="Rectangle 19">
              <a:extLst>
                <a:ext uri="{FF2B5EF4-FFF2-40B4-BE49-F238E27FC236}">
                  <a16:creationId xmlns:a16="http://schemas.microsoft.com/office/drawing/2014/main" id="{8E88217E-F57C-0F4D-A0DC-EAC60891AFD4}"/>
                </a:ext>
              </a:extLst>
            </p:cNvPr>
            <p:cNvSpPr>
              <a:spLocks noChangeArrowheads="1"/>
            </p:cNvSpPr>
            <p:nvPr/>
          </p:nvSpPr>
          <p:spPr bwMode="auto">
            <a:xfrm>
              <a:off x="5716131" y="796253"/>
              <a:ext cx="496740" cy="224029"/>
            </a:xfrm>
            <a:prstGeom prst="rect">
              <a:avLst/>
            </a:prstGeom>
            <a:solidFill>
              <a:schemeClr val="bg1">
                <a:alpha val="25000"/>
              </a:scheme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25%</a:t>
              </a:r>
            </a:p>
          </p:txBody>
        </p:sp>
        <p:sp>
          <p:nvSpPr>
            <p:cNvPr id="103" name="Rectangle 20">
              <a:extLst>
                <a:ext uri="{FF2B5EF4-FFF2-40B4-BE49-F238E27FC236}">
                  <a16:creationId xmlns:a16="http://schemas.microsoft.com/office/drawing/2014/main" id="{0FE0007D-5F31-E149-B0CF-AB6784C43E66}"/>
                </a:ext>
              </a:extLst>
            </p:cNvPr>
            <p:cNvSpPr>
              <a:spLocks noChangeArrowheads="1"/>
            </p:cNvSpPr>
            <p:nvPr/>
          </p:nvSpPr>
          <p:spPr bwMode="auto">
            <a:xfrm>
              <a:off x="6214913" y="796253"/>
              <a:ext cx="496740" cy="224029"/>
            </a:xfrm>
            <a:prstGeom prst="rect">
              <a:avLst/>
            </a:prstGeom>
            <a:solidFill>
              <a:schemeClr val="bg1">
                <a:alpha val="75000"/>
              </a:schemeClr>
            </a:solidFill>
            <a:ln w="9525">
              <a:noFill/>
              <a:miter lim="800000"/>
              <a:headEnd/>
              <a:tailEnd/>
            </a:ln>
            <a:effectLst/>
          </p:spPr>
          <p:txBody>
            <a:bodyPr wrap="none" anchor="ctr"/>
            <a:lstStyle/>
            <a:p>
              <a:pPr algn="ctr">
                <a:spcBef>
                  <a:spcPct val="0"/>
                </a:spcBef>
                <a:buFontTx/>
                <a:buNone/>
              </a:pPr>
              <a:r>
                <a:rPr lang="en-US" sz="1200" b="1" spc="-100">
                  <a:solidFill>
                    <a:schemeClr val="bg1"/>
                  </a:solidFill>
                  <a:latin typeface="Arial" panose="020B0604020202020204" pitchFamily="34" charset="0"/>
                  <a:cs typeface="Arial" panose="020B0604020202020204" pitchFamily="34" charset="0"/>
                </a:rPr>
                <a:t>75</a:t>
              </a:r>
              <a:r>
                <a:rPr lang="en-US" sz="1200" b="1" spc="-100" baseline="0">
                  <a:solidFill>
                    <a:schemeClr val="bg1"/>
                  </a:solidFill>
                  <a:latin typeface="Arial" panose="020B0604020202020204" pitchFamily="34" charset="0"/>
                  <a:cs typeface="Arial" panose="020B0604020202020204" pitchFamily="34" charset="0"/>
                </a:rPr>
                <a:t>%</a:t>
              </a:r>
            </a:p>
          </p:txBody>
        </p:sp>
      </p:grpSp>
      <p:grpSp>
        <p:nvGrpSpPr>
          <p:cNvPr id="104" name="Group 103">
            <a:extLst>
              <a:ext uri="{FF2B5EF4-FFF2-40B4-BE49-F238E27FC236}">
                <a16:creationId xmlns:a16="http://schemas.microsoft.com/office/drawing/2014/main" id="{5FE9AD56-297C-DB4B-A7BE-D6B0F01510E8}"/>
              </a:ext>
            </a:extLst>
          </p:cNvPr>
          <p:cNvGrpSpPr/>
          <p:nvPr/>
        </p:nvGrpSpPr>
        <p:grpSpPr>
          <a:xfrm>
            <a:off x="-4617304" y="5482553"/>
            <a:ext cx="1494303" cy="224029"/>
            <a:chOff x="5716131" y="796253"/>
            <a:chExt cx="995522" cy="224029"/>
          </a:xfrm>
        </p:grpSpPr>
        <p:sp>
          <p:nvSpPr>
            <p:cNvPr id="105" name="Rectangle 19">
              <a:extLst>
                <a:ext uri="{FF2B5EF4-FFF2-40B4-BE49-F238E27FC236}">
                  <a16:creationId xmlns:a16="http://schemas.microsoft.com/office/drawing/2014/main" id="{BAE1D5DB-96CD-7A41-AC4C-B60EE6BB7AE4}"/>
                </a:ext>
              </a:extLst>
            </p:cNvPr>
            <p:cNvSpPr>
              <a:spLocks noChangeArrowheads="1"/>
            </p:cNvSpPr>
            <p:nvPr/>
          </p:nvSpPr>
          <p:spPr bwMode="auto">
            <a:xfrm>
              <a:off x="5716131" y="796253"/>
              <a:ext cx="496740" cy="224029"/>
            </a:xfrm>
            <a:prstGeom prst="rect">
              <a:avLst/>
            </a:prstGeom>
            <a:solidFill>
              <a:schemeClr val="bg1">
                <a:alpha val="25000"/>
              </a:scheme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25%</a:t>
              </a:r>
            </a:p>
          </p:txBody>
        </p:sp>
        <p:sp>
          <p:nvSpPr>
            <p:cNvPr id="106" name="Rectangle 20">
              <a:extLst>
                <a:ext uri="{FF2B5EF4-FFF2-40B4-BE49-F238E27FC236}">
                  <a16:creationId xmlns:a16="http://schemas.microsoft.com/office/drawing/2014/main" id="{91DC9FA1-0AEE-A849-8DCF-0F227C3A707E}"/>
                </a:ext>
              </a:extLst>
            </p:cNvPr>
            <p:cNvSpPr>
              <a:spLocks noChangeArrowheads="1"/>
            </p:cNvSpPr>
            <p:nvPr/>
          </p:nvSpPr>
          <p:spPr bwMode="auto">
            <a:xfrm>
              <a:off x="6214913" y="796253"/>
              <a:ext cx="496740" cy="224029"/>
            </a:xfrm>
            <a:prstGeom prst="rect">
              <a:avLst/>
            </a:prstGeom>
            <a:solidFill>
              <a:schemeClr val="bg1">
                <a:alpha val="75000"/>
              </a:schemeClr>
            </a:solidFill>
            <a:ln w="9525">
              <a:noFill/>
              <a:miter lim="800000"/>
              <a:headEnd/>
              <a:tailEnd/>
            </a:ln>
            <a:effectLst/>
          </p:spPr>
          <p:txBody>
            <a:bodyPr wrap="none" anchor="ctr"/>
            <a:lstStyle/>
            <a:p>
              <a:pPr algn="ctr">
                <a:spcBef>
                  <a:spcPct val="0"/>
                </a:spcBef>
                <a:buFontTx/>
                <a:buNone/>
              </a:pPr>
              <a:r>
                <a:rPr lang="en-US" sz="1200" b="1" spc="-100">
                  <a:solidFill>
                    <a:schemeClr val="bg1"/>
                  </a:solidFill>
                  <a:latin typeface="Arial" panose="020B0604020202020204" pitchFamily="34" charset="0"/>
                  <a:cs typeface="Arial" panose="020B0604020202020204" pitchFamily="34" charset="0"/>
                </a:rPr>
                <a:t>75</a:t>
              </a:r>
              <a:r>
                <a:rPr lang="en-US" sz="1200" b="1" spc="-100" baseline="0">
                  <a:solidFill>
                    <a:schemeClr val="bg1"/>
                  </a:solidFill>
                  <a:latin typeface="Arial" panose="020B0604020202020204" pitchFamily="34" charset="0"/>
                  <a:cs typeface="Arial" panose="020B0604020202020204" pitchFamily="34" charset="0"/>
                </a:rPr>
                <a:t>%</a:t>
              </a:r>
            </a:p>
          </p:txBody>
        </p:sp>
      </p:grpSp>
      <p:grpSp>
        <p:nvGrpSpPr>
          <p:cNvPr id="107" name="Group 106">
            <a:extLst>
              <a:ext uri="{FF2B5EF4-FFF2-40B4-BE49-F238E27FC236}">
                <a16:creationId xmlns:a16="http://schemas.microsoft.com/office/drawing/2014/main" id="{D51248F3-2F75-594D-B53D-6D8AF82EB3EE}"/>
              </a:ext>
            </a:extLst>
          </p:cNvPr>
          <p:cNvGrpSpPr/>
          <p:nvPr/>
        </p:nvGrpSpPr>
        <p:grpSpPr>
          <a:xfrm>
            <a:off x="-4617304" y="6228865"/>
            <a:ext cx="1494303" cy="224029"/>
            <a:chOff x="5716131" y="796253"/>
            <a:chExt cx="995522" cy="224029"/>
          </a:xfrm>
        </p:grpSpPr>
        <p:sp>
          <p:nvSpPr>
            <p:cNvPr id="108" name="Rectangle 19">
              <a:extLst>
                <a:ext uri="{FF2B5EF4-FFF2-40B4-BE49-F238E27FC236}">
                  <a16:creationId xmlns:a16="http://schemas.microsoft.com/office/drawing/2014/main" id="{2C100E18-2C92-5642-871F-193C519D3709}"/>
                </a:ext>
              </a:extLst>
            </p:cNvPr>
            <p:cNvSpPr>
              <a:spLocks noChangeArrowheads="1"/>
            </p:cNvSpPr>
            <p:nvPr/>
          </p:nvSpPr>
          <p:spPr bwMode="auto">
            <a:xfrm>
              <a:off x="5716131" y="796253"/>
              <a:ext cx="496740" cy="224029"/>
            </a:xfrm>
            <a:prstGeom prst="rect">
              <a:avLst/>
            </a:prstGeom>
            <a:solidFill>
              <a:schemeClr val="bg1">
                <a:alpha val="25000"/>
              </a:scheme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25%</a:t>
              </a:r>
            </a:p>
          </p:txBody>
        </p:sp>
        <p:sp>
          <p:nvSpPr>
            <p:cNvPr id="109" name="Rectangle 20">
              <a:extLst>
                <a:ext uri="{FF2B5EF4-FFF2-40B4-BE49-F238E27FC236}">
                  <a16:creationId xmlns:a16="http://schemas.microsoft.com/office/drawing/2014/main" id="{C725273B-18AD-5547-A9A0-E5E2D55F1583}"/>
                </a:ext>
              </a:extLst>
            </p:cNvPr>
            <p:cNvSpPr>
              <a:spLocks noChangeArrowheads="1"/>
            </p:cNvSpPr>
            <p:nvPr/>
          </p:nvSpPr>
          <p:spPr bwMode="auto">
            <a:xfrm>
              <a:off x="6214913" y="796253"/>
              <a:ext cx="496740" cy="224029"/>
            </a:xfrm>
            <a:prstGeom prst="rect">
              <a:avLst/>
            </a:prstGeom>
            <a:solidFill>
              <a:schemeClr val="bg1">
                <a:alpha val="75000"/>
              </a:schemeClr>
            </a:solidFill>
            <a:ln w="9525">
              <a:noFill/>
              <a:miter lim="800000"/>
              <a:headEnd/>
              <a:tailEnd/>
            </a:ln>
            <a:effectLst/>
          </p:spPr>
          <p:txBody>
            <a:bodyPr wrap="none" anchor="ctr"/>
            <a:lstStyle/>
            <a:p>
              <a:pPr algn="ctr">
                <a:spcBef>
                  <a:spcPct val="0"/>
                </a:spcBef>
                <a:buFontTx/>
                <a:buNone/>
              </a:pPr>
              <a:r>
                <a:rPr lang="en-US" sz="1200" b="1" spc="-100">
                  <a:solidFill>
                    <a:schemeClr val="bg1"/>
                  </a:solidFill>
                  <a:latin typeface="Arial" panose="020B0604020202020204" pitchFamily="34" charset="0"/>
                  <a:cs typeface="Arial" panose="020B0604020202020204" pitchFamily="34" charset="0"/>
                </a:rPr>
                <a:t>75</a:t>
              </a:r>
              <a:r>
                <a:rPr lang="en-US" sz="1200" b="1" spc="-100" baseline="0">
                  <a:solidFill>
                    <a:schemeClr val="bg1"/>
                  </a:solidFill>
                  <a:latin typeface="Arial" panose="020B0604020202020204" pitchFamily="34" charset="0"/>
                  <a:cs typeface="Arial" panose="020B0604020202020204" pitchFamily="34" charset="0"/>
                </a:rPr>
                <a:t>%</a:t>
              </a:r>
            </a:p>
          </p:txBody>
        </p:sp>
      </p:grpSp>
      <p:pic>
        <p:nvPicPr>
          <p:cNvPr id="3" name="Graphic 2">
            <a:extLst>
              <a:ext uri="{FF2B5EF4-FFF2-40B4-BE49-F238E27FC236}">
                <a16:creationId xmlns:a16="http://schemas.microsoft.com/office/drawing/2014/main" id="{1CF833E4-0060-484E-9965-5F640274ADE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2164590" y="5400000"/>
            <a:ext cx="1828800" cy="660400"/>
          </a:xfrm>
          <a:prstGeom prst="rect">
            <a:avLst/>
          </a:prstGeom>
        </p:spPr>
      </p:pic>
      <p:pic>
        <p:nvPicPr>
          <p:cNvPr id="6" name="Graphic 5">
            <a:extLst>
              <a:ext uri="{FF2B5EF4-FFF2-40B4-BE49-F238E27FC236}">
                <a16:creationId xmlns:a16="http://schemas.microsoft.com/office/drawing/2014/main" id="{5EABF413-2674-1F41-94B7-816E8AFB8043}"/>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2164590" y="4661279"/>
            <a:ext cx="1828800" cy="660400"/>
          </a:xfrm>
          <a:prstGeom prst="rect">
            <a:avLst/>
          </a:prstGeom>
        </p:spPr>
      </p:pic>
      <p:pic>
        <p:nvPicPr>
          <p:cNvPr id="13" name="Graphic 12">
            <a:extLst>
              <a:ext uri="{FF2B5EF4-FFF2-40B4-BE49-F238E27FC236}">
                <a16:creationId xmlns:a16="http://schemas.microsoft.com/office/drawing/2014/main" id="{82AB809A-5890-BF46-A223-5F7B2A123F1A}"/>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2164590" y="3600000"/>
            <a:ext cx="635000" cy="660400"/>
          </a:xfrm>
          <a:prstGeom prst="rect">
            <a:avLst/>
          </a:prstGeom>
        </p:spPr>
      </p:pic>
      <p:pic>
        <p:nvPicPr>
          <p:cNvPr id="17" name="Graphic 16">
            <a:extLst>
              <a:ext uri="{FF2B5EF4-FFF2-40B4-BE49-F238E27FC236}">
                <a16:creationId xmlns:a16="http://schemas.microsoft.com/office/drawing/2014/main" id="{42CF3A70-9F27-F645-9FE9-CD81E473DE4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2874969" y="3600000"/>
            <a:ext cx="635000" cy="660400"/>
          </a:xfrm>
          <a:prstGeom prst="rect">
            <a:avLst/>
          </a:prstGeom>
        </p:spPr>
      </p:pic>
      <p:pic>
        <p:nvPicPr>
          <p:cNvPr id="66" name="Graphic 65">
            <a:extLst>
              <a:ext uri="{FF2B5EF4-FFF2-40B4-BE49-F238E27FC236}">
                <a16:creationId xmlns:a16="http://schemas.microsoft.com/office/drawing/2014/main" id="{431D2582-2034-5549-AD4B-D03117CF6A98}"/>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11160000" y="5792400"/>
            <a:ext cx="635000" cy="660400"/>
          </a:xfrm>
          <a:prstGeom prst="rect">
            <a:avLst/>
          </a:prstGeom>
        </p:spPr>
      </p:pic>
    </p:spTree>
    <p:extLst>
      <p:ext uri="{BB962C8B-B14F-4D97-AF65-F5344CB8AC3E}">
        <p14:creationId xmlns:p14="http://schemas.microsoft.com/office/powerpoint/2010/main" val="320005848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8" r:id="rId27"/>
    <p:sldLayoutId id="2147483689" r:id="rId28"/>
    <p:sldLayoutId id="2147483885" r:id="rId29"/>
  </p:sldLayoutIdLst>
  <p:txStyles>
    <p:titleStyle>
      <a:lvl1pPr algn="l" defTabSz="914400" rtl="0" eaLnBrk="1" latinLnBrk="0" hangingPunct="1">
        <a:spcBef>
          <a:spcPct val="0"/>
        </a:spcBef>
        <a:buNone/>
        <a:defRPr sz="4800" b="0" kern="1200" cap="none" normalizeH="0"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lnSpc>
          <a:spcPct val="100000"/>
        </a:lnSpc>
        <a:spcBef>
          <a:spcPts val="12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12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12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12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p15:clr>
            <a:srgbClr val="F26B43"/>
          </p15:clr>
        </p15:guide>
        <p15:guide id="2" pos="744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993DA5A-B75D-5947-95CC-A9040B326F73}"/>
              </a:ext>
            </a:extLst>
          </p:cNvPr>
          <p:cNvGrpSpPr/>
          <p:nvPr/>
        </p:nvGrpSpPr>
        <p:grpSpPr>
          <a:xfrm>
            <a:off x="-1979273" y="0"/>
            <a:ext cx="1780573" cy="3386798"/>
            <a:chOff x="-1979273" y="0"/>
            <a:chExt cx="1780573" cy="3386798"/>
          </a:xfrm>
        </p:grpSpPr>
        <p:sp>
          <p:nvSpPr>
            <p:cNvPr id="3" name="Rectangle 7">
              <a:extLst>
                <a:ext uri="{FF2B5EF4-FFF2-40B4-BE49-F238E27FC236}">
                  <a16:creationId xmlns:a16="http://schemas.microsoft.com/office/drawing/2014/main" id="{96461F64-0553-2844-8572-34772FBEA421}"/>
                </a:ext>
              </a:extLst>
            </p:cNvPr>
            <p:cNvSpPr>
              <a:spLocks noChangeArrowheads="1"/>
            </p:cNvSpPr>
            <p:nvPr userDrawn="1"/>
          </p:nvSpPr>
          <p:spPr bwMode="auto">
            <a:xfrm>
              <a:off x="-1722700" y="0"/>
              <a:ext cx="1524000" cy="914400"/>
            </a:xfrm>
            <a:prstGeom prst="rect">
              <a:avLst/>
            </a:prstGeom>
            <a:solidFill>
              <a:srgbClr val="D31145"/>
            </a:solidFill>
            <a:ln w="9525">
              <a:noFill/>
              <a:miter lim="800000"/>
              <a:headEnd/>
              <a:tailEnd/>
            </a:ln>
            <a:effectLst/>
          </p:spPr>
          <p:txBody>
            <a:bodyPr wrap="none" anchor="ctr"/>
            <a:lstStyle/>
            <a:p>
              <a:pPr>
                <a:spcBef>
                  <a:spcPct val="0"/>
                </a:spcBef>
                <a:buFontTx/>
                <a:buNone/>
              </a:pPr>
              <a:r>
                <a:rPr lang="en-US" sz="1050" b="1" spc="-75" baseline="0">
                  <a:solidFill>
                    <a:srgbClr val="FFFFFF"/>
                  </a:solidFill>
                  <a:latin typeface="Arial" panose="020B0604020202020204" pitchFamily="34" charset="0"/>
                  <a:cs typeface="Arial" panose="020B0604020202020204" pitchFamily="34" charset="0"/>
                </a:rPr>
                <a:t>AIA RED</a:t>
              </a:r>
            </a:p>
            <a:p>
              <a:pPr>
                <a:spcBef>
                  <a:spcPct val="0"/>
                </a:spcBef>
                <a:buFontTx/>
                <a:buNone/>
              </a:pPr>
              <a:r>
                <a:rPr lang="en-US" sz="1050" spc="-75" baseline="0">
                  <a:solidFill>
                    <a:srgbClr val="FFFFFF"/>
                  </a:solidFill>
                  <a:latin typeface="Arial" panose="020B0604020202020204" pitchFamily="34" charset="0"/>
                  <a:cs typeface="Arial" panose="020B0604020202020204" pitchFamily="34" charset="0"/>
                </a:rPr>
                <a:t>R211 G17 B69</a:t>
              </a:r>
            </a:p>
          </p:txBody>
        </p:sp>
        <p:grpSp>
          <p:nvGrpSpPr>
            <p:cNvPr id="4" name="Group 3">
              <a:extLst>
                <a:ext uri="{FF2B5EF4-FFF2-40B4-BE49-F238E27FC236}">
                  <a16:creationId xmlns:a16="http://schemas.microsoft.com/office/drawing/2014/main" id="{FCEBEF16-F6E0-5747-83BE-86A33CAAB091}"/>
                </a:ext>
              </a:extLst>
            </p:cNvPr>
            <p:cNvGrpSpPr/>
            <p:nvPr userDrawn="1"/>
          </p:nvGrpSpPr>
          <p:grpSpPr>
            <a:xfrm>
              <a:off x="-1722700" y="990600"/>
              <a:ext cx="1524000" cy="2381247"/>
              <a:chOff x="-1676400" y="685800"/>
              <a:chExt cx="1524000" cy="2285999"/>
            </a:xfrm>
          </p:grpSpPr>
          <p:sp>
            <p:nvSpPr>
              <p:cNvPr id="6" name="Rectangle 9">
                <a:extLst>
                  <a:ext uri="{FF2B5EF4-FFF2-40B4-BE49-F238E27FC236}">
                    <a16:creationId xmlns:a16="http://schemas.microsoft.com/office/drawing/2014/main" id="{1962D269-DB81-1640-8498-C629D201D338}"/>
                  </a:ext>
                </a:extLst>
              </p:cNvPr>
              <p:cNvSpPr>
                <a:spLocks noChangeArrowheads="1"/>
              </p:cNvSpPr>
              <p:nvPr userDrawn="1"/>
            </p:nvSpPr>
            <p:spPr bwMode="auto">
              <a:xfrm>
                <a:off x="-1676400" y="685800"/>
                <a:ext cx="1524000" cy="457200"/>
              </a:xfrm>
              <a:prstGeom prst="rect">
                <a:avLst/>
              </a:prstGeom>
              <a:solidFill>
                <a:srgbClr val="000000"/>
              </a:solidFill>
              <a:ln w="9525">
                <a:noFill/>
                <a:miter lim="800000"/>
                <a:headEnd/>
                <a:tailEnd/>
              </a:ln>
              <a:effectLst/>
            </p:spPr>
            <p:txBody>
              <a:bodyPr wrap="none" anchor="ctr"/>
              <a:lstStyle/>
              <a:p>
                <a:pPr>
                  <a:spcBef>
                    <a:spcPct val="0"/>
                  </a:spcBef>
                  <a:buFontTx/>
                  <a:buNone/>
                </a:pPr>
                <a:r>
                  <a:rPr lang="en-US" sz="1050" b="1" spc="-75" baseline="0">
                    <a:solidFill>
                      <a:srgbClr val="FFFFFF"/>
                    </a:solidFill>
                    <a:latin typeface="Arial" panose="020B0604020202020204" pitchFamily="34" charset="0"/>
                    <a:cs typeface="Arial" panose="020B0604020202020204" pitchFamily="34" charset="0"/>
                  </a:rPr>
                  <a:t>AIA BLACK</a:t>
                </a:r>
              </a:p>
              <a:p>
                <a:pPr>
                  <a:spcBef>
                    <a:spcPct val="0"/>
                  </a:spcBef>
                  <a:buFontTx/>
                  <a:buNone/>
                </a:pPr>
                <a:r>
                  <a:rPr lang="en-US" sz="1050" spc="-75" baseline="0">
                    <a:solidFill>
                      <a:srgbClr val="FFFFFF"/>
                    </a:solidFill>
                    <a:latin typeface="Arial" panose="020B0604020202020204" pitchFamily="34" charset="0"/>
                    <a:cs typeface="Arial" panose="020B0604020202020204" pitchFamily="34" charset="0"/>
                  </a:rPr>
                  <a:t>R0 G0 B0</a:t>
                </a:r>
              </a:p>
            </p:txBody>
          </p:sp>
          <p:sp>
            <p:nvSpPr>
              <p:cNvPr id="7" name="Rectangle 9">
                <a:extLst>
                  <a:ext uri="{FF2B5EF4-FFF2-40B4-BE49-F238E27FC236}">
                    <a16:creationId xmlns:a16="http://schemas.microsoft.com/office/drawing/2014/main" id="{153B1556-2EA7-6443-B7D1-1440655578B8}"/>
                  </a:ext>
                </a:extLst>
              </p:cNvPr>
              <p:cNvSpPr>
                <a:spLocks noChangeArrowheads="1"/>
              </p:cNvSpPr>
              <p:nvPr userDrawn="1"/>
            </p:nvSpPr>
            <p:spPr bwMode="auto">
              <a:xfrm>
                <a:off x="-1676400" y="1143000"/>
                <a:ext cx="1524000" cy="457200"/>
              </a:xfrm>
              <a:prstGeom prst="rect">
                <a:avLst/>
              </a:prstGeom>
              <a:solidFill>
                <a:srgbClr val="464749"/>
              </a:solidFill>
              <a:ln w="9525">
                <a:noFill/>
                <a:miter lim="800000"/>
                <a:headEnd/>
                <a:tailEnd/>
              </a:ln>
              <a:effectLst/>
            </p:spPr>
            <p:txBody>
              <a:bodyPr wrap="none" anchor="ctr"/>
              <a:lstStyle/>
              <a:p>
                <a:pPr>
                  <a:spcBef>
                    <a:spcPct val="0"/>
                  </a:spcBef>
                  <a:buFontTx/>
                  <a:buNone/>
                </a:pPr>
                <a:r>
                  <a:rPr lang="en-US" sz="1050" b="1" spc="-75" baseline="0">
                    <a:solidFill>
                      <a:srgbClr val="FFFFFF"/>
                    </a:solidFill>
                    <a:latin typeface="Arial" panose="020B0604020202020204" pitchFamily="34" charset="0"/>
                    <a:cs typeface="Arial" panose="020B0604020202020204" pitchFamily="34" charset="0"/>
                  </a:rPr>
                  <a:t>AIA K80 GREY</a:t>
                </a:r>
              </a:p>
              <a:p>
                <a:pPr>
                  <a:spcBef>
                    <a:spcPct val="0"/>
                  </a:spcBef>
                  <a:buFontTx/>
                  <a:buNone/>
                </a:pPr>
                <a:r>
                  <a:rPr lang="en-US" sz="1050" spc="-75" baseline="0">
                    <a:solidFill>
                      <a:srgbClr val="FFFFFF"/>
                    </a:solidFill>
                    <a:latin typeface="Arial" panose="020B0604020202020204" pitchFamily="34" charset="0"/>
                    <a:cs typeface="Arial" panose="020B0604020202020204" pitchFamily="34" charset="0"/>
                  </a:rPr>
                  <a:t>R88 G88 B88</a:t>
                </a:r>
              </a:p>
            </p:txBody>
          </p:sp>
          <p:sp>
            <p:nvSpPr>
              <p:cNvPr id="8" name="Rectangle 9">
                <a:extLst>
                  <a:ext uri="{FF2B5EF4-FFF2-40B4-BE49-F238E27FC236}">
                    <a16:creationId xmlns:a16="http://schemas.microsoft.com/office/drawing/2014/main" id="{93D5D3B0-07E3-4C4A-A54A-0E84481D1FD5}"/>
                  </a:ext>
                </a:extLst>
              </p:cNvPr>
              <p:cNvSpPr>
                <a:spLocks noChangeArrowheads="1"/>
              </p:cNvSpPr>
              <p:nvPr userDrawn="1"/>
            </p:nvSpPr>
            <p:spPr bwMode="auto">
              <a:xfrm>
                <a:off x="-1676400" y="1600200"/>
                <a:ext cx="1524000" cy="457200"/>
              </a:xfrm>
              <a:prstGeom prst="rect">
                <a:avLst/>
              </a:prstGeom>
              <a:solidFill>
                <a:srgbClr val="878787"/>
              </a:solidFill>
              <a:ln w="9525">
                <a:noFill/>
                <a:miter lim="800000"/>
                <a:headEnd/>
                <a:tailEnd/>
              </a:ln>
              <a:effectLst/>
            </p:spPr>
            <p:txBody>
              <a:bodyPr wrap="none" anchor="ctr"/>
              <a:lstStyle/>
              <a:p>
                <a:pPr>
                  <a:spcBef>
                    <a:spcPct val="0"/>
                  </a:spcBef>
                  <a:buFontTx/>
                  <a:buNone/>
                </a:pPr>
                <a:r>
                  <a:rPr lang="en-US" sz="1050" b="1" spc="-75" baseline="0">
                    <a:solidFill>
                      <a:srgbClr val="FFFFFF"/>
                    </a:solidFill>
                    <a:latin typeface="Arial" panose="020B0604020202020204" pitchFamily="34" charset="0"/>
                    <a:cs typeface="Arial" panose="020B0604020202020204" pitchFamily="34" charset="0"/>
                  </a:rPr>
                  <a:t>AIA K60 GREY</a:t>
                </a:r>
              </a:p>
              <a:p>
                <a:pPr>
                  <a:spcBef>
                    <a:spcPct val="0"/>
                  </a:spcBef>
                  <a:buFontTx/>
                  <a:buNone/>
                </a:pPr>
                <a:r>
                  <a:rPr lang="en-US" sz="1050" spc="-75" baseline="0">
                    <a:solidFill>
                      <a:srgbClr val="FFFFFF"/>
                    </a:solidFill>
                    <a:latin typeface="Arial" panose="020B0604020202020204" pitchFamily="34" charset="0"/>
                    <a:cs typeface="Arial" panose="020B0604020202020204" pitchFamily="34" charset="0"/>
                  </a:rPr>
                  <a:t>R135 G135 B135</a:t>
                </a:r>
              </a:p>
            </p:txBody>
          </p:sp>
          <p:sp>
            <p:nvSpPr>
              <p:cNvPr id="9" name="Rectangle 9">
                <a:extLst>
                  <a:ext uri="{FF2B5EF4-FFF2-40B4-BE49-F238E27FC236}">
                    <a16:creationId xmlns:a16="http://schemas.microsoft.com/office/drawing/2014/main" id="{238E0E97-51CD-044A-9AD6-228657A5BB74}"/>
                  </a:ext>
                </a:extLst>
              </p:cNvPr>
              <p:cNvSpPr>
                <a:spLocks noChangeArrowheads="1"/>
              </p:cNvSpPr>
              <p:nvPr userDrawn="1"/>
            </p:nvSpPr>
            <p:spPr bwMode="auto">
              <a:xfrm>
                <a:off x="-1676400" y="2057400"/>
                <a:ext cx="1524000" cy="457200"/>
              </a:xfrm>
              <a:prstGeom prst="rect">
                <a:avLst/>
              </a:prstGeom>
              <a:solidFill>
                <a:srgbClr val="B4B4B4"/>
              </a:solidFill>
              <a:ln w="9525">
                <a:noFill/>
                <a:miter lim="800000"/>
                <a:headEnd/>
                <a:tailEnd/>
              </a:ln>
              <a:effectLst/>
            </p:spPr>
            <p:txBody>
              <a:bodyPr wrap="none" anchor="ctr"/>
              <a:lstStyle/>
              <a:p>
                <a:pPr>
                  <a:spcBef>
                    <a:spcPct val="0"/>
                  </a:spcBef>
                  <a:buFontTx/>
                  <a:buNone/>
                </a:pPr>
                <a:r>
                  <a:rPr lang="en-US" sz="1050" b="1" spc="-75" baseline="0">
                    <a:solidFill>
                      <a:srgbClr val="FFFFFF"/>
                    </a:solidFill>
                    <a:latin typeface="Arial" panose="020B0604020202020204" pitchFamily="34" charset="0"/>
                    <a:cs typeface="Arial" panose="020B0604020202020204" pitchFamily="34" charset="0"/>
                  </a:rPr>
                  <a:t>AIA K40 GREY</a:t>
                </a:r>
              </a:p>
              <a:p>
                <a:pPr>
                  <a:spcBef>
                    <a:spcPct val="0"/>
                  </a:spcBef>
                  <a:buFontTx/>
                  <a:buNone/>
                </a:pPr>
                <a:r>
                  <a:rPr lang="en-US" sz="1050" spc="-75" baseline="0">
                    <a:solidFill>
                      <a:srgbClr val="FFFFFF"/>
                    </a:solidFill>
                    <a:latin typeface="Arial" panose="020B0604020202020204" pitchFamily="34" charset="0"/>
                    <a:cs typeface="Arial" panose="020B0604020202020204" pitchFamily="34" charset="0"/>
                  </a:rPr>
                  <a:t>R180 G180 B180</a:t>
                </a:r>
              </a:p>
            </p:txBody>
          </p:sp>
          <p:sp>
            <p:nvSpPr>
              <p:cNvPr id="10" name="Rectangle 9">
                <a:extLst>
                  <a:ext uri="{FF2B5EF4-FFF2-40B4-BE49-F238E27FC236}">
                    <a16:creationId xmlns:a16="http://schemas.microsoft.com/office/drawing/2014/main" id="{B7563E8C-D255-EF47-AD1C-CD734ACE1C76}"/>
                  </a:ext>
                </a:extLst>
              </p:cNvPr>
              <p:cNvSpPr>
                <a:spLocks noChangeArrowheads="1"/>
              </p:cNvSpPr>
              <p:nvPr userDrawn="1"/>
            </p:nvSpPr>
            <p:spPr bwMode="auto">
              <a:xfrm>
                <a:off x="-1676400" y="2514599"/>
                <a:ext cx="1524000" cy="457200"/>
              </a:xfrm>
              <a:prstGeom prst="rect">
                <a:avLst/>
              </a:prstGeom>
              <a:solidFill>
                <a:srgbClr val="DADADA"/>
              </a:solidFill>
              <a:ln w="9525">
                <a:noFill/>
                <a:miter lim="800000"/>
                <a:headEnd/>
                <a:tailEnd/>
              </a:ln>
              <a:effectLst/>
            </p:spPr>
            <p:txBody>
              <a:bodyPr wrap="none" anchor="ctr"/>
              <a:lstStyle/>
              <a:p>
                <a:pPr>
                  <a:spcBef>
                    <a:spcPct val="0"/>
                  </a:spcBef>
                  <a:buFontTx/>
                  <a:buNone/>
                </a:pPr>
                <a:r>
                  <a:rPr lang="en-US" sz="1050" b="1" spc="-75" baseline="0">
                    <a:solidFill>
                      <a:srgbClr val="585858"/>
                    </a:solidFill>
                    <a:latin typeface="Arial" panose="020B0604020202020204" pitchFamily="34" charset="0"/>
                    <a:cs typeface="Arial" panose="020B0604020202020204" pitchFamily="34" charset="0"/>
                  </a:rPr>
                  <a:t>AIA K20 GREY</a:t>
                </a:r>
              </a:p>
              <a:p>
                <a:pPr>
                  <a:spcBef>
                    <a:spcPct val="0"/>
                  </a:spcBef>
                  <a:buFontTx/>
                  <a:buNone/>
                </a:pPr>
                <a:r>
                  <a:rPr lang="en-US" sz="1050" spc="-75" baseline="0">
                    <a:solidFill>
                      <a:srgbClr val="FFFFFF"/>
                    </a:solidFill>
                    <a:latin typeface="Arial" panose="020B0604020202020204" pitchFamily="34" charset="0"/>
                    <a:cs typeface="Arial" panose="020B0604020202020204" pitchFamily="34" charset="0"/>
                  </a:rPr>
                  <a:t>R218 G218 B218</a:t>
                </a:r>
              </a:p>
            </p:txBody>
          </p:sp>
        </p:grpSp>
        <p:sp>
          <p:nvSpPr>
            <p:cNvPr id="5" name="TextBox 4">
              <a:extLst>
                <a:ext uri="{FF2B5EF4-FFF2-40B4-BE49-F238E27FC236}">
                  <a16:creationId xmlns:a16="http://schemas.microsoft.com/office/drawing/2014/main" id="{2B237582-8291-8A4B-B38B-582CEC8C15A3}"/>
                </a:ext>
              </a:extLst>
            </p:cNvPr>
            <p:cNvSpPr txBox="1"/>
            <p:nvPr userDrawn="1"/>
          </p:nvSpPr>
          <p:spPr>
            <a:xfrm>
              <a:off x="-1979273" y="1"/>
              <a:ext cx="256573" cy="3386797"/>
            </a:xfrm>
            <a:prstGeom prst="rect">
              <a:avLst/>
            </a:prstGeom>
            <a:noFill/>
          </p:spPr>
          <p:txBody>
            <a:bodyPr vert="vert270" wrap="square" lIns="0" tIns="0" rIns="0" bIns="0" rtlCol="0">
              <a:noAutofit/>
            </a:bodyPr>
            <a:lstStyle/>
            <a:p>
              <a:pPr algn="r">
                <a:lnSpc>
                  <a:spcPct val="80000"/>
                </a:lnSpc>
              </a:pPr>
              <a:r>
                <a:rPr lang="en-US" sz="1350" b="1" i="0">
                  <a:solidFill>
                    <a:srgbClr val="585858"/>
                  </a:solidFill>
                  <a:latin typeface="Arial" panose="020B0604020202020204" pitchFamily="34" charset="0"/>
                  <a:cs typeface="Arial" panose="020B0604020202020204" pitchFamily="34" charset="0"/>
                </a:rPr>
                <a:t>CORE COLOURS</a:t>
              </a:r>
            </a:p>
          </p:txBody>
        </p:sp>
      </p:grpSp>
      <p:grpSp>
        <p:nvGrpSpPr>
          <p:cNvPr id="90" name="Group 89">
            <a:extLst>
              <a:ext uri="{FF2B5EF4-FFF2-40B4-BE49-F238E27FC236}">
                <a16:creationId xmlns:a16="http://schemas.microsoft.com/office/drawing/2014/main" id="{E42899CD-9C97-F545-BE35-570273635CAF}"/>
              </a:ext>
            </a:extLst>
          </p:cNvPr>
          <p:cNvGrpSpPr/>
          <p:nvPr/>
        </p:nvGrpSpPr>
        <p:grpSpPr>
          <a:xfrm>
            <a:off x="-5767740" y="0"/>
            <a:ext cx="3465264" cy="3943349"/>
            <a:chOff x="-5767740" y="0"/>
            <a:chExt cx="3465264" cy="3943349"/>
          </a:xfrm>
        </p:grpSpPr>
        <p:grpSp>
          <p:nvGrpSpPr>
            <p:cNvPr id="54" name="Group 53">
              <a:extLst>
                <a:ext uri="{FF2B5EF4-FFF2-40B4-BE49-F238E27FC236}">
                  <a16:creationId xmlns:a16="http://schemas.microsoft.com/office/drawing/2014/main" id="{92887F9A-77C1-914C-82AF-DD8E5A120D5D}"/>
                </a:ext>
              </a:extLst>
            </p:cNvPr>
            <p:cNvGrpSpPr/>
            <p:nvPr userDrawn="1"/>
          </p:nvGrpSpPr>
          <p:grpSpPr>
            <a:xfrm>
              <a:off x="-5490741" y="0"/>
              <a:ext cx="1548000" cy="914399"/>
              <a:chOff x="-5490741" y="0"/>
              <a:chExt cx="1548000" cy="914399"/>
            </a:xfrm>
          </p:grpSpPr>
          <p:sp>
            <p:nvSpPr>
              <p:cNvPr id="49" name="Rectangle 18">
                <a:extLst>
                  <a:ext uri="{FF2B5EF4-FFF2-40B4-BE49-F238E27FC236}">
                    <a16:creationId xmlns:a16="http://schemas.microsoft.com/office/drawing/2014/main" id="{70E5D9A3-0CAD-8346-9CD9-6E702973848B}"/>
                  </a:ext>
                </a:extLst>
              </p:cNvPr>
              <p:cNvSpPr>
                <a:spLocks noChangeArrowheads="1"/>
              </p:cNvSpPr>
              <p:nvPr userDrawn="1"/>
            </p:nvSpPr>
            <p:spPr bwMode="auto">
              <a:xfrm>
                <a:off x="-5490741" y="0"/>
                <a:ext cx="1548000" cy="636608"/>
              </a:xfrm>
              <a:prstGeom prst="rect">
                <a:avLst/>
              </a:prstGeom>
              <a:solidFill>
                <a:srgbClr val="87027B"/>
              </a:solidFill>
              <a:ln w="9525">
                <a:noFill/>
                <a:miter lim="800000"/>
                <a:headEnd/>
                <a:tailEnd/>
              </a:ln>
              <a:effectLst/>
            </p:spPr>
            <p:txBody>
              <a:bodyPr wrap="none" anchor="ctr"/>
              <a:lstStyle/>
              <a:p>
                <a:pPr>
                  <a:spcBef>
                    <a:spcPct val="0"/>
                  </a:spcBef>
                  <a:buFontTx/>
                  <a:buNone/>
                </a:pPr>
                <a:r>
                  <a:rPr lang="en-US" sz="1050" b="1" i="0" spc="-75" baseline="0">
                    <a:solidFill>
                      <a:schemeClr val="bg1"/>
                    </a:solidFill>
                    <a:latin typeface="Arial" panose="020B0604020202020204" pitchFamily="34" charset="0"/>
                    <a:cs typeface="Arial" panose="020B0604020202020204" pitchFamily="34" charset="0"/>
                  </a:rPr>
                  <a:t>AIA PURPLE</a:t>
                </a:r>
              </a:p>
              <a:p>
                <a:pPr>
                  <a:spcBef>
                    <a:spcPct val="0"/>
                  </a:spcBef>
                  <a:buFontTx/>
                  <a:buNone/>
                </a:pPr>
                <a:r>
                  <a:rPr lang="en-US" sz="1050" spc="-75" baseline="0">
                    <a:solidFill>
                      <a:schemeClr val="bg1"/>
                    </a:solidFill>
                    <a:latin typeface="Arial" panose="020B0604020202020204" pitchFamily="34" charset="0"/>
                    <a:cs typeface="Arial" panose="020B0604020202020204" pitchFamily="34" charset="0"/>
                  </a:rPr>
                  <a:t>R248 G152 B32</a:t>
                </a:r>
              </a:p>
            </p:txBody>
          </p:sp>
          <p:sp>
            <p:nvSpPr>
              <p:cNvPr id="50" name="Rectangle 19">
                <a:extLst>
                  <a:ext uri="{FF2B5EF4-FFF2-40B4-BE49-F238E27FC236}">
                    <a16:creationId xmlns:a16="http://schemas.microsoft.com/office/drawing/2014/main" id="{0C7471DA-BFA1-1641-84A8-D6943608393B}"/>
                  </a:ext>
                </a:extLst>
              </p:cNvPr>
              <p:cNvSpPr>
                <a:spLocks noChangeArrowheads="1"/>
              </p:cNvSpPr>
              <p:nvPr userDrawn="1"/>
            </p:nvSpPr>
            <p:spPr bwMode="auto">
              <a:xfrm>
                <a:off x="-5490741" y="636608"/>
                <a:ext cx="514590" cy="277791"/>
              </a:xfrm>
              <a:prstGeom prst="rect">
                <a:avLst/>
              </a:prstGeom>
              <a:solidFill>
                <a:srgbClr val="87027B">
                  <a:alpha val="2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20%</a:t>
                </a:r>
              </a:p>
            </p:txBody>
          </p:sp>
          <p:sp>
            <p:nvSpPr>
              <p:cNvPr id="51" name="Rectangle 20">
                <a:extLst>
                  <a:ext uri="{FF2B5EF4-FFF2-40B4-BE49-F238E27FC236}">
                    <a16:creationId xmlns:a16="http://schemas.microsoft.com/office/drawing/2014/main" id="{64D947EE-A141-6F4B-81A0-DA23A84EC812}"/>
                  </a:ext>
                </a:extLst>
              </p:cNvPr>
              <p:cNvSpPr>
                <a:spLocks noChangeArrowheads="1"/>
              </p:cNvSpPr>
              <p:nvPr userDrawn="1"/>
            </p:nvSpPr>
            <p:spPr bwMode="auto">
              <a:xfrm>
                <a:off x="-4974036" y="636608"/>
                <a:ext cx="514590" cy="277791"/>
              </a:xfrm>
              <a:prstGeom prst="rect">
                <a:avLst/>
              </a:prstGeom>
              <a:solidFill>
                <a:srgbClr val="87027B">
                  <a:alpha val="5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50%</a:t>
                </a:r>
              </a:p>
            </p:txBody>
          </p:sp>
          <p:sp>
            <p:nvSpPr>
              <p:cNvPr id="53" name="Rectangle 22">
                <a:extLst>
                  <a:ext uri="{FF2B5EF4-FFF2-40B4-BE49-F238E27FC236}">
                    <a16:creationId xmlns:a16="http://schemas.microsoft.com/office/drawing/2014/main" id="{866D182C-1961-4645-BDF5-4D0D594BE9B7}"/>
                  </a:ext>
                </a:extLst>
              </p:cNvPr>
              <p:cNvSpPr>
                <a:spLocks noChangeArrowheads="1"/>
              </p:cNvSpPr>
              <p:nvPr userDrawn="1"/>
            </p:nvSpPr>
            <p:spPr bwMode="auto">
              <a:xfrm>
                <a:off x="-4457331" y="636608"/>
                <a:ext cx="514590" cy="277791"/>
              </a:xfrm>
              <a:prstGeom prst="rect">
                <a:avLst/>
              </a:prstGeom>
              <a:solidFill>
                <a:srgbClr val="87027B">
                  <a:alpha val="8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80%</a:t>
                </a:r>
              </a:p>
            </p:txBody>
          </p:sp>
        </p:grpSp>
        <p:sp>
          <p:nvSpPr>
            <p:cNvPr id="13" name="TextBox 12">
              <a:extLst>
                <a:ext uri="{FF2B5EF4-FFF2-40B4-BE49-F238E27FC236}">
                  <a16:creationId xmlns:a16="http://schemas.microsoft.com/office/drawing/2014/main" id="{6FD917D9-6011-1C43-8E0A-CC42D9642373}"/>
                </a:ext>
              </a:extLst>
            </p:cNvPr>
            <p:cNvSpPr txBox="1"/>
            <p:nvPr userDrawn="1"/>
          </p:nvSpPr>
          <p:spPr>
            <a:xfrm rot="16200000">
              <a:off x="-7069565" y="1316777"/>
              <a:ext cx="2880647" cy="276997"/>
            </a:xfrm>
            <a:prstGeom prst="rect">
              <a:avLst/>
            </a:prstGeom>
            <a:noFill/>
          </p:spPr>
          <p:txBody>
            <a:bodyPr wrap="square" lIns="0" tIns="0" rIns="0" bIns="0" rtlCol="0">
              <a:noAutofit/>
            </a:bodyPr>
            <a:lstStyle/>
            <a:p>
              <a:pPr algn="r">
                <a:lnSpc>
                  <a:spcPct val="80000"/>
                </a:lnSpc>
              </a:pPr>
              <a:r>
                <a:rPr lang="en-US" sz="1350" b="1" i="0">
                  <a:solidFill>
                    <a:srgbClr val="585858"/>
                  </a:solidFill>
                  <a:latin typeface="Arial" panose="020B0604020202020204" pitchFamily="34" charset="0"/>
                  <a:cs typeface="Arial" panose="020B0604020202020204" pitchFamily="34" charset="0"/>
                </a:rPr>
                <a:t>SUPPORTING COLOURS</a:t>
              </a:r>
            </a:p>
          </p:txBody>
        </p:sp>
        <p:grpSp>
          <p:nvGrpSpPr>
            <p:cNvPr id="55" name="Group 54">
              <a:extLst>
                <a:ext uri="{FF2B5EF4-FFF2-40B4-BE49-F238E27FC236}">
                  <a16:creationId xmlns:a16="http://schemas.microsoft.com/office/drawing/2014/main" id="{AF52DC75-0BA4-4144-99DC-9E542AC0392D}"/>
                </a:ext>
              </a:extLst>
            </p:cNvPr>
            <p:cNvGrpSpPr/>
            <p:nvPr userDrawn="1"/>
          </p:nvGrpSpPr>
          <p:grpSpPr>
            <a:xfrm>
              <a:off x="-5490741" y="1009650"/>
              <a:ext cx="1548000" cy="914399"/>
              <a:chOff x="-5490741" y="0"/>
              <a:chExt cx="1548000" cy="914399"/>
            </a:xfrm>
          </p:grpSpPr>
          <p:sp>
            <p:nvSpPr>
              <p:cNvPr id="56" name="Rectangle 18">
                <a:extLst>
                  <a:ext uri="{FF2B5EF4-FFF2-40B4-BE49-F238E27FC236}">
                    <a16:creationId xmlns:a16="http://schemas.microsoft.com/office/drawing/2014/main" id="{00FA6FED-122F-4043-B135-5F0F253B449E}"/>
                  </a:ext>
                </a:extLst>
              </p:cNvPr>
              <p:cNvSpPr>
                <a:spLocks noChangeArrowheads="1"/>
              </p:cNvSpPr>
              <p:nvPr userDrawn="1"/>
            </p:nvSpPr>
            <p:spPr bwMode="auto">
              <a:xfrm>
                <a:off x="-5490741" y="0"/>
                <a:ext cx="1548000" cy="636608"/>
              </a:xfrm>
              <a:prstGeom prst="rect">
                <a:avLst/>
              </a:prstGeom>
              <a:solidFill>
                <a:srgbClr val="E35205"/>
              </a:solidFill>
              <a:ln w="9525">
                <a:noFill/>
                <a:miter lim="800000"/>
                <a:headEnd/>
                <a:tailEnd/>
              </a:ln>
              <a:effectLst/>
            </p:spPr>
            <p:txBody>
              <a:bodyPr wrap="none" anchor="ctr"/>
              <a:lstStyle/>
              <a:p>
                <a:pPr>
                  <a:spcBef>
                    <a:spcPct val="0"/>
                  </a:spcBef>
                  <a:buFontTx/>
                  <a:buNone/>
                </a:pPr>
                <a:r>
                  <a:rPr lang="en-US" sz="1050" b="1" i="0" spc="-75" baseline="0">
                    <a:solidFill>
                      <a:schemeClr val="bg1"/>
                    </a:solidFill>
                    <a:latin typeface="Arial" panose="020B0604020202020204" pitchFamily="34" charset="0"/>
                    <a:cs typeface="Arial" panose="020B0604020202020204" pitchFamily="34" charset="0"/>
                  </a:rPr>
                  <a:t>AIA ORANGE</a:t>
                </a:r>
              </a:p>
              <a:p>
                <a:pPr>
                  <a:spcBef>
                    <a:spcPct val="0"/>
                  </a:spcBef>
                  <a:buFontTx/>
                  <a:buNone/>
                </a:pPr>
                <a:r>
                  <a:rPr lang="en-US" sz="1050" spc="-75" baseline="0">
                    <a:solidFill>
                      <a:schemeClr val="bg1"/>
                    </a:solidFill>
                    <a:latin typeface="Arial" panose="020B0604020202020204" pitchFamily="34" charset="0"/>
                    <a:cs typeface="Arial" panose="020B0604020202020204" pitchFamily="34" charset="0"/>
                  </a:rPr>
                  <a:t>R227 G82 B5</a:t>
                </a:r>
              </a:p>
            </p:txBody>
          </p:sp>
          <p:sp>
            <p:nvSpPr>
              <p:cNvPr id="57" name="Rectangle 19">
                <a:extLst>
                  <a:ext uri="{FF2B5EF4-FFF2-40B4-BE49-F238E27FC236}">
                    <a16:creationId xmlns:a16="http://schemas.microsoft.com/office/drawing/2014/main" id="{0CD77A76-3156-5240-9DDE-0A377976F3B9}"/>
                  </a:ext>
                </a:extLst>
              </p:cNvPr>
              <p:cNvSpPr>
                <a:spLocks noChangeArrowheads="1"/>
              </p:cNvSpPr>
              <p:nvPr userDrawn="1"/>
            </p:nvSpPr>
            <p:spPr bwMode="auto">
              <a:xfrm>
                <a:off x="-5490741" y="636608"/>
                <a:ext cx="514590" cy="277791"/>
              </a:xfrm>
              <a:prstGeom prst="rect">
                <a:avLst/>
              </a:prstGeom>
              <a:solidFill>
                <a:srgbClr val="E35205">
                  <a:alpha val="2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20%</a:t>
                </a:r>
              </a:p>
            </p:txBody>
          </p:sp>
          <p:sp>
            <p:nvSpPr>
              <p:cNvPr id="58" name="Rectangle 20">
                <a:extLst>
                  <a:ext uri="{FF2B5EF4-FFF2-40B4-BE49-F238E27FC236}">
                    <a16:creationId xmlns:a16="http://schemas.microsoft.com/office/drawing/2014/main" id="{E2FF07E4-E93D-D942-A054-7F4111903FBF}"/>
                  </a:ext>
                </a:extLst>
              </p:cNvPr>
              <p:cNvSpPr>
                <a:spLocks noChangeArrowheads="1"/>
              </p:cNvSpPr>
              <p:nvPr userDrawn="1"/>
            </p:nvSpPr>
            <p:spPr bwMode="auto">
              <a:xfrm>
                <a:off x="-4974036" y="636608"/>
                <a:ext cx="514590" cy="277791"/>
              </a:xfrm>
              <a:prstGeom prst="rect">
                <a:avLst/>
              </a:prstGeom>
              <a:solidFill>
                <a:srgbClr val="E35205">
                  <a:alpha val="5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50%</a:t>
                </a:r>
              </a:p>
            </p:txBody>
          </p:sp>
          <p:sp>
            <p:nvSpPr>
              <p:cNvPr id="59" name="Rectangle 22">
                <a:extLst>
                  <a:ext uri="{FF2B5EF4-FFF2-40B4-BE49-F238E27FC236}">
                    <a16:creationId xmlns:a16="http://schemas.microsoft.com/office/drawing/2014/main" id="{B990FE46-253E-6F4B-ACE7-A5904B5094CB}"/>
                  </a:ext>
                </a:extLst>
              </p:cNvPr>
              <p:cNvSpPr>
                <a:spLocks noChangeArrowheads="1"/>
              </p:cNvSpPr>
              <p:nvPr userDrawn="1"/>
            </p:nvSpPr>
            <p:spPr bwMode="auto">
              <a:xfrm>
                <a:off x="-4457331" y="636608"/>
                <a:ext cx="514590" cy="277791"/>
              </a:xfrm>
              <a:prstGeom prst="rect">
                <a:avLst/>
              </a:prstGeom>
              <a:solidFill>
                <a:srgbClr val="E35205">
                  <a:alpha val="8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80%</a:t>
                </a:r>
              </a:p>
            </p:txBody>
          </p:sp>
        </p:grpSp>
        <p:grpSp>
          <p:nvGrpSpPr>
            <p:cNvPr id="60" name="Group 59">
              <a:extLst>
                <a:ext uri="{FF2B5EF4-FFF2-40B4-BE49-F238E27FC236}">
                  <a16:creationId xmlns:a16="http://schemas.microsoft.com/office/drawing/2014/main" id="{1FB4CF41-1929-A942-BC73-7EC417475E7D}"/>
                </a:ext>
              </a:extLst>
            </p:cNvPr>
            <p:cNvGrpSpPr/>
            <p:nvPr userDrawn="1"/>
          </p:nvGrpSpPr>
          <p:grpSpPr>
            <a:xfrm>
              <a:off x="-5490741" y="2019300"/>
              <a:ext cx="1548000" cy="914399"/>
              <a:chOff x="-5490741" y="0"/>
              <a:chExt cx="1548000" cy="914399"/>
            </a:xfrm>
          </p:grpSpPr>
          <p:sp>
            <p:nvSpPr>
              <p:cNvPr id="61" name="Rectangle 18">
                <a:extLst>
                  <a:ext uri="{FF2B5EF4-FFF2-40B4-BE49-F238E27FC236}">
                    <a16:creationId xmlns:a16="http://schemas.microsoft.com/office/drawing/2014/main" id="{80321491-A990-3541-BCE8-982CC164C26D}"/>
                  </a:ext>
                </a:extLst>
              </p:cNvPr>
              <p:cNvSpPr>
                <a:spLocks noChangeArrowheads="1"/>
              </p:cNvSpPr>
              <p:nvPr userDrawn="1"/>
            </p:nvSpPr>
            <p:spPr bwMode="auto">
              <a:xfrm>
                <a:off x="-5490741" y="0"/>
                <a:ext cx="1548000" cy="636608"/>
              </a:xfrm>
              <a:prstGeom prst="rect">
                <a:avLst/>
              </a:prstGeom>
              <a:solidFill>
                <a:srgbClr val="F1C400"/>
              </a:solidFill>
              <a:ln w="9525">
                <a:noFill/>
                <a:miter lim="800000"/>
                <a:headEnd/>
                <a:tailEnd/>
              </a:ln>
              <a:effectLst/>
            </p:spPr>
            <p:txBody>
              <a:bodyPr wrap="none" anchor="ctr"/>
              <a:lstStyle/>
              <a:p>
                <a:pPr>
                  <a:spcBef>
                    <a:spcPct val="0"/>
                  </a:spcBef>
                  <a:buFontTx/>
                  <a:buNone/>
                </a:pPr>
                <a:r>
                  <a:rPr lang="en-US" sz="1050" b="1" i="0" spc="-75" baseline="0">
                    <a:solidFill>
                      <a:schemeClr val="bg1"/>
                    </a:solidFill>
                    <a:latin typeface="Arial" panose="020B0604020202020204" pitchFamily="34" charset="0"/>
                    <a:cs typeface="Arial" panose="020B0604020202020204" pitchFamily="34" charset="0"/>
                  </a:rPr>
                  <a:t>AIA YELLOW</a:t>
                </a:r>
              </a:p>
              <a:p>
                <a:pPr>
                  <a:spcBef>
                    <a:spcPct val="0"/>
                  </a:spcBef>
                  <a:buFontTx/>
                  <a:buNone/>
                </a:pPr>
                <a:r>
                  <a:rPr lang="en-US" sz="1050" spc="-75" baseline="0">
                    <a:solidFill>
                      <a:schemeClr val="bg1"/>
                    </a:solidFill>
                    <a:latin typeface="Arial" panose="020B0604020202020204" pitchFamily="34" charset="0"/>
                    <a:cs typeface="Arial" panose="020B0604020202020204" pitchFamily="34" charset="0"/>
                  </a:rPr>
                  <a:t>R241 G196 B0</a:t>
                </a:r>
              </a:p>
            </p:txBody>
          </p:sp>
          <p:sp>
            <p:nvSpPr>
              <p:cNvPr id="62" name="Rectangle 19">
                <a:extLst>
                  <a:ext uri="{FF2B5EF4-FFF2-40B4-BE49-F238E27FC236}">
                    <a16:creationId xmlns:a16="http://schemas.microsoft.com/office/drawing/2014/main" id="{E16214E5-05BC-CC47-A4B9-44B1DFE65A75}"/>
                  </a:ext>
                </a:extLst>
              </p:cNvPr>
              <p:cNvSpPr>
                <a:spLocks noChangeArrowheads="1"/>
              </p:cNvSpPr>
              <p:nvPr userDrawn="1"/>
            </p:nvSpPr>
            <p:spPr bwMode="auto">
              <a:xfrm>
                <a:off x="-5490741" y="636608"/>
                <a:ext cx="514590" cy="277791"/>
              </a:xfrm>
              <a:prstGeom prst="rect">
                <a:avLst/>
              </a:prstGeom>
              <a:solidFill>
                <a:srgbClr val="F1C400">
                  <a:alpha val="2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20%</a:t>
                </a:r>
              </a:p>
            </p:txBody>
          </p:sp>
          <p:sp>
            <p:nvSpPr>
              <p:cNvPr id="63" name="Rectangle 20">
                <a:extLst>
                  <a:ext uri="{FF2B5EF4-FFF2-40B4-BE49-F238E27FC236}">
                    <a16:creationId xmlns:a16="http://schemas.microsoft.com/office/drawing/2014/main" id="{D523C1B6-D858-7A47-A190-991C48260C1C}"/>
                  </a:ext>
                </a:extLst>
              </p:cNvPr>
              <p:cNvSpPr>
                <a:spLocks noChangeArrowheads="1"/>
              </p:cNvSpPr>
              <p:nvPr userDrawn="1"/>
            </p:nvSpPr>
            <p:spPr bwMode="auto">
              <a:xfrm>
                <a:off x="-4974036" y="636608"/>
                <a:ext cx="514590" cy="277791"/>
              </a:xfrm>
              <a:prstGeom prst="rect">
                <a:avLst/>
              </a:prstGeom>
              <a:solidFill>
                <a:srgbClr val="F1C400">
                  <a:alpha val="5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50%</a:t>
                </a:r>
              </a:p>
            </p:txBody>
          </p:sp>
          <p:sp>
            <p:nvSpPr>
              <p:cNvPr id="64" name="Rectangle 22">
                <a:extLst>
                  <a:ext uri="{FF2B5EF4-FFF2-40B4-BE49-F238E27FC236}">
                    <a16:creationId xmlns:a16="http://schemas.microsoft.com/office/drawing/2014/main" id="{CAD57CBF-5919-4A42-BD91-E09DAE2E0A07}"/>
                  </a:ext>
                </a:extLst>
              </p:cNvPr>
              <p:cNvSpPr>
                <a:spLocks noChangeArrowheads="1"/>
              </p:cNvSpPr>
              <p:nvPr userDrawn="1"/>
            </p:nvSpPr>
            <p:spPr bwMode="auto">
              <a:xfrm>
                <a:off x="-4457331" y="636608"/>
                <a:ext cx="514590" cy="277791"/>
              </a:xfrm>
              <a:prstGeom prst="rect">
                <a:avLst/>
              </a:prstGeom>
              <a:solidFill>
                <a:srgbClr val="F1C400">
                  <a:alpha val="8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80%</a:t>
                </a:r>
              </a:p>
            </p:txBody>
          </p:sp>
        </p:grpSp>
        <p:grpSp>
          <p:nvGrpSpPr>
            <p:cNvPr id="65" name="Group 64">
              <a:extLst>
                <a:ext uri="{FF2B5EF4-FFF2-40B4-BE49-F238E27FC236}">
                  <a16:creationId xmlns:a16="http://schemas.microsoft.com/office/drawing/2014/main" id="{0F01F12D-B01D-A549-899E-300867DAF601}"/>
                </a:ext>
              </a:extLst>
            </p:cNvPr>
            <p:cNvGrpSpPr/>
            <p:nvPr userDrawn="1"/>
          </p:nvGrpSpPr>
          <p:grpSpPr>
            <a:xfrm>
              <a:off x="-5490741" y="3028950"/>
              <a:ext cx="1548000" cy="914399"/>
              <a:chOff x="-5490741" y="0"/>
              <a:chExt cx="1548000" cy="914399"/>
            </a:xfrm>
          </p:grpSpPr>
          <p:sp>
            <p:nvSpPr>
              <p:cNvPr id="66" name="Rectangle 18">
                <a:extLst>
                  <a:ext uri="{FF2B5EF4-FFF2-40B4-BE49-F238E27FC236}">
                    <a16:creationId xmlns:a16="http://schemas.microsoft.com/office/drawing/2014/main" id="{823A118D-A72C-6542-B7ED-13DFEEFF0C32}"/>
                  </a:ext>
                </a:extLst>
              </p:cNvPr>
              <p:cNvSpPr>
                <a:spLocks noChangeArrowheads="1"/>
              </p:cNvSpPr>
              <p:nvPr userDrawn="1"/>
            </p:nvSpPr>
            <p:spPr bwMode="auto">
              <a:xfrm>
                <a:off x="-5490741" y="0"/>
                <a:ext cx="1548000" cy="636608"/>
              </a:xfrm>
              <a:prstGeom prst="rect">
                <a:avLst/>
              </a:prstGeom>
              <a:solidFill>
                <a:srgbClr val="64A70B"/>
              </a:solidFill>
              <a:ln w="9525">
                <a:noFill/>
                <a:miter lim="800000"/>
                <a:headEnd/>
                <a:tailEnd/>
              </a:ln>
              <a:effectLst/>
            </p:spPr>
            <p:txBody>
              <a:bodyPr wrap="none" anchor="ctr"/>
              <a:lstStyle/>
              <a:p>
                <a:pPr>
                  <a:spcBef>
                    <a:spcPct val="0"/>
                  </a:spcBef>
                  <a:buFontTx/>
                  <a:buNone/>
                </a:pPr>
                <a:r>
                  <a:rPr lang="en-US" sz="1050" b="1" i="0" spc="-75" baseline="0">
                    <a:solidFill>
                      <a:schemeClr val="bg1"/>
                    </a:solidFill>
                    <a:latin typeface="Arial" panose="020B0604020202020204" pitchFamily="34" charset="0"/>
                    <a:cs typeface="Arial" panose="020B0604020202020204" pitchFamily="34" charset="0"/>
                  </a:rPr>
                  <a:t>AIA LIME</a:t>
                </a:r>
              </a:p>
              <a:p>
                <a:pPr>
                  <a:spcBef>
                    <a:spcPct val="0"/>
                  </a:spcBef>
                  <a:buFontTx/>
                  <a:buNone/>
                </a:pPr>
                <a:r>
                  <a:rPr lang="en-US" sz="1050" spc="-75" baseline="0">
                    <a:solidFill>
                      <a:schemeClr val="bg1"/>
                    </a:solidFill>
                    <a:latin typeface="Arial" panose="020B0604020202020204" pitchFamily="34" charset="0"/>
                    <a:cs typeface="Arial" panose="020B0604020202020204" pitchFamily="34" charset="0"/>
                  </a:rPr>
                  <a:t>R100 G167 B11</a:t>
                </a:r>
              </a:p>
            </p:txBody>
          </p:sp>
          <p:sp>
            <p:nvSpPr>
              <p:cNvPr id="67" name="Rectangle 19">
                <a:extLst>
                  <a:ext uri="{FF2B5EF4-FFF2-40B4-BE49-F238E27FC236}">
                    <a16:creationId xmlns:a16="http://schemas.microsoft.com/office/drawing/2014/main" id="{3FD3B294-19A6-3440-BCCC-734D945D5A2E}"/>
                  </a:ext>
                </a:extLst>
              </p:cNvPr>
              <p:cNvSpPr>
                <a:spLocks noChangeArrowheads="1"/>
              </p:cNvSpPr>
              <p:nvPr userDrawn="1"/>
            </p:nvSpPr>
            <p:spPr bwMode="auto">
              <a:xfrm>
                <a:off x="-5490741" y="636608"/>
                <a:ext cx="514590" cy="277791"/>
              </a:xfrm>
              <a:prstGeom prst="rect">
                <a:avLst/>
              </a:prstGeom>
              <a:solidFill>
                <a:srgbClr val="64A70B">
                  <a:alpha val="2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20%</a:t>
                </a:r>
              </a:p>
            </p:txBody>
          </p:sp>
          <p:sp>
            <p:nvSpPr>
              <p:cNvPr id="68" name="Rectangle 20">
                <a:extLst>
                  <a:ext uri="{FF2B5EF4-FFF2-40B4-BE49-F238E27FC236}">
                    <a16:creationId xmlns:a16="http://schemas.microsoft.com/office/drawing/2014/main" id="{1B1A2A0D-CF81-0549-95BA-E173A298EED3}"/>
                  </a:ext>
                </a:extLst>
              </p:cNvPr>
              <p:cNvSpPr>
                <a:spLocks noChangeArrowheads="1"/>
              </p:cNvSpPr>
              <p:nvPr userDrawn="1"/>
            </p:nvSpPr>
            <p:spPr bwMode="auto">
              <a:xfrm>
                <a:off x="-4974036" y="636608"/>
                <a:ext cx="514590" cy="277791"/>
              </a:xfrm>
              <a:prstGeom prst="rect">
                <a:avLst/>
              </a:prstGeom>
              <a:solidFill>
                <a:srgbClr val="64A70B">
                  <a:alpha val="5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50%</a:t>
                </a:r>
              </a:p>
            </p:txBody>
          </p:sp>
          <p:sp>
            <p:nvSpPr>
              <p:cNvPr id="69" name="Rectangle 22">
                <a:extLst>
                  <a:ext uri="{FF2B5EF4-FFF2-40B4-BE49-F238E27FC236}">
                    <a16:creationId xmlns:a16="http://schemas.microsoft.com/office/drawing/2014/main" id="{AAD385B7-AC9C-534F-A70D-01BAA33312F8}"/>
                  </a:ext>
                </a:extLst>
              </p:cNvPr>
              <p:cNvSpPr>
                <a:spLocks noChangeArrowheads="1"/>
              </p:cNvSpPr>
              <p:nvPr userDrawn="1"/>
            </p:nvSpPr>
            <p:spPr bwMode="auto">
              <a:xfrm>
                <a:off x="-4457331" y="636608"/>
                <a:ext cx="514590" cy="277791"/>
              </a:xfrm>
              <a:prstGeom prst="rect">
                <a:avLst/>
              </a:prstGeom>
              <a:solidFill>
                <a:srgbClr val="64A70B">
                  <a:alpha val="8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80%</a:t>
                </a:r>
              </a:p>
            </p:txBody>
          </p:sp>
        </p:grpSp>
        <p:grpSp>
          <p:nvGrpSpPr>
            <p:cNvPr id="70" name="Group 69">
              <a:extLst>
                <a:ext uri="{FF2B5EF4-FFF2-40B4-BE49-F238E27FC236}">
                  <a16:creationId xmlns:a16="http://schemas.microsoft.com/office/drawing/2014/main" id="{4C2B2E67-5566-B445-A4A4-5D3FB0F6B035}"/>
                </a:ext>
              </a:extLst>
            </p:cNvPr>
            <p:cNvGrpSpPr/>
            <p:nvPr userDrawn="1"/>
          </p:nvGrpSpPr>
          <p:grpSpPr>
            <a:xfrm>
              <a:off x="-3850476" y="0"/>
              <a:ext cx="1548000" cy="914399"/>
              <a:chOff x="-5490741" y="0"/>
              <a:chExt cx="1548000" cy="914399"/>
            </a:xfrm>
          </p:grpSpPr>
          <p:sp>
            <p:nvSpPr>
              <p:cNvPr id="71" name="Rectangle 18">
                <a:extLst>
                  <a:ext uri="{FF2B5EF4-FFF2-40B4-BE49-F238E27FC236}">
                    <a16:creationId xmlns:a16="http://schemas.microsoft.com/office/drawing/2014/main" id="{1703C164-02FE-E04F-8086-708A63EDA267}"/>
                  </a:ext>
                </a:extLst>
              </p:cNvPr>
              <p:cNvSpPr>
                <a:spLocks noChangeArrowheads="1"/>
              </p:cNvSpPr>
              <p:nvPr userDrawn="1"/>
            </p:nvSpPr>
            <p:spPr bwMode="auto">
              <a:xfrm>
                <a:off x="-5490741" y="0"/>
                <a:ext cx="1548000" cy="636608"/>
              </a:xfrm>
              <a:prstGeom prst="rect">
                <a:avLst/>
              </a:prstGeom>
              <a:solidFill>
                <a:srgbClr val="00A3AD"/>
              </a:solidFill>
              <a:ln w="9525">
                <a:noFill/>
                <a:miter lim="800000"/>
                <a:headEnd/>
                <a:tailEnd/>
              </a:ln>
              <a:effectLst/>
            </p:spPr>
            <p:txBody>
              <a:bodyPr wrap="none" anchor="ctr"/>
              <a:lstStyle/>
              <a:p>
                <a:pPr>
                  <a:spcBef>
                    <a:spcPct val="0"/>
                  </a:spcBef>
                  <a:buFontTx/>
                  <a:buNone/>
                </a:pPr>
                <a:r>
                  <a:rPr lang="en-US" sz="1050" b="1" i="0" spc="-75" baseline="0">
                    <a:solidFill>
                      <a:schemeClr val="bg1"/>
                    </a:solidFill>
                    <a:latin typeface="Arial" panose="020B0604020202020204" pitchFamily="34" charset="0"/>
                    <a:cs typeface="Arial" panose="020B0604020202020204" pitchFamily="34" charset="0"/>
                  </a:rPr>
                  <a:t>AIA GREEN</a:t>
                </a:r>
              </a:p>
              <a:p>
                <a:pPr>
                  <a:spcBef>
                    <a:spcPct val="0"/>
                  </a:spcBef>
                  <a:buFontTx/>
                  <a:buNone/>
                </a:pPr>
                <a:r>
                  <a:rPr lang="en-US" sz="1050" spc="-75" baseline="0">
                    <a:solidFill>
                      <a:schemeClr val="bg1"/>
                    </a:solidFill>
                    <a:latin typeface="Arial" panose="020B0604020202020204" pitchFamily="34" charset="0"/>
                    <a:cs typeface="Arial" panose="020B0604020202020204" pitchFamily="34" charset="0"/>
                  </a:rPr>
                  <a:t>R0 G163 B173</a:t>
                </a:r>
              </a:p>
            </p:txBody>
          </p:sp>
          <p:sp>
            <p:nvSpPr>
              <p:cNvPr id="72" name="Rectangle 19">
                <a:extLst>
                  <a:ext uri="{FF2B5EF4-FFF2-40B4-BE49-F238E27FC236}">
                    <a16:creationId xmlns:a16="http://schemas.microsoft.com/office/drawing/2014/main" id="{25EAF57E-4563-3244-9340-D9237B9E13EA}"/>
                  </a:ext>
                </a:extLst>
              </p:cNvPr>
              <p:cNvSpPr>
                <a:spLocks noChangeArrowheads="1"/>
              </p:cNvSpPr>
              <p:nvPr userDrawn="1"/>
            </p:nvSpPr>
            <p:spPr bwMode="auto">
              <a:xfrm>
                <a:off x="-5490741" y="636608"/>
                <a:ext cx="514590" cy="277791"/>
              </a:xfrm>
              <a:prstGeom prst="rect">
                <a:avLst/>
              </a:prstGeom>
              <a:solidFill>
                <a:srgbClr val="00A3AD">
                  <a:alpha val="2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20%</a:t>
                </a:r>
              </a:p>
            </p:txBody>
          </p:sp>
          <p:sp>
            <p:nvSpPr>
              <p:cNvPr id="73" name="Rectangle 20">
                <a:extLst>
                  <a:ext uri="{FF2B5EF4-FFF2-40B4-BE49-F238E27FC236}">
                    <a16:creationId xmlns:a16="http://schemas.microsoft.com/office/drawing/2014/main" id="{691E7498-DC1F-5246-B95C-2CBC7758615E}"/>
                  </a:ext>
                </a:extLst>
              </p:cNvPr>
              <p:cNvSpPr>
                <a:spLocks noChangeArrowheads="1"/>
              </p:cNvSpPr>
              <p:nvPr userDrawn="1"/>
            </p:nvSpPr>
            <p:spPr bwMode="auto">
              <a:xfrm>
                <a:off x="-4974036" y="636608"/>
                <a:ext cx="514590" cy="277791"/>
              </a:xfrm>
              <a:prstGeom prst="rect">
                <a:avLst/>
              </a:prstGeom>
              <a:solidFill>
                <a:srgbClr val="00A3AD">
                  <a:alpha val="5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50%</a:t>
                </a:r>
              </a:p>
            </p:txBody>
          </p:sp>
          <p:sp>
            <p:nvSpPr>
              <p:cNvPr id="74" name="Rectangle 22">
                <a:extLst>
                  <a:ext uri="{FF2B5EF4-FFF2-40B4-BE49-F238E27FC236}">
                    <a16:creationId xmlns:a16="http://schemas.microsoft.com/office/drawing/2014/main" id="{94C5EE83-09C0-F64A-90B8-904936661F1F}"/>
                  </a:ext>
                </a:extLst>
              </p:cNvPr>
              <p:cNvSpPr>
                <a:spLocks noChangeArrowheads="1"/>
              </p:cNvSpPr>
              <p:nvPr userDrawn="1"/>
            </p:nvSpPr>
            <p:spPr bwMode="auto">
              <a:xfrm>
                <a:off x="-4457331" y="636608"/>
                <a:ext cx="514590" cy="277791"/>
              </a:xfrm>
              <a:prstGeom prst="rect">
                <a:avLst/>
              </a:prstGeom>
              <a:solidFill>
                <a:srgbClr val="00A3AD">
                  <a:alpha val="8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80%</a:t>
                </a:r>
              </a:p>
            </p:txBody>
          </p:sp>
        </p:grpSp>
        <p:grpSp>
          <p:nvGrpSpPr>
            <p:cNvPr id="75" name="Group 74">
              <a:extLst>
                <a:ext uri="{FF2B5EF4-FFF2-40B4-BE49-F238E27FC236}">
                  <a16:creationId xmlns:a16="http://schemas.microsoft.com/office/drawing/2014/main" id="{519AB0B1-93C0-7B49-B9C4-74D49DF8090C}"/>
                </a:ext>
              </a:extLst>
            </p:cNvPr>
            <p:cNvGrpSpPr/>
            <p:nvPr userDrawn="1"/>
          </p:nvGrpSpPr>
          <p:grpSpPr>
            <a:xfrm>
              <a:off x="-3850476" y="1009650"/>
              <a:ext cx="1548000" cy="914399"/>
              <a:chOff x="-5490741" y="0"/>
              <a:chExt cx="1548000" cy="914399"/>
            </a:xfrm>
          </p:grpSpPr>
          <p:sp>
            <p:nvSpPr>
              <p:cNvPr id="76" name="Rectangle 18">
                <a:extLst>
                  <a:ext uri="{FF2B5EF4-FFF2-40B4-BE49-F238E27FC236}">
                    <a16:creationId xmlns:a16="http://schemas.microsoft.com/office/drawing/2014/main" id="{9583E82A-B7FC-444B-85D4-78FF14CDB123}"/>
                  </a:ext>
                </a:extLst>
              </p:cNvPr>
              <p:cNvSpPr>
                <a:spLocks noChangeArrowheads="1"/>
              </p:cNvSpPr>
              <p:nvPr userDrawn="1"/>
            </p:nvSpPr>
            <p:spPr bwMode="auto">
              <a:xfrm>
                <a:off x="-5490741" y="0"/>
                <a:ext cx="1548000" cy="636608"/>
              </a:xfrm>
              <a:prstGeom prst="rect">
                <a:avLst/>
              </a:prstGeom>
              <a:solidFill>
                <a:srgbClr val="00A3E0"/>
              </a:solidFill>
              <a:ln w="9525">
                <a:noFill/>
                <a:miter lim="800000"/>
                <a:headEnd/>
                <a:tailEnd/>
              </a:ln>
              <a:effectLst/>
            </p:spPr>
            <p:txBody>
              <a:bodyPr wrap="none" anchor="ctr"/>
              <a:lstStyle/>
              <a:p>
                <a:pPr>
                  <a:spcBef>
                    <a:spcPct val="0"/>
                  </a:spcBef>
                  <a:buFontTx/>
                  <a:buNone/>
                </a:pPr>
                <a:r>
                  <a:rPr lang="en-US" sz="1050" b="1" i="0" spc="-75" baseline="0">
                    <a:solidFill>
                      <a:schemeClr val="bg1"/>
                    </a:solidFill>
                    <a:latin typeface="Arial" panose="020B0604020202020204" pitchFamily="34" charset="0"/>
                    <a:cs typeface="Arial" panose="020B0604020202020204" pitchFamily="34" charset="0"/>
                  </a:rPr>
                  <a:t>AIA CYAN</a:t>
                </a:r>
              </a:p>
              <a:p>
                <a:pPr>
                  <a:spcBef>
                    <a:spcPct val="0"/>
                  </a:spcBef>
                  <a:buFontTx/>
                  <a:buNone/>
                </a:pPr>
                <a:r>
                  <a:rPr lang="en-US" sz="1050" spc="-75" baseline="0">
                    <a:solidFill>
                      <a:schemeClr val="bg1"/>
                    </a:solidFill>
                    <a:latin typeface="Arial" panose="020B0604020202020204" pitchFamily="34" charset="0"/>
                    <a:cs typeface="Arial" panose="020B0604020202020204" pitchFamily="34" charset="0"/>
                  </a:rPr>
                  <a:t>R0 G163 B224</a:t>
                </a:r>
              </a:p>
            </p:txBody>
          </p:sp>
          <p:sp>
            <p:nvSpPr>
              <p:cNvPr id="77" name="Rectangle 19">
                <a:extLst>
                  <a:ext uri="{FF2B5EF4-FFF2-40B4-BE49-F238E27FC236}">
                    <a16:creationId xmlns:a16="http://schemas.microsoft.com/office/drawing/2014/main" id="{88F941BE-92FD-7648-9B13-47B7D6007FA8}"/>
                  </a:ext>
                </a:extLst>
              </p:cNvPr>
              <p:cNvSpPr>
                <a:spLocks noChangeArrowheads="1"/>
              </p:cNvSpPr>
              <p:nvPr userDrawn="1"/>
            </p:nvSpPr>
            <p:spPr bwMode="auto">
              <a:xfrm>
                <a:off x="-5490741" y="636608"/>
                <a:ext cx="514590" cy="277791"/>
              </a:xfrm>
              <a:prstGeom prst="rect">
                <a:avLst/>
              </a:prstGeom>
              <a:solidFill>
                <a:srgbClr val="00A3E0">
                  <a:alpha val="2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20%</a:t>
                </a:r>
              </a:p>
            </p:txBody>
          </p:sp>
          <p:sp>
            <p:nvSpPr>
              <p:cNvPr id="78" name="Rectangle 20">
                <a:extLst>
                  <a:ext uri="{FF2B5EF4-FFF2-40B4-BE49-F238E27FC236}">
                    <a16:creationId xmlns:a16="http://schemas.microsoft.com/office/drawing/2014/main" id="{367E1D85-EE19-F541-A89C-208CDAFB3036}"/>
                  </a:ext>
                </a:extLst>
              </p:cNvPr>
              <p:cNvSpPr>
                <a:spLocks noChangeArrowheads="1"/>
              </p:cNvSpPr>
              <p:nvPr userDrawn="1"/>
            </p:nvSpPr>
            <p:spPr bwMode="auto">
              <a:xfrm>
                <a:off x="-4974036" y="636608"/>
                <a:ext cx="514590" cy="277791"/>
              </a:xfrm>
              <a:prstGeom prst="rect">
                <a:avLst/>
              </a:prstGeom>
              <a:solidFill>
                <a:srgbClr val="00A3E0">
                  <a:alpha val="5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50%</a:t>
                </a:r>
              </a:p>
            </p:txBody>
          </p:sp>
          <p:sp>
            <p:nvSpPr>
              <p:cNvPr id="79" name="Rectangle 22">
                <a:extLst>
                  <a:ext uri="{FF2B5EF4-FFF2-40B4-BE49-F238E27FC236}">
                    <a16:creationId xmlns:a16="http://schemas.microsoft.com/office/drawing/2014/main" id="{BE7B36CB-60FE-104B-ADCB-0A0CBFC18032}"/>
                  </a:ext>
                </a:extLst>
              </p:cNvPr>
              <p:cNvSpPr>
                <a:spLocks noChangeArrowheads="1"/>
              </p:cNvSpPr>
              <p:nvPr userDrawn="1"/>
            </p:nvSpPr>
            <p:spPr bwMode="auto">
              <a:xfrm>
                <a:off x="-4457331" y="636608"/>
                <a:ext cx="514590" cy="277791"/>
              </a:xfrm>
              <a:prstGeom prst="rect">
                <a:avLst/>
              </a:prstGeom>
              <a:solidFill>
                <a:srgbClr val="00A3E0">
                  <a:alpha val="8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80%</a:t>
                </a:r>
              </a:p>
            </p:txBody>
          </p:sp>
        </p:grpSp>
        <p:grpSp>
          <p:nvGrpSpPr>
            <p:cNvPr id="80" name="Group 79">
              <a:extLst>
                <a:ext uri="{FF2B5EF4-FFF2-40B4-BE49-F238E27FC236}">
                  <a16:creationId xmlns:a16="http://schemas.microsoft.com/office/drawing/2014/main" id="{1024FEBA-54F8-224E-B1C1-87CFBA59F76A}"/>
                </a:ext>
              </a:extLst>
            </p:cNvPr>
            <p:cNvGrpSpPr/>
            <p:nvPr userDrawn="1"/>
          </p:nvGrpSpPr>
          <p:grpSpPr>
            <a:xfrm>
              <a:off x="-3850476" y="2019300"/>
              <a:ext cx="1548000" cy="914399"/>
              <a:chOff x="-5490741" y="0"/>
              <a:chExt cx="1548000" cy="914399"/>
            </a:xfrm>
          </p:grpSpPr>
          <p:sp>
            <p:nvSpPr>
              <p:cNvPr id="81" name="Rectangle 18">
                <a:extLst>
                  <a:ext uri="{FF2B5EF4-FFF2-40B4-BE49-F238E27FC236}">
                    <a16:creationId xmlns:a16="http://schemas.microsoft.com/office/drawing/2014/main" id="{7C4A7609-4032-C342-8F8F-6D575413C476}"/>
                  </a:ext>
                </a:extLst>
              </p:cNvPr>
              <p:cNvSpPr>
                <a:spLocks noChangeArrowheads="1"/>
              </p:cNvSpPr>
              <p:nvPr userDrawn="1"/>
            </p:nvSpPr>
            <p:spPr bwMode="auto">
              <a:xfrm>
                <a:off x="-5490741" y="0"/>
                <a:ext cx="1548000" cy="636608"/>
              </a:xfrm>
              <a:prstGeom prst="rect">
                <a:avLst/>
              </a:prstGeom>
              <a:solidFill>
                <a:srgbClr val="0957C3"/>
              </a:solidFill>
              <a:ln w="9525">
                <a:noFill/>
                <a:miter lim="800000"/>
                <a:headEnd/>
                <a:tailEnd/>
              </a:ln>
              <a:effectLst/>
            </p:spPr>
            <p:txBody>
              <a:bodyPr wrap="none" anchor="ctr"/>
              <a:lstStyle/>
              <a:p>
                <a:pPr>
                  <a:spcBef>
                    <a:spcPct val="0"/>
                  </a:spcBef>
                  <a:buFontTx/>
                  <a:buNone/>
                </a:pPr>
                <a:r>
                  <a:rPr lang="en-US" sz="1050" b="1" i="0" spc="-75" baseline="0">
                    <a:solidFill>
                      <a:schemeClr val="bg1"/>
                    </a:solidFill>
                    <a:latin typeface="Arial" panose="020B0604020202020204" pitchFamily="34" charset="0"/>
                    <a:cs typeface="Arial" panose="020B0604020202020204" pitchFamily="34" charset="0"/>
                  </a:rPr>
                  <a:t>AIA BLUE</a:t>
                </a:r>
              </a:p>
              <a:p>
                <a:pPr>
                  <a:spcBef>
                    <a:spcPct val="0"/>
                  </a:spcBef>
                  <a:buFontTx/>
                  <a:buNone/>
                </a:pPr>
                <a:r>
                  <a:rPr lang="en-US" sz="1050" spc="-75" baseline="0">
                    <a:solidFill>
                      <a:schemeClr val="bg1"/>
                    </a:solidFill>
                    <a:latin typeface="Arial" panose="020B0604020202020204" pitchFamily="34" charset="0"/>
                    <a:cs typeface="Arial" panose="020B0604020202020204" pitchFamily="34" charset="0"/>
                  </a:rPr>
                  <a:t>R9 G87 B195</a:t>
                </a:r>
              </a:p>
            </p:txBody>
          </p:sp>
          <p:sp>
            <p:nvSpPr>
              <p:cNvPr id="82" name="Rectangle 19">
                <a:extLst>
                  <a:ext uri="{FF2B5EF4-FFF2-40B4-BE49-F238E27FC236}">
                    <a16:creationId xmlns:a16="http://schemas.microsoft.com/office/drawing/2014/main" id="{B2D2F23B-829F-1146-A899-C5C33B8F8DF5}"/>
                  </a:ext>
                </a:extLst>
              </p:cNvPr>
              <p:cNvSpPr>
                <a:spLocks noChangeArrowheads="1"/>
              </p:cNvSpPr>
              <p:nvPr userDrawn="1"/>
            </p:nvSpPr>
            <p:spPr bwMode="auto">
              <a:xfrm>
                <a:off x="-5490741" y="636608"/>
                <a:ext cx="514590" cy="277791"/>
              </a:xfrm>
              <a:prstGeom prst="rect">
                <a:avLst/>
              </a:prstGeom>
              <a:solidFill>
                <a:srgbClr val="0957C3">
                  <a:alpha val="2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20%</a:t>
                </a:r>
              </a:p>
            </p:txBody>
          </p:sp>
          <p:sp>
            <p:nvSpPr>
              <p:cNvPr id="83" name="Rectangle 20">
                <a:extLst>
                  <a:ext uri="{FF2B5EF4-FFF2-40B4-BE49-F238E27FC236}">
                    <a16:creationId xmlns:a16="http://schemas.microsoft.com/office/drawing/2014/main" id="{241478CE-F5A5-1444-AEE7-20B33A3B0751}"/>
                  </a:ext>
                </a:extLst>
              </p:cNvPr>
              <p:cNvSpPr>
                <a:spLocks noChangeArrowheads="1"/>
              </p:cNvSpPr>
              <p:nvPr userDrawn="1"/>
            </p:nvSpPr>
            <p:spPr bwMode="auto">
              <a:xfrm>
                <a:off x="-4974036" y="636608"/>
                <a:ext cx="514590" cy="277791"/>
              </a:xfrm>
              <a:prstGeom prst="rect">
                <a:avLst/>
              </a:prstGeom>
              <a:solidFill>
                <a:srgbClr val="0957C3">
                  <a:alpha val="5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50%</a:t>
                </a:r>
              </a:p>
            </p:txBody>
          </p:sp>
          <p:sp>
            <p:nvSpPr>
              <p:cNvPr id="84" name="Rectangle 22">
                <a:extLst>
                  <a:ext uri="{FF2B5EF4-FFF2-40B4-BE49-F238E27FC236}">
                    <a16:creationId xmlns:a16="http://schemas.microsoft.com/office/drawing/2014/main" id="{76928A3F-A3DB-2847-9637-92BC504CCA31}"/>
                  </a:ext>
                </a:extLst>
              </p:cNvPr>
              <p:cNvSpPr>
                <a:spLocks noChangeArrowheads="1"/>
              </p:cNvSpPr>
              <p:nvPr userDrawn="1"/>
            </p:nvSpPr>
            <p:spPr bwMode="auto">
              <a:xfrm>
                <a:off x="-4457331" y="636608"/>
                <a:ext cx="514590" cy="277791"/>
              </a:xfrm>
              <a:prstGeom prst="rect">
                <a:avLst/>
              </a:prstGeom>
              <a:solidFill>
                <a:srgbClr val="0957C3">
                  <a:alpha val="8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80%</a:t>
                </a:r>
              </a:p>
            </p:txBody>
          </p:sp>
        </p:grpSp>
        <p:grpSp>
          <p:nvGrpSpPr>
            <p:cNvPr id="85" name="Group 84">
              <a:extLst>
                <a:ext uri="{FF2B5EF4-FFF2-40B4-BE49-F238E27FC236}">
                  <a16:creationId xmlns:a16="http://schemas.microsoft.com/office/drawing/2014/main" id="{89DFF31C-A375-4E42-A733-0E898CADCAA9}"/>
                </a:ext>
              </a:extLst>
            </p:cNvPr>
            <p:cNvGrpSpPr/>
            <p:nvPr userDrawn="1"/>
          </p:nvGrpSpPr>
          <p:grpSpPr>
            <a:xfrm>
              <a:off x="-3850476" y="3028950"/>
              <a:ext cx="1548000" cy="914399"/>
              <a:chOff x="-5490741" y="0"/>
              <a:chExt cx="1548000" cy="914399"/>
            </a:xfrm>
          </p:grpSpPr>
          <p:sp>
            <p:nvSpPr>
              <p:cNvPr id="86" name="Rectangle 18">
                <a:extLst>
                  <a:ext uri="{FF2B5EF4-FFF2-40B4-BE49-F238E27FC236}">
                    <a16:creationId xmlns:a16="http://schemas.microsoft.com/office/drawing/2014/main" id="{68FFBE17-92FE-0347-901A-F386CE1015E1}"/>
                  </a:ext>
                </a:extLst>
              </p:cNvPr>
              <p:cNvSpPr>
                <a:spLocks noChangeArrowheads="1"/>
              </p:cNvSpPr>
              <p:nvPr userDrawn="1"/>
            </p:nvSpPr>
            <p:spPr bwMode="auto">
              <a:xfrm>
                <a:off x="-5490741" y="0"/>
                <a:ext cx="1548000" cy="636608"/>
              </a:xfrm>
              <a:prstGeom prst="rect">
                <a:avLst/>
              </a:prstGeom>
              <a:solidFill>
                <a:srgbClr val="6244BB"/>
              </a:solidFill>
              <a:ln w="9525">
                <a:noFill/>
                <a:miter lim="800000"/>
                <a:headEnd/>
                <a:tailEnd/>
              </a:ln>
              <a:effectLst/>
            </p:spPr>
            <p:txBody>
              <a:bodyPr wrap="none" anchor="ctr"/>
              <a:lstStyle/>
              <a:p>
                <a:pPr>
                  <a:spcBef>
                    <a:spcPct val="0"/>
                  </a:spcBef>
                  <a:buFontTx/>
                  <a:buNone/>
                </a:pPr>
                <a:r>
                  <a:rPr lang="en-US" sz="1050" b="1" i="0" spc="-75" baseline="0">
                    <a:solidFill>
                      <a:schemeClr val="bg1"/>
                    </a:solidFill>
                    <a:latin typeface="Arial" panose="020B0604020202020204" pitchFamily="34" charset="0"/>
                    <a:cs typeface="Arial" panose="020B0604020202020204" pitchFamily="34" charset="0"/>
                  </a:rPr>
                  <a:t>AIA VIOLET</a:t>
                </a:r>
              </a:p>
              <a:p>
                <a:pPr>
                  <a:spcBef>
                    <a:spcPct val="0"/>
                  </a:spcBef>
                  <a:buFontTx/>
                  <a:buNone/>
                </a:pPr>
                <a:r>
                  <a:rPr lang="en-US" sz="1050" spc="-75" baseline="0">
                    <a:solidFill>
                      <a:schemeClr val="bg1"/>
                    </a:solidFill>
                    <a:latin typeface="Arial" panose="020B0604020202020204" pitchFamily="34" charset="0"/>
                    <a:cs typeface="Arial" panose="020B0604020202020204" pitchFamily="34" charset="0"/>
                  </a:rPr>
                  <a:t>R98 G68 B187</a:t>
                </a:r>
              </a:p>
            </p:txBody>
          </p:sp>
          <p:sp>
            <p:nvSpPr>
              <p:cNvPr id="87" name="Rectangle 19">
                <a:extLst>
                  <a:ext uri="{FF2B5EF4-FFF2-40B4-BE49-F238E27FC236}">
                    <a16:creationId xmlns:a16="http://schemas.microsoft.com/office/drawing/2014/main" id="{0849EB1A-BC5D-FB4D-AC07-BCECAD01E273}"/>
                  </a:ext>
                </a:extLst>
              </p:cNvPr>
              <p:cNvSpPr>
                <a:spLocks noChangeArrowheads="1"/>
              </p:cNvSpPr>
              <p:nvPr userDrawn="1"/>
            </p:nvSpPr>
            <p:spPr bwMode="auto">
              <a:xfrm>
                <a:off x="-5490741" y="636608"/>
                <a:ext cx="514590" cy="277791"/>
              </a:xfrm>
              <a:prstGeom prst="rect">
                <a:avLst/>
              </a:prstGeom>
              <a:solidFill>
                <a:srgbClr val="6244BB">
                  <a:alpha val="2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20%</a:t>
                </a:r>
              </a:p>
            </p:txBody>
          </p:sp>
          <p:sp>
            <p:nvSpPr>
              <p:cNvPr id="88" name="Rectangle 20">
                <a:extLst>
                  <a:ext uri="{FF2B5EF4-FFF2-40B4-BE49-F238E27FC236}">
                    <a16:creationId xmlns:a16="http://schemas.microsoft.com/office/drawing/2014/main" id="{3D68DEFD-99BA-F247-8E59-D070108B30C7}"/>
                  </a:ext>
                </a:extLst>
              </p:cNvPr>
              <p:cNvSpPr>
                <a:spLocks noChangeArrowheads="1"/>
              </p:cNvSpPr>
              <p:nvPr userDrawn="1"/>
            </p:nvSpPr>
            <p:spPr bwMode="auto">
              <a:xfrm>
                <a:off x="-4974036" y="636608"/>
                <a:ext cx="514590" cy="277791"/>
              </a:xfrm>
              <a:prstGeom prst="rect">
                <a:avLst/>
              </a:prstGeom>
              <a:solidFill>
                <a:srgbClr val="6244BB">
                  <a:alpha val="5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50%</a:t>
                </a:r>
              </a:p>
            </p:txBody>
          </p:sp>
          <p:sp>
            <p:nvSpPr>
              <p:cNvPr id="89" name="Rectangle 22">
                <a:extLst>
                  <a:ext uri="{FF2B5EF4-FFF2-40B4-BE49-F238E27FC236}">
                    <a16:creationId xmlns:a16="http://schemas.microsoft.com/office/drawing/2014/main" id="{BD150BAA-53FB-404B-BD6E-221AD65A72D4}"/>
                  </a:ext>
                </a:extLst>
              </p:cNvPr>
              <p:cNvSpPr>
                <a:spLocks noChangeArrowheads="1"/>
              </p:cNvSpPr>
              <p:nvPr userDrawn="1"/>
            </p:nvSpPr>
            <p:spPr bwMode="auto">
              <a:xfrm>
                <a:off x="-4457331" y="636608"/>
                <a:ext cx="514590" cy="277791"/>
              </a:xfrm>
              <a:prstGeom prst="rect">
                <a:avLst/>
              </a:prstGeom>
              <a:solidFill>
                <a:srgbClr val="6244BB">
                  <a:alpha val="80000"/>
                </a:srgbClr>
              </a:solidFill>
              <a:ln w="9525">
                <a:noFill/>
                <a:miter lim="800000"/>
                <a:headEnd/>
                <a:tailEnd/>
              </a:ln>
              <a:effectLst/>
            </p:spPr>
            <p:txBody>
              <a:bodyPr wrap="none" anchor="ctr"/>
              <a:lstStyle/>
              <a:p>
                <a:pPr algn="ctr">
                  <a:spcBef>
                    <a:spcPct val="0"/>
                  </a:spcBef>
                  <a:buFontTx/>
                  <a:buNone/>
                </a:pPr>
                <a:r>
                  <a:rPr lang="en-US" sz="900" b="1" spc="-75" baseline="0">
                    <a:solidFill>
                      <a:schemeClr val="bg1"/>
                    </a:solidFill>
                    <a:latin typeface="Arial" panose="020B0604020202020204" pitchFamily="34" charset="0"/>
                    <a:cs typeface="Arial" panose="020B0604020202020204" pitchFamily="34" charset="0"/>
                  </a:rPr>
                  <a:t>80%</a:t>
                </a:r>
              </a:p>
            </p:txBody>
          </p:sp>
        </p:grpSp>
      </p:grpSp>
    </p:spTree>
    <p:extLst>
      <p:ext uri="{BB962C8B-B14F-4D97-AF65-F5344CB8AC3E}">
        <p14:creationId xmlns:p14="http://schemas.microsoft.com/office/powerpoint/2010/main" val="2363410341"/>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Lst>
  <p:txStyles>
    <p:titleStyle>
      <a:lvl1pPr algn="l" defTabSz="685800" rtl="0" eaLnBrk="1" latinLnBrk="0" hangingPunct="1">
        <a:spcBef>
          <a:spcPct val="0"/>
        </a:spcBef>
        <a:buNone/>
        <a:defRPr sz="1800" b="1" kern="1200" cap="all" normalizeH="0" baseline="0">
          <a:solidFill>
            <a:schemeClr val="tx1">
              <a:lumMod val="75000"/>
              <a:lumOff val="25000"/>
            </a:schemeClr>
          </a:solidFill>
          <a:latin typeface="Arial" panose="020B0604020202020204" pitchFamily="34" charset="0"/>
          <a:ea typeface="+mj-ea"/>
          <a:cs typeface="Arial" panose="020B0604020202020204" pitchFamily="34" charset="0"/>
        </a:defRPr>
      </a:lvl1pPr>
    </p:titleStyle>
    <p:bodyStyle>
      <a:lvl1pPr marL="0" indent="0" algn="l" defTabSz="685800" rtl="0" eaLnBrk="1" latinLnBrk="0" hangingPunct="1">
        <a:spcBef>
          <a:spcPct val="20000"/>
        </a:spcBef>
        <a:buFont typeface="Arial" panose="020B0604020202020204" pitchFamily="34" charset="0"/>
        <a:buNone/>
        <a:defRPr sz="12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557213" indent="-214313" algn="l" defTabSz="685800" rtl="0" eaLnBrk="1" latinLnBrk="0" hangingPunct="1">
        <a:spcBef>
          <a:spcPct val="20000"/>
        </a:spcBef>
        <a:buFont typeface="Arial" panose="020B0604020202020204" pitchFamily="34" charset="0"/>
        <a:buChar char="–"/>
        <a:defRPr sz="12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spcBef>
          <a:spcPct val="20000"/>
        </a:spcBef>
        <a:buFont typeface="Arial" panose="020B0604020202020204" pitchFamily="34" charset="0"/>
        <a:buChar char="•"/>
        <a:defRPr sz="1050" kern="1200">
          <a:solidFill>
            <a:schemeClr val="tx1">
              <a:lumMod val="65000"/>
              <a:lumOff val="35000"/>
            </a:schemeClr>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spcBef>
          <a:spcPct val="20000"/>
        </a:spcBef>
        <a:buFont typeface="Arial" panose="020B0604020202020204" pitchFamily="34" charset="0"/>
        <a:buChar char="–"/>
        <a:defRPr sz="1050" kern="1200">
          <a:solidFill>
            <a:schemeClr val="tx1">
              <a:lumMod val="65000"/>
              <a:lumOff val="35000"/>
            </a:schemeClr>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spcBef>
          <a:spcPct val="20000"/>
        </a:spcBef>
        <a:buFont typeface="Arial" panose="020B0604020202020204" pitchFamily="34" charset="0"/>
        <a:buChar char="»"/>
        <a:defRPr sz="1050" kern="1200">
          <a:solidFill>
            <a:schemeClr val="tx1">
              <a:lumMod val="65000"/>
              <a:lumOff val="35000"/>
            </a:schemeClr>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A087055-AA24-4875-AE43-A4556D6AE3E2}"/>
              </a:ext>
            </a:extLst>
          </p:cNvPr>
          <p:cNvSpPr>
            <a:spLocks noGrp="1"/>
          </p:cNvSpPr>
          <p:nvPr>
            <p:ph type="title"/>
          </p:nvPr>
        </p:nvSpPr>
        <p:spPr>
          <a:xfrm>
            <a:off x="328247" y="188913"/>
            <a:ext cx="10376878" cy="793750"/>
          </a:xfrm>
          <a:prstGeom prst="rect">
            <a:avLst/>
          </a:prstGeom>
        </p:spPr>
        <p:txBody>
          <a:bodyPr vert="horz" lIns="91440" tIns="45720" rIns="91440" bIns="45720" rtlCol="0" anchor="t">
            <a:normAutofit/>
          </a:bodyPr>
          <a:lstStyle/>
          <a:p>
            <a:r>
              <a:rPr lang="en-US" noProof="0"/>
              <a:t>Click to edit Master title style</a:t>
            </a:r>
            <a:endParaRPr lang="en-GB" noProof="0"/>
          </a:p>
        </p:txBody>
      </p:sp>
      <p:sp>
        <p:nvSpPr>
          <p:cNvPr id="1027" name="Text Placeholder 2">
            <a:extLst>
              <a:ext uri="{FF2B5EF4-FFF2-40B4-BE49-F238E27FC236}">
                <a16:creationId xmlns:a16="http://schemas.microsoft.com/office/drawing/2014/main" id="{614EE726-068C-439A-B4C9-ECB4FDD36B2C}"/>
              </a:ext>
            </a:extLst>
          </p:cNvPr>
          <p:cNvSpPr>
            <a:spLocks noGrp="1" noChangeArrowheads="1"/>
          </p:cNvSpPr>
          <p:nvPr>
            <p:ph type="body" idx="1"/>
          </p:nvPr>
        </p:nvSpPr>
        <p:spPr bwMode="auto">
          <a:xfrm>
            <a:off x="343878" y="1143000"/>
            <a:ext cx="10329985" cy="459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4" name="Date Placeholder 3">
            <a:extLst>
              <a:ext uri="{FF2B5EF4-FFF2-40B4-BE49-F238E27FC236}">
                <a16:creationId xmlns:a16="http://schemas.microsoft.com/office/drawing/2014/main" id="{0088E4BC-2058-4472-812A-A595BBA70030}"/>
              </a:ext>
            </a:extLst>
          </p:cNvPr>
          <p:cNvSpPr>
            <a:spLocks noGrp="1"/>
          </p:cNvSpPr>
          <p:nvPr>
            <p:ph type="dt" sz="half" idx="2"/>
          </p:nvPr>
        </p:nvSpPr>
        <p:spPr>
          <a:xfrm>
            <a:off x="359508" y="6037264"/>
            <a:ext cx="28448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mn-lt"/>
              </a:defRPr>
            </a:lvl1pPr>
          </a:lstStyle>
          <a:p>
            <a:pPr>
              <a:defRPr/>
            </a:pPr>
            <a:fld id="{A11B5730-642A-496A-811A-AAB8CF5A4B31}" type="datetimeFigureOut">
              <a:rPr lang="en-MY"/>
              <a:pPr>
                <a:defRPr/>
              </a:pPr>
              <a:t>23/9/2021</a:t>
            </a:fld>
            <a:endParaRPr lang="en-MY"/>
          </a:p>
        </p:txBody>
      </p:sp>
      <p:sp>
        <p:nvSpPr>
          <p:cNvPr id="5" name="Footer Placeholder 4">
            <a:extLst>
              <a:ext uri="{FF2B5EF4-FFF2-40B4-BE49-F238E27FC236}">
                <a16:creationId xmlns:a16="http://schemas.microsoft.com/office/drawing/2014/main" id="{FC7A6184-0874-4140-B560-59983938B8B9}"/>
              </a:ext>
            </a:extLst>
          </p:cNvPr>
          <p:cNvSpPr>
            <a:spLocks noGrp="1"/>
          </p:cNvSpPr>
          <p:nvPr>
            <p:ph type="ftr" sz="quarter" idx="3"/>
          </p:nvPr>
        </p:nvSpPr>
        <p:spPr>
          <a:xfrm>
            <a:off x="3915508" y="6037264"/>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MY"/>
          </a:p>
        </p:txBody>
      </p:sp>
      <p:sp>
        <p:nvSpPr>
          <p:cNvPr id="1030" name="Rectangle 9">
            <a:extLst>
              <a:ext uri="{FF2B5EF4-FFF2-40B4-BE49-F238E27FC236}">
                <a16:creationId xmlns:a16="http://schemas.microsoft.com/office/drawing/2014/main" id="{EFFEA647-C146-4A37-A3EE-B03E62A36588}"/>
              </a:ext>
            </a:extLst>
          </p:cNvPr>
          <p:cNvSpPr>
            <a:spLocks noChangeArrowheads="1"/>
          </p:cNvSpPr>
          <p:nvPr/>
        </p:nvSpPr>
        <p:spPr bwMode="auto">
          <a:xfrm flipV="1">
            <a:off x="1" y="982664"/>
            <a:ext cx="10673862" cy="47625"/>
          </a:xfrm>
          <a:prstGeom prst="rect">
            <a:avLst/>
          </a:prstGeom>
          <a:solidFill>
            <a:srgbClr val="D3114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marL="457200" indent="-342900"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spcBef>
                <a:spcPct val="20000"/>
              </a:spcBef>
              <a:buFontTx/>
              <a:buAutoNum type="arabicPeriod"/>
            </a:pPr>
            <a:endParaRPr lang="en-US" altLang="en-US" sz="1800">
              <a:solidFill>
                <a:srgbClr val="D31145"/>
              </a:solidFill>
              <a:cs typeface="Arial" panose="020B0604020202020204" pitchFamily="34" charset="0"/>
            </a:endParaRPr>
          </a:p>
        </p:txBody>
      </p:sp>
      <p:sp>
        <p:nvSpPr>
          <p:cNvPr id="1031" name="TextBox 10">
            <a:extLst>
              <a:ext uri="{FF2B5EF4-FFF2-40B4-BE49-F238E27FC236}">
                <a16:creationId xmlns:a16="http://schemas.microsoft.com/office/drawing/2014/main" id="{79C67769-75E6-420F-9852-AD1FE20AB6EB}"/>
              </a:ext>
            </a:extLst>
          </p:cNvPr>
          <p:cNvSpPr txBox="1">
            <a:spLocks noChangeArrowheads="1"/>
          </p:cNvSpPr>
          <p:nvPr/>
        </p:nvSpPr>
        <p:spPr bwMode="auto">
          <a:xfrm>
            <a:off x="353647" y="6492876"/>
            <a:ext cx="660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900">
                <a:solidFill>
                  <a:srgbClr val="58595B"/>
                </a:solidFill>
                <a:latin typeface="Arial" panose="020B0604020202020204" pitchFamily="34" charset="0"/>
                <a:ea typeface="MS PGothic" panose="020B0600070205080204" pitchFamily="34" charset="-128"/>
                <a:cs typeface="Arial" panose="020B0604020202020204" pitchFamily="34" charset="0"/>
              </a:rPr>
              <a:t>AIA confidential and proprietary information. Not for distribution. </a:t>
            </a:r>
          </a:p>
        </p:txBody>
      </p:sp>
      <p:pic>
        <p:nvPicPr>
          <p:cNvPr id="1032" name="Picture 37" descr="AIA-red-Logo-PNG">
            <a:extLst>
              <a:ext uri="{FF2B5EF4-FFF2-40B4-BE49-F238E27FC236}">
                <a16:creationId xmlns:a16="http://schemas.microsoft.com/office/drawing/2014/main" id="{B019C969-0131-43F1-BB03-AF2717C2F43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982570" y="430214"/>
            <a:ext cx="685799"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10886480"/>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Lst>
  <p:txStyles>
    <p:titleStyle>
      <a:lvl1pPr algn="l" rtl="0" eaLnBrk="1" fontAlgn="base" hangingPunct="1">
        <a:spcBef>
          <a:spcPct val="0"/>
        </a:spcBef>
        <a:spcAft>
          <a:spcPct val="0"/>
        </a:spcAft>
        <a:defRPr sz="2400" b="1" kern="1200" cap="all">
          <a:solidFill>
            <a:srgbClr val="404040"/>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2400" b="1">
          <a:solidFill>
            <a:srgbClr val="404040"/>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rgbClr val="404040"/>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rgbClr val="404040"/>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rgbClr val="404040"/>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400" b="1">
          <a:solidFill>
            <a:srgbClr val="404040"/>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400" b="1">
          <a:solidFill>
            <a:srgbClr val="404040"/>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400" b="1">
          <a:solidFill>
            <a:srgbClr val="404040"/>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400" b="1">
          <a:solidFill>
            <a:srgbClr val="404040"/>
          </a:solidFill>
          <a:latin typeface="Arial" panose="020B0604020202020204" pitchFamily="34" charset="0"/>
          <a:cs typeface="Arial" panose="020B0604020202020204" pitchFamily="34" charset="0"/>
        </a:defRPr>
      </a:lvl9pPr>
    </p:titleStyle>
    <p:bodyStyle>
      <a:lvl1pPr algn="l" rtl="0" eaLnBrk="1" fontAlgn="base" hangingPunct="1">
        <a:spcBef>
          <a:spcPct val="20000"/>
        </a:spcBef>
        <a:spcAft>
          <a:spcPct val="0"/>
        </a:spcAft>
        <a:buFont typeface="Arial" panose="020B0604020202020204" pitchFamily="34" charset="0"/>
        <a:defRPr sz="1600" kern="1200">
          <a:solidFill>
            <a:srgbClr val="595959"/>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993DA5A-B75D-5947-95CC-A9040B326F73}"/>
              </a:ext>
            </a:extLst>
          </p:cNvPr>
          <p:cNvGrpSpPr/>
          <p:nvPr/>
        </p:nvGrpSpPr>
        <p:grpSpPr>
          <a:xfrm>
            <a:off x="-1979273" y="0"/>
            <a:ext cx="1780573" cy="3386798"/>
            <a:chOff x="-1979273" y="0"/>
            <a:chExt cx="1780573" cy="3386798"/>
          </a:xfrm>
        </p:grpSpPr>
        <p:sp>
          <p:nvSpPr>
            <p:cNvPr id="3" name="Rectangle 7">
              <a:extLst>
                <a:ext uri="{FF2B5EF4-FFF2-40B4-BE49-F238E27FC236}">
                  <a16:creationId xmlns:a16="http://schemas.microsoft.com/office/drawing/2014/main" id="{96461F64-0553-2844-8572-34772FBEA421}"/>
                </a:ext>
              </a:extLst>
            </p:cNvPr>
            <p:cNvSpPr>
              <a:spLocks noChangeArrowheads="1"/>
            </p:cNvSpPr>
            <p:nvPr userDrawn="1"/>
          </p:nvSpPr>
          <p:spPr bwMode="auto">
            <a:xfrm>
              <a:off x="-1722700" y="0"/>
              <a:ext cx="1524000" cy="914400"/>
            </a:xfrm>
            <a:prstGeom prst="rect">
              <a:avLst/>
            </a:prstGeom>
            <a:solidFill>
              <a:srgbClr val="D31145"/>
            </a:solidFill>
            <a:ln w="9525">
              <a:noFill/>
              <a:miter lim="800000"/>
              <a:headEnd/>
              <a:tailEnd/>
            </a:ln>
            <a:effectLst/>
          </p:spPr>
          <p:txBody>
            <a:bodyPr wrap="none" anchor="ctr"/>
            <a:lstStyle/>
            <a:p>
              <a:pPr>
                <a:spcBef>
                  <a:spcPct val="0"/>
                </a:spcBef>
                <a:buFontTx/>
                <a:buNone/>
              </a:pPr>
              <a:r>
                <a:rPr lang="en-US" sz="1400" b="1" spc="-100" baseline="0">
                  <a:solidFill>
                    <a:srgbClr val="FFFFFF"/>
                  </a:solidFill>
                  <a:latin typeface="Arial" panose="020B0604020202020204" pitchFamily="34" charset="0"/>
                  <a:cs typeface="Arial" panose="020B0604020202020204" pitchFamily="34" charset="0"/>
                </a:rPr>
                <a:t>AIA RED</a:t>
              </a:r>
            </a:p>
            <a:p>
              <a:pPr>
                <a:spcBef>
                  <a:spcPct val="0"/>
                </a:spcBef>
                <a:buFontTx/>
                <a:buNone/>
              </a:pPr>
              <a:r>
                <a:rPr lang="en-US" sz="1400" spc="-100" baseline="0">
                  <a:solidFill>
                    <a:srgbClr val="FFFFFF"/>
                  </a:solidFill>
                  <a:latin typeface="Arial" panose="020B0604020202020204" pitchFamily="34" charset="0"/>
                  <a:cs typeface="Arial" panose="020B0604020202020204" pitchFamily="34" charset="0"/>
                </a:rPr>
                <a:t>R211 G17 B69</a:t>
              </a:r>
            </a:p>
          </p:txBody>
        </p:sp>
        <p:grpSp>
          <p:nvGrpSpPr>
            <p:cNvPr id="4" name="Group 3">
              <a:extLst>
                <a:ext uri="{FF2B5EF4-FFF2-40B4-BE49-F238E27FC236}">
                  <a16:creationId xmlns:a16="http://schemas.microsoft.com/office/drawing/2014/main" id="{FCEBEF16-F6E0-5747-83BE-86A33CAAB091}"/>
                </a:ext>
              </a:extLst>
            </p:cNvPr>
            <p:cNvGrpSpPr/>
            <p:nvPr userDrawn="1"/>
          </p:nvGrpSpPr>
          <p:grpSpPr>
            <a:xfrm>
              <a:off x="-1722700" y="990600"/>
              <a:ext cx="1524000" cy="2381247"/>
              <a:chOff x="-1676400" y="685800"/>
              <a:chExt cx="1524000" cy="2285999"/>
            </a:xfrm>
          </p:grpSpPr>
          <p:sp>
            <p:nvSpPr>
              <p:cNvPr id="6" name="Rectangle 9">
                <a:extLst>
                  <a:ext uri="{FF2B5EF4-FFF2-40B4-BE49-F238E27FC236}">
                    <a16:creationId xmlns:a16="http://schemas.microsoft.com/office/drawing/2014/main" id="{1962D269-DB81-1640-8498-C629D201D338}"/>
                  </a:ext>
                </a:extLst>
              </p:cNvPr>
              <p:cNvSpPr>
                <a:spLocks noChangeArrowheads="1"/>
              </p:cNvSpPr>
              <p:nvPr userDrawn="1"/>
            </p:nvSpPr>
            <p:spPr bwMode="auto">
              <a:xfrm>
                <a:off x="-1676400" y="685800"/>
                <a:ext cx="1524000" cy="457200"/>
              </a:xfrm>
              <a:prstGeom prst="rect">
                <a:avLst/>
              </a:prstGeom>
              <a:solidFill>
                <a:srgbClr val="000000"/>
              </a:solidFill>
              <a:ln w="9525">
                <a:noFill/>
                <a:miter lim="800000"/>
                <a:headEnd/>
                <a:tailEnd/>
              </a:ln>
              <a:effectLst/>
            </p:spPr>
            <p:txBody>
              <a:bodyPr wrap="none" anchor="ctr"/>
              <a:lstStyle/>
              <a:p>
                <a:pPr>
                  <a:spcBef>
                    <a:spcPct val="0"/>
                  </a:spcBef>
                  <a:buFontTx/>
                  <a:buNone/>
                </a:pPr>
                <a:r>
                  <a:rPr lang="en-US" sz="1400" b="1" spc="-100" baseline="0">
                    <a:solidFill>
                      <a:srgbClr val="FFFFFF"/>
                    </a:solidFill>
                    <a:latin typeface="Arial" panose="020B0604020202020204" pitchFamily="34" charset="0"/>
                    <a:cs typeface="Arial" panose="020B0604020202020204" pitchFamily="34" charset="0"/>
                  </a:rPr>
                  <a:t>AIA BLACK</a:t>
                </a:r>
              </a:p>
              <a:p>
                <a:pPr>
                  <a:spcBef>
                    <a:spcPct val="0"/>
                  </a:spcBef>
                  <a:buFontTx/>
                  <a:buNone/>
                </a:pPr>
                <a:r>
                  <a:rPr lang="en-US" sz="1400" spc="-100" baseline="0">
                    <a:solidFill>
                      <a:srgbClr val="FFFFFF"/>
                    </a:solidFill>
                    <a:latin typeface="Arial" panose="020B0604020202020204" pitchFamily="34" charset="0"/>
                    <a:cs typeface="Arial" panose="020B0604020202020204" pitchFamily="34" charset="0"/>
                  </a:rPr>
                  <a:t>R0 G0 B0</a:t>
                </a:r>
              </a:p>
            </p:txBody>
          </p:sp>
          <p:sp>
            <p:nvSpPr>
              <p:cNvPr id="7" name="Rectangle 9">
                <a:extLst>
                  <a:ext uri="{FF2B5EF4-FFF2-40B4-BE49-F238E27FC236}">
                    <a16:creationId xmlns:a16="http://schemas.microsoft.com/office/drawing/2014/main" id="{153B1556-2EA7-6443-B7D1-1440655578B8}"/>
                  </a:ext>
                </a:extLst>
              </p:cNvPr>
              <p:cNvSpPr>
                <a:spLocks noChangeArrowheads="1"/>
              </p:cNvSpPr>
              <p:nvPr userDrawn="1"/>
            </p:nvSpPr>
            <p:spPr bwMode="auto">
              <a:xfrm>
                <a:off x="-1676400" y="1143000"/>
                <a:ext cx="1524000" cy="457200"/>
              </a:xfrm>
              <a:prstGeom prst="rect">
                <a:avLst/>
              </a:prstGeom>
              <a:solidFill>
                <a:srgbClr val="464749"/>
              </a:solidFill>
              <a:ln w="9525">
                <a:noFill/>
                <a:miter lim="800000"/>
                <a:headEnd/>
                <a:tailEnd/>
              </a:ln>
              <a:effectLst/>
            </p:spPr>
            <p:txBody>
              <a:bodyPr wrap="none" anchor="ctr"/>
              <a:lstStyle/>
              <a:p>
                <a:pPr>
                  <a:spcBef>
                    <a:spcPct val="0"/>
                  </a:spcBef>
                  <a:buFontTx/>
                  <a:buNone/>
                </a:pPr>
                <a:r>
                  <a:rPr lang="en-US" sz="1400" b="1" spc="-100" baseline="0">
                    <a:solidFill>
                      <a:srgbClr val="FFFFFF"/>
                    </a:solidFill>
                    <a:latin typeface="Arial" panose="020B0604020202020204" pitchFamily="34" charset="0"/>
                    <a:cs typeface="Arial" panose="020B0604020202020204" pitchFamily="34" charset="0"/>
                  </a:rPr>
                  <a:t>AIA K80 GREY</a:t>
                </a:r>
              </a:p>
              <a:p>
                <a:pPr>
                  <a:spcBef>
                    <a:spcPct val="0"/>
                  </a:spcBef>
                  <a:buFontTx/>
                  <a:buNone/>
                </a:pPr>
                <a:r>
                  <a:rPr lang="en-US" sz="1400" spc="-100" baseline="0">
                    <a:solidFill>
                      <a:srgbClr val="FFFFFF"/>
                    </a:solidFill>
                    <a:latin typeface="Arial" panose="020B0604020202020204" pitchFamily="34" charset="0"/>
                    <a:cs typeface="Arial" panose="020B0604020202020204" pitchFamily="34" charset="0"/>
                  </a:rPr>
                  <a:t>R88 G88 B88</a:t>
                </a:r>
              </a:p>
            </p:txBody>
          </p:sp>
          <p:sp>
            <p:nvSpPr>
              <p:cNvPr id="8" name="Rectangle 9">
                <a:extLst>
                  <a:ext uri="{FF2B5EF4-FFF2-40B4-BE49-F238E27FC236}">
                    <a16:creationId xmlns:a16="http://schemas.microsoft.com/office/drawing/2014/main" id="{93D5D3B0-07E3-4C4A-A54A-0E84481D1FD5}"/>
                  </a:ext>
                </a:extLst>
              </p:cNvPr>
              <p:cNvSpPr>
                <a:spLocks noChangeArrowheads="1"/>
              </p:cNvSpPr>
              <p:nvPr userDrawn="1"/>
            </p:nvSpPr>
            <p:spPr bwMode="auto">
              <a:xfrm>
                <a:off x="-1676400" y="1600200"/>
                <a:ext cx="1524000" cy="457200"/>
              </a:xfrm>
              <a:prstGeom prst="rect">
                <a:avLst/>
              </a:prstGeom>
              <a:solidFill>
                <a:srgbClr val="878787"/>
              </a:solidFill>
              <a:ln w="9525">
                <a:noFill/>
                <a:miter lim="800000"/>
                <a:headEnd/>
                <a:tailEnd/>
              </a:ln>
              <a:effectLst/>
            </p:spPr>
            <p:txBody>
              <a:bodyPr wrap="none" anchor="ctr"/>
              <a:lstStyle/>
              <a:p>
                <a:pPr>
                  <a:spcBef>
                    <a:spcPct val="0"/>
                  </a:spcBef>
                  <a:buFontTx/>
                  <a:buNone/>
                </a:pPr>
                <a:r>
                  <a:rPr lang="en-US" sz="1400" b="1" spc="-100" baseline="0">
                    <a:solidFill>
                      <a:srgbClr val="FFFFFF"/>
                    </a:solidFill>
                    <a:latin typeface="Arial" panose="020B0604020202020204" pitchFamily="34" charset="0"/>
                    <a:cs typeface="Arial" panose="020B0604020202020204" pitchFamily="34" charset="0"/>
                  </a:rPr>
                  <a:t>AIA K60 GREY</a:t>
                </a:r>
              </a:p>
              <a:p>
                <a:pPr>
                  <a:spcBef>
                    <a:spcPct val="0"/>
                  </a:spcBef>
                  <a:buFontTx/>
                  <a:buNone/>
                </a:pPr>
                <a:r>
                  <a:rPr lang="en-US" sz="1400" spc="-100" baseline="0">
                    <a:solidFill>
                      <a:srgbClr val="FFFFFF"/>
                    </a:solidFill>
                    <a:latin typeface="Arial" panose="020B0604020202020204" pitchFamily="34" charset="0"/>
                    <a:cs typeface="Arial" panose="020B0604020202020204" pitchFamily="34" charset="0"/>
                  </a:rPr>
                  <a:t>R135 G135 B135</a:t>
                </a:r>
              </a:p>
            </p:txBody>
          </p:sp>
          <p:sp>
            <p:nvSpPr>
              <p:cNvPr id="9" name="Rectangle 9">
                <a:extLst>
                  <a:ext uri="{FF2B5EF4-FFF2-40B4-BE49-F238E27FC236}">
                    <a16:creationId xmlns:a16="http://schemas.microsoft.com/office/drawing/2014/main" id="{238E0E97-51CD-044A-9AD6-228657A5BB74}"/>
                  </a:ext>
                </a:extLst>
              </p:cNvPr>
              <p:cNvSpPr>
                <a:spLocks noChangeArrowheads="1"/>
              </p:cNvSpPr>
              <p:nvPr userDrawn="1"/>
            </p:nvSpPr>
            <p:spPr bwMode="auto">
              <a:xfrm>
                <a:off x="-1676400" y="2057400"/>
                <a:ext cx="1524000" cy="457200"/>
              </a:xfrm>
              <a:prstGeom prst="rect">
                <a:avLst/>
              </a:prstGeom>
              <a:solidFill>
                <a:srgbClr val="B4B4B4"/>
              </a:solidFill>
              <a:ln w="9525">
                <a:noFill/>
                <a:miter lim="800000"/>
                <a:headEnd/>
                <a:tailEnd/>
              </a:ln>
              <a:effectLst/>
            </p:spPr>
            <p:txBody>
              <a:bodyPr wrap="none" anchor="ctr"/>
              <a:lstStyle/>
              <a:p>
                <a:pPr>
                  <a:spcBef>
                    <a:spcPct val="0"/>
                  </a:spcBef>
                  <a:buFontTx/>
                  <a:buNone/>
                </a:pPr>
                <a:r>
                  <a:rPr lang="en-US" sz="1400" b="1" spc="-100" baseline="0">
                    <a:solidFill>
                      <a:srgbClr val="FFFFFF"/>
                    </a:solidFill>
                    <a:latin typeface="Arial" panose="020B0604020202020204" pitchFamily="34" charset="0"/>
                    <a:cs typeface="Arial" panose="020B0604020202020204" pitchFamily="34" charset="0"/>
                  </a:rPr>
                  <a:t>AIA K40 GREY</a:t>
                </a:r>
              </a:p>
              <a:p>
                <a:pPr>
                  <a:spcBef>
                    <a:spcPct val="0"/>
                  </a:spcBef>
                  <a:buFontTx/>
                  <a:buNone/>
                </a:pPr>
                <a:r>
                  <a:rPr lang="en-US" sz="1400" spc="-100" baseline="0">
                    <a:solidFill>
                      <a:srgbClr val="FFFFFF"/>
                    </a:solidFill>
                    <a:latin typeface="Arial" panose="020B0604020202020204" pitchFamily="34" charset="0"/>
                    <a:cs typeface="Arial" panose="020B0604020202020204" pitchFamily="34" charset="0"/>
                  </a:rPr>
                  <a:t>R180 G180 B180</a:t>
                </a:r>
              </a:p>
            </p:txBody>
          </p:sp>
          <p:sp>
            <p:nvSpPr>
              <p:cNvPr id="10" name="Rectangle 9">
                <a:extLst>
                  <a:ext uri="{FF2B5EF4-FFF2-40B4-BE49-F238E27FC236}">
                    <a16:creationId xmlns:a16="http://schemas.microsoft.com/office/drawing/2014/main" id="{B7563E8C-D255-EF47-AD1C-CD734ACE1C76}"/>
                  </a:ext>
                </a:extLst>
              </p:cNvPr>
              <p:cNvSpPr>
                <a:spLocks noChangeArrowheads="1"/>
              </p:cNvSpPr>
              <p:nvPr userDrawn="1"/>
            </p:nvSpPr>
            <p:spPr bwMode="auto">
              <a:xfrm>
                <a:off x="-1676400" y="2514599"/>
                <a:ext cx="1524000" cy="457200"/>
              </a:xfrm>
              <a:prstGeom prst="rect">
                <a:avLst/>
              </a:prstGeom>
              <a:solidFill>
                <a:srgbClr val="DADADA"/>
              </a:solidFill>
              <a:ln w="9525">
                <a:noFill/>
                <a:miter lim="800000"/>
                <a:headEnd/>
                <a:tailEnd/>
              </a:ln>
              <a:effectLst/>
            </p:spPr>
            <p:txBody>
              <a:bodyPr wrap="none" anchor="ctr"/>
              <a:lstStyle/>
              <a:p>
                <a:pPr>
                  <a:spcBef>
                    <a:spcPct val="0"/>
                  </a:spcBef>
                  <a:buFontTx/>
                  <a:buNone/>
                </a:pPr>
                <a:r>
                  <a:rPr lang="en-US" sz="1400" b="1" spc="-100" baseline="0">
                    <a:solidFill>
                      <a:srgbClr val="585858"/>
                    </a:solidFill>
                    <a:latin typeface="Arial" panose="020B0604020202020204" pitchFamily="34" charset="0"/>
                    <a:cs typeface="Arial" panose="020B0604020202020204" pitchFamily="34" charset="0"/>
                  </a:rPr>
                  <a:t>AIA K20 GREY</a:t>
                </a:r>
              </a:p>
              <a:p>
                <a:pPr>
                  <a:spcBef>
                    <a:spcPct val="0"/>
                  </a:spcBef>
                  <a:buFontTx/>
                  <a:buNone/>
                </a:pPr>
                <a:r>
                  <a:rPr lang="en-US" sz="1400" spc="-100" baseline="0">
                    <a:solidFill>
                      <a:srgbClr val="FFFFFF"/>
                    </a:solidFill>
                    <a:latin typeface="Arial" panose="020B0604020202020204" pitchFamily="34" charset="0"/>
                    <a:cs typeface="Arial" panose="020B0604020202020204" pitchFamily="34" charset="0"/>
                  </a:rPr>
                  <a:t>R218 G218 B218</a:t>
                </a:r>
              </a:p>
            </p:txBody>
          </p:sp>
        </p:grpSp>
        <p:sp>
          <p:nvSpPr>
            <p:cNvPr id="5" name="TextBox 4">
              <a:extLst>
                <a:ext uri="{FF2B5EF4-FFF2-40B4-BE49-F238E27FC236}">
                  <a16:creationId xmlns:a16="http://schemas.microsoft.com/office/drawing/2014/main" id="{2B237582-8291-8A4B-B38B-582CEC8C15A3}"/>
                </a:ext>
              </a:extLst>
            </p:cNvPr>
            <p:cNvSpPr txBox="1"/>
            <p:nvPr userDrawn="1"/>
          </p:nvSpPr>
          <p:spPr>
            <a:xfrm>
              <a:off x="-1979273" y="1"/>
              <a:ext cx="256573" cy="3386797"/>
            </a:xfrm>
            <a:prstGeom prst="rect">
              <a:avLst/>
            </a:prstGeom>
            <a:noFill/>
          </p:spPr>
          <p:txBody>
            <a:bodyPr vert="vert270" wrap="square" lIns="0" tIns="0" rIns="0" bIns="0" rtlCol="0">
              <a:noAutofit/>
            </a:bodyPr>
            <a:lstStyle/>
            <a:p>
              <a:pPr algn="r">
                <a:lnSpc>
                  <a:spcPct val="80000"/>
                </a:lnSpc>
              </a:pPr>
              <a:r>
                <a:rPr lang="en-US" b="1" i="0">
                  <a:solidFill>
                    <a:srgbClr val="585858"/>
                  </a:solidFill>
                  <a:latin typeface="Arial" panose="020B0604020202020204" pitchFamily="34" charset="0"/>
                  <a:cs typeface="Arial" panose="020B0604020202020204" pitchFamily="34" charset="0"/>
                </a:rPr>
                <a:t>CORE COLOURS</a:t>
              </a:r>
            </a:p>
          </p:txBody>
        </p:sp>
      </p:grpSp>
      <p:grpSp>
        <p:nvGrpSpPr>
          <p:cNvPr id="90" name="Group 89">
            <a:extLst>
              <a:ext uri="{FF2B5EF4-FFF2-40B4-BE49-F238E27FC236}">
                <a16:creationId xmlns:a16="http://schemas.microsoft.com/office/drawing/2014/main" id="{E42899CD-9C97-F545-BE35-570273635CAF}"/>
              </a:ext>
            </a:extLst>
          </p:cNvPr>
          <p:cNvGrpSpPr/>
          <p:nvPr/>
        </p:nvGrpSpPr>
        <p:grpSpPr>
          <a:xfrm>
            <a:off x="-5767740" y="0"/>
            <a:ext cx="3465264" cy="3943349"/>
            <a:chOff x="-5767740" y="0"/>
            <a:chExt cx="3465264" cy="3943349"/>
          </a:xfrm>
        </p:grpSpPr>
        <p:grpSp>
          <p:nvGrpSpPr>
            <p:cNvPr id="54" name="Group 53">
              <a:extLst>
                <a:ext uri="{FF2B5EF4-FFF2-40B4-BE49-F238E27FC236}">
                  <a16:creationId xmlns:a16="http://schemas.microsoft.com/office/drawing/2014/main" id="{92887F9A-77C1-914C-82AF-DD8E5A120D5D}"/>
                </a:ext>
              </a:extLst>
            </p:cNvPr>
            <p:cNvGrpSpPr/>
            <p:nvPr userDrawn="1"/>
          </p:nvGrpSpPr>
          <p:grpSpPr>
            <a:xfrm>
              <a:off x="-5490741" y="0"/>
              <a:ext cx="1548000" cy="914399"/>
              <a:chOff x="-5490741" y="0"/>
              <a:chExt cx="1548000" cy="914399"/>
            </a:xfrm>
          </p:grpSpPr>
          <p:sp>
            <p:nvSpPr>
              <p:cNvPr id="49" name="Rectangle 18">
                <a:extLst>
                  <a:ext uri="{FF2B5EF4-FFF2-40B4-BE49-F238E27FC236}">
                    <a16:creationId xmlns:a16="http://schemas.microsoft.com/office/drawing/2014/main" id="{70E5D9A3-0CAD-8346-9CD9-6E702973848B}"/>
                  </a:ext>
                </a:extLst>
              </p:cNvPr>
              <p:cNvSpPr>
                <a:spLocks noChangeArrowheads="1"/>
              </p:cNvSpPr>
              <p:nvPr userDrawn="1"/>
            </p:nvSpPr>
            <p:spPr bwMode="auto">
              <a:xfrm>
                <a:off x="-5490741" y="0"/>
                <a:ext cx="1548000" cy="636608"/>
              </a:xfrm>
              <a:prstGeom prst="rect">
                <a:avLst/>
              </a:prstGeom>
              <a:solidFill>
                <a:srgbClr val="87027B"/>
              </a:solidFill>
              <a:ln w="9525">
                <a:noFill/>
                <a:miter lim="800000"/>
                <a:headEnd/>
                <a:tailEnd/>
              </a:ln>
              <a:effectLst/>
            </p:spPr>
            <p:txBody>
              <a:bodyPr wrap="none" anchor="ctr"/>
              <a:lstStyle/>
              <a:p>
                <a:pPr>
                  <a:spcBef>
                    <a:spcPct val="0"/>
                  </a:spcBef>
                  <a:buFontTx/>
                  <a:buNone/>
                </a:pPr>
                <a:r>
                  <a:rPr lang="en-US" sz="1400" b="1" i="0" spc="-100" baseline="0">
                    <a:solidFill>
                      <a:schemeClr val="bg1"/>
                    </a:solidFill>
                    <a:latin typeface="Arial" panose="020B0604020202020204" pitchFamily="34" charset="0"/>
                    <a:cs typeface="Arial" panose="020B0604020202020204" pitchFamily="34" charset="0"/>
                  </a:rPr>
                  <a:t>AIA PURPLE</a:t>
                </a:r>
              </a:p>
              <a:p>
                <a:pPr>
                  <a:spcBef>
                    <a:spcPct val="0"/>
                  </a:spcBef>
                  <a:buFontTx/>
                  <a:buNone/>
                </a:pPr>
                <a:r>
                  <a:rPr lang="en-US" sz="1400" spc="-100" baseline="0">
                    <a:solidFill>
                      <a:schemeClr val="bg1"/>
                    </a:solidFill>
                    <a:latin typeface="Arial" panose="020B0604020202020204" pitchFamily="34" charset="0"/>
                    <a:cs typeface="Arial" panose="020B0604020202020204" pitchFamily="34" charset="0"/>
                  </a:rPr>
                  <a:t>R248 G152 B32</a:t>
                </a:r>
              </a:p>
            </p:txBody>
          </p:sp>
          <p:sp>
            <p:nvSpPr>
              <p:cNvPr id="50" name="Rectangle 19">
                <a:extLst>
                  <a:ext uri="{FF2B5EF4-FFF2-40B4-BE49-F238E27FC236}">
                    <a16:creationId xmlns:a16="http://schemas.microsoft.com/office/drawing/2014/main" id="{0C7471DA-BFA1-1641-84A8-D6943608393B}"/>
                  </a:ext>
                </a:extLst>
              </p:cNvPr>
              <p:cNvSpPr>
                <a:spLocks noChangeArrowheads="1"/>
              </p:cNvSpPr>
              <p:nvPr userDrawn="1"/>
            </p:nvSpPr>
            <p:spPr bwMode="auto">
              <a:xfrm>
                <a:off x="-5490741" y="636608"/>
                <a:ext cx="514590" cy="277791"/>
              </a:xfrm>
              <a:prstGeom prst="rect">
                <a:avLst/>
              </a:prstGeom>
              <a:solidFill>
                <a:srgbClr val="87027B">
                  <a:alpha val="2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20%</a:t>
                </a:r>
              </a:p>
            </p:txBody>
          </p:sp>
          <p:sp>
            <p:nvSpPr>
              <p:cNvPr id="51" name="Rectangle 20">
                <a:extLst>
                  <a:ext uri="{FF2B5EF4-FFF2-40B4-BE49-F238E27FC236}">
                    <a16:creationId xmlns:a16="http://schemas.microsoft.com/office/drawing/2014/main" id="{64D947EE-A141-6F4B-81A0-DA23A84EC812}"/>
                  </a:ext>
                </a:extLst>
              </p:cNvPr>
              <p:cNvSpPr>
                <a:spLocks noChangeArrowheads="1"/>
              </p:cNvSpPr>
              <p:nvPr userDrawn="1"/>
            </p:nvSpPr>
            <p:spPr bwMode="auto">
              <a:xfrm>
                <a:off x="-4974036" y="636608"/>
                <a:ext cx="514590" cy="277791"/>
              </a:xfrm>
              <a:prstGeom prst="rect">
                <a:avLst/>
              </a:prstGeom>
              <a:solidFill>
                <a:srgbClr val="87027B">
                  <a:alpha val="5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50%</a:t>
                </a:r>
              </a:p>
            </p:txBody>
          </p:sp>
          <p:sp>
            <p:nvSpPr>
              <p:cNvPr id="53" name="Rectangle 22">
                <a:extLst>
                  <a:ext uri="{FF2B5EF4-FFF2-40B4-BE49-F238E27FC236}">
                    <a16:creationId xmlns:a16="http://schemas.microsoft.com/office/drawing/2014/main" id="{866D182C-1961-4645-BDF5-4D0D594BE9B7}"/>
                  </a:ext>
                </a:extLst>
              </p:cNvPr>
              <p:cNvSpPr>
                <a:spLocks noChangeArrowheads="1"/>
              </p:cNvSpPr>
              <p:nvPr userDrawn="1"/>
            </p:nvSpPr>
            <p:spPr bwMode="auto">
              <a:xfrm>
                <a:off x="-4457331" y="636608"/>
                <a:ext cx="514590" cy="277791"/>
              </a:xfrm>
              <a:prstGeom prst="rect">
                <a:avLst/>
              </a:prstGeom>
              <a:solidFill>
                <a:srgbClr val="87027B">
                  <a:alpha val="8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80%</a:t>
                </a:r>
              </a:p>
            </p:txBody>
          </p:sp>
        </p:grpSp>
        <p:sp>
          <p:nvSpPr>
            <p:cNvPr id="13" name="TextBox 12">
              <a:extLst>
                <a:ext uri="{FF2B5EF4-FFF2-40B4-BE49-F238E27FC236}">
                  <a16:creationId xmlns:a16="http://schemas.microsoft.com/office/drawing/2014/main" id="{6FD917D9-6011-1C43-8E0A-CC42D9642373}"/>
                </a:ext>
              </a:extLst>
            </p:cNvPr>
            <p:cNvSpPr txBox="1"/>
            <p:nvPr userDrawn="1"/>
          </p:nvSpPr>
          <p:spPr>
            <a:xfrm rot="16200000">
              <a:off x="-7069565" y="1316777"/>
              <a:ext cx="2880647" cy="276997"/>
            </a:xfrm>
            <a:prstGeom prst="rect">
              <a:avLst/>
            </a:prstGeom>
            <a:noFill/>
          </p:spPr>
          <p:txBody>
            <a:bodyPr wrap="square" lIns="0" tIns="0" rIns="0" bIns="0" rtlCol="0">
              <a:noAutofit/>
            </a:bodyPr>
            <a:lstStyle/>
            <a:p>
              <a:pPr algn="r">
                <a:lnSpc>
                  <a:spcPct val="80000"/>
                </a:lnSpc>
              </a:pPr>
              <a:r>
                <a:rPr lang="en-US" b="1" i="0">
                  <a:solidFill>
                    <a:srgbClr val="585858"/>
                  </a:solidFill>
                  <a:latin typeface="Arial" panose="020B0604020202020204" pitchFamily="34" charset="0"/>
                  <a:cs typeface="Arial" panose="020B0604020202020204" pitchFamily="34" charset="0"/>
                </a:rPr>
                <a:t>SUPPORTING COLOURS</a:t>
              </a:r>
            </a:p>
          </p:txBody>
        </p:sp>
        <p:grpSp>
          <p:nvGrpSpPr>
            <p:cNvPr id="55" name="Group 54">
              <a:extLst>
                <a:ext uri="{FF2B5EF4-FFF2-40B4-BE49-F238E27FC236}">
                  <a16:creationId xmlns:a16="http://schemas.microsoft.com/office/drawing/2014/main" id="{AF52DC75-0BA4-4144-99DC-9E542AC0392D}"/>
                </a:ext>
              </a:extLst>
            </p:cNvPr>
            <p:cNvGrpSpPr/>
            <p:nvPr userDrawn="1"/>
          </p:nvGrpSpPr>
          <p:grpSpPr>
            <a:xfrm>
              <a:off x="-5490741" y="1009650"/>
              <a:ext cx="1548000" cy="914399"/>
              <a:chOff x="-5490741" y="0"/>
              <a:chExt cx="1548000" cy="914399"/>
            </a:xfrm>
          </p:grpSpPr>
          <p:sp>
            <p:nvSpPr>
              <p:cNvPr id="56" name="Rectangle 18">
                <a:extLst>
                  <a:ext uri="{FF2B5EF4-FFF2-40B4-BE49-F238E27FC236}">
                    <a16:creationId xmlns:a16="http://schemas.microsoft.com/office/drawing/2014/main" id="{00FA6FED-122F-4043-B135-5F0F253B449E}"/>
                  </a:ext>
                </a:extLst>
              </p:cNvPr>
              <p:cNvSpPr>
                <a:spLocks noChangeArrowheads="1"/>
              </p:cNvSpPr>
              <p:nvPr userDrawn="1"/>
            </p:nvSpPr>
            <p:spPr bwMode="auto">
              <a:xfrm>
                <a:off x="-5490741" y="0"/>
                <a:ext cx="1548000" cy="636608"/>
              </a:xfrm>
              <a:prstGeom prst="rect">
                <a:avLst/>
              </a:prstGeom>
              <a:solidFill>
                <a:srgbClr val="E35205"/>
              </a:solidFill>
              <a:ln w="9525">
                <a:noFill/>
                <a:miter lim="800000"/>
                <a:headEnd/>
                <a:tailEnd/>
              </a:ln>
              <a:effectLst/>
            </p:spPr>
            <p:txBody>
              <a:bodyPr wrap="none" anchor="ctr"/>
              <a:lstStyle/>
              <a:p>
                <a:pPr>
                  <a:spcBef>
                    <a:spcPct val="0"/>
                  </a:spcBef>
                  <a:buFontTx/>
                  <a:buNone/>
                </a:pPr>
                <a:r>
                  <a:rPr lang="en-US" sz="1400" b="1" i="0" spc="-100" baseline="0">
                    <a:solidFill>
                      <a:schemeClr val="bg1"/>
                    </a:solidFill>
                    <a:latin typeface="Arial" panose="020B0604020202020204" pitchFamily="34" charset="0"/>
                    <a:cs typeface="Arial" panose="020B0604020202020204" pitchFamily="34" charset="0"/>
                  </a:rPr>
                  <a:t>AIA ORANGE</a:t>
                </a:r>
              </a:p>
              <a:p>
                <a:pPr>
                  <a:spcBef>
                    <a:spcPct val="0"/>
                  </a:spcBef>
                  <a:buFontTx/>
                  <a:buNone/>
                </a:pPr>
                <a:r>
                  <a:rPr lang="en-US" sz="1400" spc="-100" baseline="0">
                    <a:solidFill>
                      <a:schemeClr val="bg1"/>
                    </a:solidFill>
                    <a:latin typeface="Arial" panose="020B0604020202020204" pitchFamily="34" charset="0"/>
                    <a:cs typeface="Arial" panose="020B0604020202020204" pitchFamily="34" charset="0"/>
                  </a:rPr>
                  <a:t>R227 G82 B5</a:t>
                </a:r>
              </a:p>
            </p:txBody>
          </p:sp>
          <p:sp>
            <p:nvSpPr>
              <p:cNvPr id="57" name="Rectangle 19">
                <a:extLst>
                  <a:ext uri="{FF2B5EF4-FFF2-40B4-BE49-F238E27FC236}">
                    <a16:creationId xmlns:a16="http://schemas.microsoft.com/office/drawing/2014/main" id="{0CD77A76-3156-5240-9DDE-0A377976F3B9}"/>
                  </a:ext>
                </a:extLst>
              </p:cNvPr>
              <p:cNvSpPr>
                <a:spLocks noChangeArrowheads="1"/>
              </p:cNvSpPr>
              <p:nvPr userDrawn="1"/>
            </p:nvSpPr>
            <p:spPr bwMode="auto">
              <a:xfrm>
                <a:off x="-5490741" y="636608"/>
                <a:ext cx="514590" cy="277791"/>
              </a:xfrm>
              <a:prstGeom prst="rect">
                <a:avLst/>
              </a:prstGeom>
              <a:solidFill>
                <a:srgbClr val="E35205">
                  <a:alpha val="2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20%</a:t>
                </a:r>
              </a:p>
            </p:txBody>
          </p:sp>
          <p:sp>
            <p:nvSpPr>
              <p:cNvPr id="58" name="Rectangle 20">
                <a:extLst>
                  <a:ext uri="{FF2B5EF4-FFF2-40B4-BE49-F238E27FC236}">
                    <a16:creationId xmlns:a16="http://schemas.microsoft.com/office/drawing/2014/main" id="{E2FF07E4-E93D-D942-A054-7F4111903FBF}"/>
                  </a:ext>
                </a:extLst>
              </p:cNvPr>
              <p:cNvSpPr>
                <a:spLocks noChangeArrowheads="1"/>
              </p:cNvSpPr>
              <p:nvPr userDrawn="1"/>
            </p:nvSpPr>
            <p:spPr bwMode="auto">
              <a:xfrm>
                <a:off x="-4974036" y="636608"/>
                <a:ext cx="514590" cy="277791"/>
              </a:xfrm>
              <a:prstGeom prst="rect">
                <a:avLst/>
              </a:prstGeom>
              <a:solidFill>
                <a:srgbClr val="E35205">
                  <a:alpha val="5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50%</a:t>
                </a:r>
              </a:p>
            </p:txBody>
          </p:sp>
          <p:sp>
            <p:nvSpPr>
              <p:cNvPr id="59" name="Rectangle 22">
                <a:extLst>
                  <a:ext uri="{FF2B5EF4-FFF2-40B4-BE49-F238E27FC236}">
                    <a16:creationId xmlns:a16="http://schemas.microsoft.com/office/drawing/2014/main" id="{B990FE46-253E-6F4B-ACE7-A5904B5094CB}"/>
                  </a:ext>
                </a:extLst>
              </p:cNvPr>
              <p:cNvSpPr>
                <a:spLocks noChangeArrowheads="1"/>
              </p:cNvSpPr>
              <p:nvPr userDrawn="1"/>
            </p:nvSpPr>
            <p:spPr bwMode="auto">
              <a:xfrm>
                <a:off x="-4457331" y="636608"/>
                <a:ext cx="514590" cy="277791"/>
              </a:xfrm>
              <a:prstGeom prst="rect">
                <a:avLst/>
              </a:prstGeom>
              <a:solidFill>
                <a:srgbClr val="E35205">
                  <a:alpha val="8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80%</a:t>
                </a:r>
              </a:p>
            </p:txBody>
          </p:sp>
        </p:grpSp>
        <p:grpSp>
          <p:nvGrpSpPr>
            <p:cNvPr id="60" name="Group 59">
              <a:extLst>
                <a:ext uri="{FF2B5EF4-FFF2-40B4-BE49-F238E27FC236}">
                  <a16:creationId xmlns:a16="http://schemas.microsoft.com/office/drawing/2014/main" id="{1FB4CF41-1929-A942-BC73-7EC417475E7D}"/>
                </a:ext>
              </a:extLst>
            </p:cNvPr>
            <p:cNvGrpSpPr/>
            <p:nvPr userDrawn="1"/>
          </p:nvGrpSpPr>
          <p:grpSpPr>
            <a:xfrm>
              <a:off x="-5490741" y="2019300"/>
              <a:ext cx="1548000" cy="914399"/>
              <a:chOff x="-5490741" y="0"/>
              <a:chExt cx="1548000" cy="914399"/>
            </a:xfrm>
          </p:grpSpPr>
          <p:sp>
            <p:nvSpPr>
              <p:cNvPr id="61" name="Rectangle 18">
                <a:extLst>
                  <a:ext uri="{FF2B5EF4-FFF2-40B4-BE49-F238E27FC236}">
                    <a16:creationId xmlns:a16="http://schemas.microsoft.com/office/drawing/2014/main" id="{80321491-A990-3541-BCE8-982CC164C26D}"/>
                  </a:ext>
                </a:extLst>
              </p:cNvPr>
              <p:cNvSpPr>
                <a:spLocks noChangeArrowheads="1"/>
              </p:cNvSpPr>
              <p:nvPr userDrawn="1"/>
            </p:nvSpPr>
            <p:spPr bwMode="auto">
              <a:xfrm>
                <a:off x="-5490741" y="0"/>
                <a:ext cx="1548000" cy="636608"/>
              </a:xfrm>
              <a:prstGeom prst="rect">
                <a:avLst/>
              </a:prstGeom>
              <a:solidFill>
                <a:srgbClr val="F1C400"/>
              </a:solidFill>
              <a:ln w="9525">
                <a:noFill/>
                <a:miter lim="800000"/>
                <a:headEnd/>
                <a:tailEnd/>
              </a:ln>
              <a:effectLst/>
            </p:spPr>
            <p:txBody>
              <a:bodyPr wrap="none" anchor="ctr"/>
              <a:lstStyle/>
              <a:p>
                <a:pPr>
                  <a:spcBef>
                    <a:spcPct val="0"/>
                  </a:spcBef>
                  <a:buFontTx/>
                  <a:buNone/>
                </a:pPr>
                <a:r>
                  <a:rPr lang="en-US" sz="1400" b="1" i="0" spc="-100" baseline="0">
                    <a:solidFill>
                      <a:schemeClr val="bg1"/>
                    </a:solidFill>
                    <a:latin typeface="Arial" panose="020B0604020202020204" pitchFamily="34" charset="0"/>
                    <a:cs typeface="Arial" panose="020B0604020202020204" pitchFamily="34" charset="0"/>
                  </a:rPr>
                  <a:t>AIA YELLOW</a:t>
                </a:r>
              </a:p>
              <a:p>
                <a:pPr>
                  <a:spcBef>
                    <a:spcPct val="0"/>
                  </a:spcBef>
                  <a:buFontTx/>
                  <a:buNone/>
                </a:pPr>
                <a:r>
                  <a:rPr lang="en-US" sz="1400" spc="-100" baseline="0">
                    <a:solidFill>
                      <a:schemeClr val="bg1"/>
                    </a:solidFill>
                    <a:latin typeface="Arial" panose="020B0604020202020204" pitchFamily="34" charset="0"/>
                    <a:cs typeface="Arial" panose="020B0604020202020204" pitchFamily="34" charset="0"/>
                  </a:rPr>
                  <a:t>R241 G196 B0</a:t>
                </a:r>
              </a:p>
            </p:txBody>
          </p:sp>
          <p:sp>
            <p:nvSpPr>
              <p:cNvPr id="62" name="Rectangle 19">
                <a:extLst>
                  <a:ext uri="{FF2B5EF4-FFF2-40B4-BE49-F238E27FC236}">
                    <a16:creationId xmlns:a16="http://schemas.microsoft.com/office/drawing/2014/main" id="{E16214E5-05BC-CC47-A4B9-44B1DFE65A75}"/>
                  </a:ext>
                </a:extLst>
              </p:cNvPr>
              <p:cNvSpPr>
                <a:spLocks noChangeArrowheads="1"/>
              </p:cNvSpPr>
              <p:nvPr userDrawn="1"/>
            </p:nvSpPr>
            <p:spPr bwMode="auto">
              <a:xfrm>
                <a:off x="-5490741" y="636608"/>
                <a:ext cx="514590" cy="277791"/>
              </a:xfrm>
              <a:prstGeom prst="rect">
                <a:avLst/>
              </a:prstGeom>
              <a:solidFill>
                <a:srgbClr val="F1C400">
                  <a:alpha val="2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20%</a:t>
                </a:r>
              </a:p>
            </p:txBody>
          </p:sp>
          <p:sp>
            <p:nvSpPr>
              <p:cNvPr id="63" name="Rectangle 20">
                <a:extLst>
                  <a:ext uri="{FF2B5EF4-FFF2-40B4-BE49-F238E27FC236}">
                    <a16:creationId xmlns:a16="http://schemas.microsoft.com/office/drawing/2014/main" id="{D523C1B6-D858-7A47-A190-991C48260C1C}"/>
                  </a:ext>
                </a:extLst>
              </p:cNvPr>
              <p:cNvSpPr>
                <a:spLocks noChangeArrowheads="1"/>
              </p:cNvSpPr>
              <p:nvPr userDrawn="1"/>
            </p:nvSpPr>
            <p:spPr bwMode="auto">
              <a:xfrm>
                <a:off x="-4974036" y="636608"/>
                <a:ext cx="514590" cy="277791"/>
              </a:xfrm>
              <a:prstGeom prst="rect">
                <a:avLst/>
              </a:prstGeom>
              <a:solidFill>
                <a:srgbClr val="F1C400">
                  <a:alpha val="5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50%</a:t>
                </a:r>
              </a:p>
            </p:txBody>
          </p:sp>
          <p:sp>
            <p:nvSpPr>
              <p:cNvPr id="64" name="Rectangle 22">
                <a:extLst>
                  <a:ext uri="{FF2B5EF4-FFF2-40B4-BE49-F238E27FC236}">
                    <a16:creationId xmlns:a16="http://schemas.microsoft.com/office/drawing/2014/main" id="{CAD57CBF-5919-4A42-BD91-E09DAE2E0A07}"/>
                  </a:ext>
                </a:extLst>
              </p:cNvPr>
              <p:cNvSpPr>
                <a:spLocks noChangeArrowheads="1"/>
              </p:cNvSpPr>
              <p:nvPr userDrawn="1"/>
            </p:nvSpPr>
            <p:spPr bwMode="auto">
              <a:xfrm>
                <a:off x="-4457331" y="636608"/>
                <a:ext cx="514590" cy="277791"/>
              </a:xfrm>
              <a:prstGeom prst="rect">
                <a:avLst/>
              </a:prstGeom>
              <a:solidFill>
                <a:srgbClr val="F1C400">
                  <a:alpha val="8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80%</a:t>
                </a:r>
              </a:p>
            </p:txBody>
          </p:sp>
        </p:grpSp>
        <p:grpSp>
          <p:nvGrpSpPr>
            <p:cNvPr id="65" name="Group 64">
              <a:extLst>
                <a:ext uri="{FF2B5EF4-FFF2-40B4-BE49-F238E27FC236}">
                  <a16:creationId xmlns:a16="http://schemas.microsoft.com/office/drawing/2014/main" id="{0F01F12D-B01D-A549-899E-300867DAF601}"/>
                </a:ext>
              </a:extLst>
            </p:cNvPr>
            <p:cNvGrpSpPr/>
            <p:nvPr userDrawn="1"/>
          </p:nvGrpSpPr>
          <p:grpSpPr>
            <a:xfrm>
              <a:off x="-5490741" y="3028950"/>
              <a:ext cx="1548000" cy="914399"/>
              <a:chOff x="-5490741" y="0"/>
              <a:chExt cx="1548000" cy="914399"/>
            </a:xfrm>
          </p:grpSpPr>
          <p:sp>
            <p:nvSpPr>
              <p:cNvPr id="66" name="Rectangle 18">
                <a:extLst>
                  <a:ext uri="{FF2B5EF4-FFF2-40B4-BE49-F238E27FC236}">
                    <a16:creationId xmlns:a16="http://schemas.microsoft.com/office/drawing/2014/main" id="{823A118D-A72C-6542-B7ED-13DFEEFF0C32}"/>
                  </a:ext>
                </a:extLst>
              </p:cNvPr>
              <p:cNvSpPr>
                <a:spLocks noChangeArrowheads="1"/>
              </p:cNvSpPr>
              <p:nvPr userDrawn="1"/>
            </p:nvSpPr>
            <p:spPr bwMode="auto">
              <a:xfrm>
                <a:off x="-5490741" y="0"/>
                <a:ext cx="1548000" cy="636608"/>
              </a:xfrm>
              <a:prstGeom prst="rect">
                <a:avLst/>
              </a:prstGeom>
              <a:solidFill>
                <a:srgbClr val="64A70B"/>
              </a:solidFill>
              <a:ln w="9525">
                <a:noFill/>
                <a:miter lim="800000"/>
                <a:headEnd/>
                <a:tailEnd/>
              </a:ln>
              <a:effectLst/>
            </p:spPr>
            <p:txBody>
              <a:bodyPr wrap="none" anchor="ctr"/>
              <a:lstStyle/>
              <a:p>
                <a:pPr>
                  <a:spcBef>
                    <a:spcPct val="0"/>
                  </a:spcBef>
                  <a:buFontTx/>
                  <a:buNone/>
                </a:pPr>
                <a:r>
                  <a:rPr lang="en-US" sz="1400" b="1" i="0" spc="-100" baseline="0">
                    <a:solidFill>
                      <a:schemeClr val="bg1"/>
                    </a:solidFill>
                    <a:latin typeface="Arial" panose="020B0604020202020204" pitchFamily="34" charset="0"/>
                    <a:cs typeface="Arial" panose="020B0604020202020204" pitchFamily="34" charset="0"/>
                  </a:rPr>
                  <a:t>AIA LIME</a:t>
                </a:r>
              </a:p>
              <a:p>
                <a:pPr>
                  <a:spcBef>
                    <a:spcPct val="0"/>
                  </a:spcBef>
                  <a:buFontTx/>
                  <a:buNone/>
                </a:pPr>
                <a:r>
                  <a:rPr lang="en-US" sz="1400" spc="-100" baseline="0">
                    <a:solidFill>
                      <a:schemeClr val="bg1"/>
                    </a:solidFill>
                    <a:latin typeface="Arial" panose="020B0604020202020204" pitchFamily="34" charset="0"/>
                    <a:cs typeface="Arial" panose="020B0604020202020204" pitchFamily="34" charset="0"/>
                  </a:rPr>
                  <a:t>R100 G167 B11</a:t>
                </a:r>
              </a:p>
            </p:txBody>
          </p:sp>
          <p:sp>
            <p:nvSpPr>
              <p:cNvPr id="67" name="Rectangle 19">
                <a:extLst>
                  <a:ext uri="{FF2B5EF4-FFF2-40B4-BE49-F238E27FC236}">
                    <a16:creationId xmlns:a16="http://schemas.microsoft.com/office/drawing/2014/main" id="{3FD3B294-19A6-3440-BCCC-734D945D5A2E}"/>
                  </a:ext>
                </a:extLst>
              </p:cNvPr>
              <p:cNvSpPr>
                <a:spLocks noChangeArrowheads="1"/>
              </p:cNvSpPr>
              <p:nvPr userDrawn="1"/>
            </p:nvSpPr>
            <p:spPr bwMode="auto">
              <a:xfrm>
                <a:off x="-5490741" y="636608"/>
                <a:ext cx="514590" cy="277791"/>
              </a:xfrm>
              <a:prstGeom prst="rect">
                <a:avLst/>
              </a:prstGeom>
              <a:solidFill>
                <a:srgbClr val="64A70B">
                  <a:alpha val="2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20%</a:t>
                </a:r>
              </a:p>
            </p:txBody>
          </p:sp>
          <p:sp>
            <p:nvSpPr>
              <p:cNvPr id="68" name="Rectangle 20">
                <a:extLst>
                  <a:ext uri="{FF2B5EF4-FFF2-40B4-BE49-F238E27FC236}">
                    <a16:creationId xmlns:a16="http://schemas.microsoft.com/office/drawing/2014/main" id="{1B1A2A0D-CF81-0549-95BA-E173A298EED3}"/>
                  </a:ext>
                </a:extLst>
              </p:cNvPr>
              <p:cNvSpPr>
                <a:spLocks noChangeArrowheads="1"/>
              </p:cNvSpPr>
              <p:nvPr userDrawn="1"/>
            </p:nvSpPr>
            <p:spPr bwMode="auto">
              <a:xfrm>
                <a:off x="-4974036" y="636608"/>
                <a:ext cx="514590" cy="277791"/>
              </a:xfrm>
              <a:prstGeom prst="rect">
                <a:avLst/>
              </a:prstGeom>
              <a:solidFill>
                <a:srgbClr val="64A70B">
                  <a:alpha val="5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50%</a:t>
                </a:r>
              </a:p>
            </p:txBody>
          </p:sp>
          <p:sp>
            <p:nvSpPr>
              <p:cNvPr id="69" name="Rectangle 22">
                <a:extLst>
                  <a:ext uri="{FF2B5EF4-FFF2-40B4-BE49-F238E27FC236}">
                    <a16:creationId xmlns:a16="http://schemas.microsoft.com/office/drawing/2014/main" id="{AAD385B7-AC9C-534F-A70D-01BAA33312F8}"/>
                  </a:ext>
                </a:extLst>
              </p:cNvPr>
              <p:cNvSpPr>
                <a:spLocks noChangeArrowheads="1"/>
              </p:cNvSpPr>
              <p:nvPr userDrawn="1"/>
            </p:nvSpPr>
            <p:spPr bwMode="auto">
              <a:xfrm>
                <a:off x="-4457331" y="636608"/>
                <a:ext cx="514590" cy="277791"/>
              </a:xfrm>
              <a:prstGeom prst="rect">
                <a:avLst/>
              </a:prstGeom>
              <a:solidFill>
                <a:srgbClr val="64A70B">
                  <a:alpha val="8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80%</a:t>
                </a:r>
              </a:p>
            </p:txBody>
          </p:sp>
        </p:grpSp>
        <p:grpSp>
          <p:nvGrpSpPr>
            <p:cNvPr id="70" name="Group 69">
              <a:extLst>
                <a:ext uri="{FF2B5EF4-FFF2-40B4-BE49-F238E27FC236}">
                  <a16:creationId xmlns:a16="http://schemas.microsoft.com/office/drawing/2014/main" id="{4C2B2E67-5566-B445-A4A4-5D3FB0F6B035}"/>
                </a:ext>
              </a:extLst>
            </p:cNvPr>
            <p:cNvGrpSpPr/>
            <p:nvPr userDrawn="1"/>
          </p:nvGrpSpPr>
          <p:grpSpPr>
            <a:xfrm>
              <a:off x="-3850476" y="0"/>
              <a:ext cx="1548000" cy="914399"/>
              <a:chOff x="-5490741" y="0"/>
              <a:chExt cx="1548000" cy="914399"/>
            </a:xfrm>
          </p:grpSpPr>
          <p:sp>
            <p:nvSpPr>
              <p:cNvPr id="71" name="Rectangle 18">
                <a:extLst>
                  <a:ext uri="{FF2B5EF4-FFF2-40B4-BE49-F238E27FC236}">
                    <a16:creationId xmlns:a16="http://schemas.microsoft.com/office/drawing/2014/main" id="{1703C164-02FE-E04F-8086-708A63EDA267}"/>
                  </a:ext>
                </a:extLst>
              </p:cNvPr>
              <p:cNvSpPr>
                <a:spLocks noChangeArrowheads="1"/>
              </p:cNvSpPr>
              <p:nvPr userDrawn="1"/>
            </p:nvSpPr>
            <p:spPr bwMode="auto">
              <a:xfrm>
                <a:off x="-5490741" y="0"/>
                <a:ext cx="1548000" cy="636608"/>
              </a:xfrm>
              <a:prstGeom prst="rect">
                <a:avLst/>
              </a:prstGeom>
              <a:solidFill>
                <a:srgbClr val="00A3AD"/>
              </a:solidFill>
              <a:ln w="9525">
                <a:noFill/>
                <a:miter lim="800000"/>
                <a:headEnd/>
                <a:tailEnd/>
              </a:ln>
              <a:effectLst/>
            </p:spPr>
            <p:txBody>
              <a:bodyPr wrap="none" anchor="ctr"/>
              <a:lstStyle/>
              <a:p>
                <a:pPr>
                  <a:spcBef>
                    <a:spcPct val="0"/>
                  </a:spcBef>
                  <a:buFontTx/>
                  <a:buNone/>
                </a:pPr>
                <a:r>
                  <a:rPr lang="en-US" sz="1400" b="1" i="0" spc="-100" baseline="0">
                    <a:solidFill>
                      <a:schemeClr val="bg1"/>
                    </a:solidFill>
                    <a:latin typeface="Arial" panose="020B0604020202020204" pitchFamily="34" charset="0"/>
                    <a:cs typeface="Arial" panose="020B0604020202020204" pitchFamily="34" charset="0"/>
                  </a:rPr>
                  <a:t>AIA GREEN</a:t>
                </a:r>
              </a:p>
              <a:p>
                <a:pPr>
                  <a:spcBef>
                    <a:spcPct val="0"/>
                  </a:spcBef>
                  <a:buFontTx/>
                  <a:buNone/>
                </a:pPr>
                <a:r>
                  <a:rPr lang="en-US" sz="1400" spc="-100" baseline="0">
                    <a:solidFill>
                      <a:schemeClr val="bg1"/>
                    </a:solidFill>
                    <a:latin typeface="Arial" panose="020B0604020202020204" pitchFamily="34" charset="0"/>
                    <a:cs typeface="Arial" panose="020B0604020202020204" pitchFamily="34" charset="0"/>
                  </a:rPr>
                  <a:t>R0 G163 B173</a:t>
                </a:r>
              </a:p>
            </p:txBody>
          </p:sp>
          <p:sp>
            <p:nvSpPr>
              <p:cNvPr id="72" name="Rectangle 19">
                <a:extLst>
                  <a:ext uri="{FF2B5EF4-FFF2-40B4-BE49-F238E27FC236}">
                    <a16:creationId xmlns:a16="http://schemas.microsoft.com/office/drawing/2014/main" id="{25EAF57E-4563-3244-9340-D9237B9E13EA}"/>
                  </a:ext>
                </a:extLst>
              </p:cNvPr>
              <p:cNvSpPr>
                <a:spLocks noChangeArrowheads="1"/>
              </p:cNvSpPr>
              <p:nvPr userDrawn="1"/>
            </p:nvSpPr>
            <p:spPr bwMode="auto">
              <a:xfrm>
                <a:off x="-5490741" y="636608"/>
                <a:ext cx="514590" cy="277791"/>
              </a:xfrm>
              <a:prstGeom prst="rect">
                <a:avLst/>
              </a:prstGeom>
              <a:solidFill>
                <a:srgbClr val="00A3AD">
                  <a:alpha val="2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20%</a:t>
                </a:r>
              </a:p>
            </p:txBody>
          </p:sp>
          <p:sp>
            <p:nvSpPr>
              <p:cNvPr id="73" name="Rectangle 20">
                <a:extLst>
                  <a:ext uri="{FF2B5EF4-FFF2-40B4-BE49-F238E27FC236}">
                    <a16:creationId xmlns:a16="http://schemas.microsoft.com/office/drawing/2014/main" id="{691E7498-DC1F-5246-B95C-2CBC7758615E}"/>
                  </a:ext>
                </a:extLst>
              </p:cNvPr>
              <p:cNvSpPr>
                <a:spLocks noChangeArrowheads="1"/>
              </p:cNvSpPr>
              <p:nvPr userDrawn="1"/>
            </p:nvSpPr>
            <p:spPr bwMode="auto">
              <a:xfrm>
                <a:off x="-4974036" y="636608"/>
                <a:ext cx="514590" cy="277791"/>
              </a:xfrm>
              <a:prstGeom prst="rect">
                <a:avLst/>
              </a:prstGeom>
              <a:solidFill>
                <a:srgbClr val="00A3AD">
                  <a:alpha val="5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50%</a:t>
                </a:r>
              </a:p>
            </p:txBody>
          </p:sp>
          <p:sp>
            <p:nvSpPr>
              <p:cNvPr id="74" name="Rectangle 22">
                <a:extLst>
                  <a:ext uri="{FF2B5EF4-FFF2-40B4-BE49-F238E27FC236}">
                    <a16:creationId xmlns:a16="http://schemas.microsoft.com/office/drawing/2014/main" id="{94C5EE83-09C0-F64A-90B8-904936661F1F}"/>
                  </a:ext>
                </a:extLst>
              </p:cNvPr>
              <p:cNvSpPr>
                <a:spLocks noChangeArrowheads="1"/>
              </p:cNvSpPr>
              <p:nvPr userDrawn="1"/>
            </p:nvSpPr>
            <p:spPr bwMode="auto">
              <a:xfrm>
                <a:off x="-4457331" y="636608"/>
                <a:ext cx="514590" cy="277791"/>
              </a:xfrm>
              <a:prstGeom prst="rect">
                <a:avLst/>
              </a:prstGeom>
              <a:solidFill>
                <a:srgbClr val="00A3AD">
                  <a:alpha val="8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80%</a:t>
                </a:r>
              </a:p>
            </p:txBody>
          </p:sp>
        </p:grpSp>
        <p:grpSp>
          <p:nvGrpSpPr>
            <p:cNvPr id="75" name="Group 74">
              <a:extLst>
                <a:ext uri="{FF2B5EF4-FFF2-40B4-BE49-F238E27FC236}">
                  <a16:creationId xmlns:a16="http://schemas.microsoft.com/office/drawing/2014/main" id="{519AB0B1-93C0-7B49-B9C4-74D49DF8090C}"/>
                </a:ext>
              </a:extLst>
            </p:cNvPr>
            <p:cNvGrpSpPr/>
            <p:nvPr userDrawn="1"/>
          </p:nvGrpSpPr>
          <p:grpSpPr>
            <a:xfrm>
              <a:off x="-3850476" y="1009650"/>
              <a:ext cx="1548000" cy="914399"/>
              <a:chOff x="-5490741" y="0"/>
              <a:chExt cx="1548000" cy="914399"/>
            </a:xfrm>
          </p:grpSpPr>
          <p:sp>
            <p:nvSpPr>
              <p:cNvPr id="76" name="Rectangle 18">
                <a:extLst>
                  <a:ext uri="{FF2B5EF4-FFF2-40B4-BE49-F238E27FC236}">
                    <a16:creationId xmlns:a16="http://schemas.microsoft.com/office/drawing/2014/main" id="{9583E82A-B7FC-444B-85D4-78FF14CDB123}"/>
                  </a:ext>
                </a:extLst>
              </p:cNvPr>
              <p:cNvSpPr>
                <a:spLocks noChangeArrowheads="1"/>
              </p:cNvSpPr>
              <p:nvPr userDrawn="1"/>
            </p:nvSpPr>
            <p:spPr bwMode="auto">
              <a:xfrm>
                <a:off x="-5490741" y="0"/>
                <a:ext cx="1548000" cy="636608"/>
              </a:xfrm>
              <a:prstGeom prst="rect">
                <a:avLst/>
              </a:prstGeom>
              <a:solidFill>
                <a:srgbClr val="00A3E0"/>
              </a:solidFill>
              <a:ln w="9525">
                <a:noFill/>
                <a:miter lim="800000"/>
                <a:headEnd/>
                <a:tailEnd/>
              </a:ln>
              <a:effectLst/>
            </p:spPr>
            <p:txBody>
              <a:bodyPr wrap="none" anchor="ctr"/>
              <a:lstStyle/>
              <a:p>
                <a:pPr>
                  <a:spcBef>
                    <a:spcPct val="0"/>
                  </a:spcBef>
                  <a:buFontTx/>
                  <a:buNone/>
                </a:pPr>
                <a:r>
                  <a:rPr lang="en-US" sz="1400" b="1" i="0" spc="-100" baseline="0">
                    <a:solidFill>
                      <a:schemeClr val="bg1"/>
                    </a:solidFill>
                    <a:latin typeface="Arial" panose="020B0604020202020204" pitchFamily="34" charset="0"/>
                    <a:cs typeface="Arial" panose="020B0604020202020204" pitchFamily="34" charset="0"/>
                  </a:rPr>
                  <a:t>AIA CYAN</a:t>
                </a:r>
              </a:p>
              <a:p>
                <a:pPr>
                  <a:spcBef>
                    <a:spcPct val="0"/>
                  </a:spcBef>
                  <a:buFontTx/>
                  <a:buNone/>
                </a:pPr>
                <a:r>
                  <a:rPr lang="en-US" sz="1400" spc="-100" baseline="0">
                    <a:solidFill>
                      <a:schemeClr val="bg1"/>
                    </a:solidFill>
                    <a:latin typeface="Arial" panose="020B0604020202020204" pitchFamily="34" charset="0"/>
                    <a:cs typeface="Arial" panose="020B0604020202020204" pitchFamily="34" charset="0"/>
                  </a:rPr>
                  <a:t>R0 G163 B224</a:t>
                </a:r>
              </a:p>
            </p:txBody>
          </p:sp>
          <p:sp>
            <p:nvSpPr>
              <p:cNvPr id="77" name="Rectangle 19">
                <a:extLst>
                  <a:ext uri="{FF2B5EF4-FFF2-40B4-BE49-F238E27FC236}">
                    <a16:creationId xmlns:a16="http://schemas.microsoft.com/office/drawing/2014/main" id="{88F941BE-92FD-7648-9B13-47B7D6007FA8}"/>
                  </a:ext>
                </a:extLst>
              </p:cNvPr>
              <p:cNvSpPr>
                <a:spLocks noChangeArrowheads="1"/>
              </p:cNvSpPr>
              <p:nvPr userDrawn="1"/>
            </p:nvSpPr>
            <p:spPr bwMode="auto">
              <a:xfrm>
                <a:off x="-5490741" y="636608"/>
                <a:ext cx="514590" cy="277791"/>
              </a:xfrm>
              <a:prstGeom prst="rect">
                <a:avLst/>
              </a:prstGeom>
              <a:solidFill>
                <a:srgbClr val="00A3E0">
                  <a:alpha val="2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20%</a:t>
                </a:r>
              </a:p>
            </p:txBody>
          </p:sp>
          <p:sp>
            <p:nvSpPr>
              <p:cNvPr id="78" name="Rectangle 20">
                <a:extLst>
                  <a:ext uri="{FF2B5EF4-FFF2-40B4-BE49-F238E27FC236}">
                    <a16:creationId xmlns:a16="http://schemas.microsoft.com/office/drawing/2014/main" id="{367E1D85-EE19-F541-A89C-208CDAFB3036}"/>
                  </a:ext>
                </a:extLst>
              </p:cNvPr>
              <p:cNvSpPr>
                <a:spLocks noChangeArrowheads="1"/>
              </p:cNvSpPr>
              <p:nvPr userDrawn="1"/>
            </p:nvSpPr>
            <p:spPr bwMode="auto">
              <a:xfrm>
                <a:off x="-4974036" y="636608"/>
                <a:ext cx="514590" cy="277791"/>
              </a:xfrm>
              <a:prstGeom prst="rect">
                <a:avLst/>
              </a:prstGeom>
              <a:solidFill>
                <a:srgbClr val="00A3E0">
                  <a:alpha val="5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50%</a:t>
                </a:r>
              </a:p>
            </p:txBody>
          </p:sp>
          <p:sp>
            <p:nvSpPr>
              <p:cNvPr id="79" name="Rectangle 22">
                <a:extLst>
                  <a:ext uri="{FF2B5EF4-FFF2-40B4-BE49-F238E27FC236}">
                    <a16:creationId xmlns:a16="http://schemas.microsoft.com/office/drawing/2014/main" id="{BE7B36CB-60FE-104B-ADCB-0A0CBFC18032}"/>
                  </a:ext>
                </a:extLst>
              </p:cNvPr>
              <p:cNvSpPr>
                <a:spLocks noChangeArrowheads="1"/>
              </p:cNvSpPr>
              <p:nvPr userDrawn="1"/>
            </p:nvSpPr>
            <p:spPr bwMode="auto">
              <a:xfrm>
                <a:off x="-4457331" y="636608"/>
                <a:ext cx="514590" cy="277791"/>
              </a:xfrm>
              <a:prstGeom prst="rect">
                <a:avLst/>
              </a:prstGeom>
              <a:solidFill>
                <a:srgbClr val="00A3E0">
                  <a:alpha val="8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80%</a:t>
                </a:r>
              </a:p>
            </p:txBody>
          </p:sp>
        </p:grpSp>
        <p:grpSp>
          <p:nvGrpSpPr>
            <p:cNvPr id="80" name="Group 79">
              <a:extLst>
                <a:ext uri="{FF2B5EF4-FFF2-40B4-BE49-F238E27FC236}">
                  <a16:creationId xmlns:a16="http://schemas.microsoft.com/office/drawing/2014/main" id="{1024FEBA-54F8-224E-B1C1-87CFBA59F76A}"/>
                </a:ext>
              </a:extLst>
            </p:cNvPr>
            <p:cNvGrpSpPr/>
            <p:nvPr userDrawn="1"/>
          </p:nvGrpSpPr>
          <p:grpSpPr>
            <a:xfrm>
              <a:off x="-3850476" y="2019300"/>
              <a:ext cx="1548000" cy="914399"/>
              <a:chOff x="-5490741" y="0"/>
              <a:chExt cx="1548000" cy="914399"/>
            </a:xfrm>
          </p:grpSpPr>
          <p:sp>
            <p:nvSpPr>
              <p:cNvPr id="81" name="Rectangle 18">
                <a:extLst>
                  <a:ext uri="{FF2B5EF4-FFF2-40B4-BE49-F238E27FC236}">
                    <a16:creationId xmlns:a16="http://schemas.microsoft.com/office/drawing/2014/main" id="{7C4A7609-4032-C342-8F8F-6D575413C476}"/>
                  </a:ext>
                </a:extLst>
              </p:cNvPr>
              <p:cNvSpPr>
                <a:spLocks noChangeArrowheads="1"/>
              </p:cNvSpPr>
              <p:nvPr userDrawn="1"/>
            </p:nvSpPr>
            <p:spPr bwMode="auto">
              <a:xfrm>
                <a:off x="-5490741" y="0"/>
                <a:ext cx="1548000" cy="636608"/>
              </a:xfrm>
              <a:prstGeom prst="rect">
                <a:avLst/>
              </a:prstGeom>
              <a:solidFill>
                <a:srgbClr val="0957C3"/>
              </a:solidFill>
              <a:ln w="9525">
                <a:noFill/>
                <a:miter lim="800000"/>
                <a:headEnd/>
                <a:tailEnd/>
              </a:ln>
              <a:effectLst/>
            </p:spPr>
            <p:txBody>
              <a:bodyPr wrap="none" anchor="ctr"/>
              <a:lstStyle/>
              <a:p>
                <a:pPr>
                  <a:spcBef>
                    <a:spcPct val="0"/>
                  </a:spcBef>
                  <a:buFontTx/>
                  <a:buNone/>
                </a:pPr>
                <a:r>
                  <a:rPr lang="en-US" sz="1400" b="1" i="0" spc="-100" baseline="0">
                    <a:solidFill>
                      <a:schemeClr val="bg1"/>
                    </a:solidFill>
                    <a:latin typeface="Arial" panose="020B0604020202020204" pitchFamily="34" charset="0"/>
                    <a:cs typeface="Arial" panose="020B0604020202020204" pitchFamily="34" charset="0"/>
                  </a:rPr>
                  <a:t>AIA BLUE</a:t>
                </a:r>
              </a:p>
              <a:p>
                <a:pPr>
                  <a:spcBef>
                    <a:spcPct val="0"/>
                  </a:spcBef>
                  <a:buFontTx/>
                  <a:buNone/>
                </a:pPr>
                <a:r>
                  <a:rPr lang="en-US" sz="1400" spc="-100" baseline="0">
                    <a:solidFill>
                      <a:schemeClr val="bg1"/>
                    </a:solidFill>
                    <a:latin typeface="Arial" panose="020B0604020202020204" pitchFamily="34" charset="0"/>
                    <a:cs typeface="Arial" panose="020B0604020202020204" pitchFamily="34" charset="0"/>
                  </a:rPr>
                  <a:t>R9 G87 B195</a:t>
                </a:r>
              </a:p>
            </p:txBody>
          </p:sp>
          <p:sp>
            <p:nvSpPr>
              <p:cNvPr id="82" name="Rectangle 19">
                <a:extLst>
                  <a:ext uri="{FF2B5EF4-FFF2-40B4-BE49-F238E27FC236}">
                    <a16:creationId xmlns:a16="http://schemas.microsoft.com/office/drawing/2014/main" id="{B2D2F23B-829F-1146-A899-C5C33B8F8DF5}"/>
                  </a:ext>
                </a:extLst>
              </p:cNvPr>
              <p:cNvSpPr>
                <a:spLocks noChangeArrowheads="1"/>
              </p:cNvSpPr>
              <p:nvPr userDrawn="1"/>
            </p:nvSpPr>
            <p:spPr bwMode="auto">
              <a:xfrm>
                <a:off x="-5490741" y="636608"/>
                <a:ext cx="514590" cy="277791"/>
              </a:xfrm>
              <a:prstGeom prst="rect">
                <a:avLst/>
              </a:prstGeom>
              <a:solidFill>
                <a:srgbClr val="0957C3">
                  <a:alpha val="2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20%</a:t>
                </a:r>
              </a:p>
            </p:txBody>
          </p:sp>
          <p:sp>
            <p:nvSpPr>
              <p:cNvPr id="83" name="Rectangle 20">
                <a:extLst>
                  <a:ext uri="{FF2B5EF4-FFF2-40B4-BE49-F238E27FC236}">
                    <a16:creationId xmlns:a16="http://schemas.microsoft.com/office/drawing/2014/main" id="{241478CE-F5A5-1444-AEE7-20B33A3B0751}"/>
                  </a:ext>
                </a:extLst>
              </p:cNvPr>
              <p:cNvSpPr>
                <a:spLocks noChangeArrowheads="1"/>
              </p:cNvSpPr>
              <p:nvPr userDrawn="1"/>
            </p:nvSpPr>
            <p:spPr bwMode="auto">
              <a:xfrm>
                <a:off x="-4974036" y="636608"/>
                <a:ext cx="514590" cy="277791"/>
              </a:xfrm>
              <a:prstGeom prst="rect">
                <a:avLst/>
              </a:prstGeom>
              <a:solidFill>
                <a:srgbClr val="0957C3">
                  <a:alpha val="5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50%</a:t>
                </a:r>
              </a:p>
            </p:txBody>
          </p:sp>
          <p:sp>
            <p:nvSpPr>
              <p:cNvPr id="84" name="Rectangle 22">
                <a:extLst>
                  <a:ext uri="{FF2B5EF4-FFF2-40B4-BE49-F238E27FC236}">
                    <a16:creationId xmlns:a16="http://schemas.microsoft.com/office/drawing/2014/main" id="{76928A3F-A3DB-2847-9637-92BC504CCA31}"/>
                  </a:ext>
                </a:extLst>
              </p:cNvPr>
              <p:cNvSpPr>
                <a:spLocks noChangeArrowheads="1"/>
              </p:cNvSpPr>
              <p:nvPr userDrawn="1"/>
            </p:nvSpPr>
            <p:spPr bwMode="auto">
              <a:xfrm>
                <a:off x="-4457331" y="636608"/>
                <a:ext cx="514590" cy="277791"/>
              </a:xfrm>
              <a:prstGeom prst="rect">
                <a:avLst/>
              </a:prstGeom>
              <a:solidFill>
                <a:srgbClr val="0957C3">
                  <a:alpha val="8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80%</a:t>
                </a:r>
              </a:p>
            </p:txBody>
          </p:sp>
        </p:grpSp>
        <p:grpSp>
          <p:nvGrpSpPr>
            <p:cNvPr id="85" name="Group 84">
              <a:extLst>
                <a:ext uri="{FF2B5EF4-FFF2-40B4-BE49-F238E27FC236}">
                  <a16:creationId xmlns:a16="http://schemas.microsoft.com/office/drawing/2014/main" id="{89DFF31C-A375-4E42-A733-0E898CADCAA9}"/>
                </a:ext>
              </a:extLst>
            </p:cNvPr>
            <p:cNvGrpSpPr/>
            <p:nvPr userDrawn="1"/>
          </p:nvGrpSpPr>
          <p:grpSpPr>
            <a:xfrm>
              <a:off x="-3850476" y="3028950"/>
              <a:ext cx="1548000" cy="914399"/>
              <a:chOff x="-5490741" y="0"/>
              <a:chExt cx="1548000" cy="914399"/>
            </a:xfrm>
          </p:grpSpPr>
          <p:sp>
            <p:nvSpPr>
              <p:cNvPr id="86" name="Rectangle 18">
                <a:extLst>
                  <a:ext uri="{FF2B5EF4-FFF2-40B4-BE49-F238E27FC236}">
                    <a16:creationId xmlns:a16="http://schemas.microsoft.com/office/drawing/2014/main" id="{68FFBE17-92FE-0347-901A-F386CE1015E1}"/>
                  </a:ext>
                </a:extLst>
              </p:cNvPr>
              <p:cNvSpPr>
                <a:spLocks noChangeArrowheads="1"/>
              </p:cNvSpPr>
              <p:nvPr userDrawn="1"/>
            </p:nvSpPr>
            <p:spPr bwMode="auto">
              <a:xfrm>
                <a:off x="-5490741" y="0"/>
                <a:ext cx="1548000" cy="636608"/>
              </a:xfrm>
              <a:prstGeom prst="rect">
                <a:avLst/>
              </a:prstGeom>
              <a:solidFill>
                <a:srgbClr val="6244BB"/>
              </a:solidFill>
              <a:ln w="9525">
                <a:noFill/>
                <a:miter lim="800000"/>
                <a:headEnd/>
                <a:tailEnd/>
              </a:ln>
              <a:effectLst/>
            </p:spPr>
            <p:txBody>
              <a:bodyPr wrap="none" anchor="ctr"/>
              <a:lstStyle/>
              <a:p>
                <a:pPr>
                  <a:spcBef>
                    <a:spcPct val="0"/>
                  </a:spcBef>
                  <a:buFontTx/>
                  <a:buNone/>
                </a:pPr>
                <a:r>
                  <a:rPr lang="en-US" sz="1400" b="1" i="0" spc="-100" baseline="0">
                    <a:solidFill>
                      <a:schemeClr val="bg1"/>
                    </a:solidFill>
                    <a:latin typeface="Arial" panose="020B0604020202020204" pitchFamily="34" charset="0"/>
                    <a:cs typeface="Arial" panose="020B0604020202020204" pitchFamily="34" charset="0"/>
                  </a:rPr>
                  <a:t>AIA VIOLET</a:t>
                </a:r>
              </a:p>
              <a:p>
                <a:pPr>
                  <a:spcBef>
                    <a:spcPct val="0"/>
                  </a:spcBef>
                  <a:buFontTx/>
                  <a:buNone/>
                </a:pPr>
                <a:r>
                  <a:rPr lang="en-US" sz="1400" spc="-100" baseline="0">
                    <a:solidFill>
                      <a:schemeClr val="bg1"/>
                    </a:solidFill>
                    <a:latin typeface="Arial" panose="020B0604020202020204" pitchFamily="34" charset="0"/>
                    <a:cs typeface="Arial" panose="020B0604020202020204" pitchFamily="34" charset="0"/>
                  </a:rPr>
                  <a:t>R98 G68 B187</a:t>
                </a:r>
              </a:p>
            </p:txBody>
          </p:sp>
          <p:sp>
            <p:nvSpPr>
              <p:cNvPr id="87" name="Rectangle 19">
                <a:extLst>
                  <a:ext uri="{FF2B5EF4-FFF2-40B4-BE49-F238E27FC236}">
                    <a16:creationId xmlns:a16="http://schemas.microsoft.com/office/drawing/2014/main" id="{0849EB1A-BC5D-FB4D-AC07-BCECAD01E273}"/>
                  </a:ext>
                </a:extLst>
              </p:cNvPr>
              <p:cNvSpPr>
                <a:spLocks noChangeArrowheads="1"/>
              </p:cNvSpPr>
              <p:nvPr userDrawn="1"/>
            </p:nvSpPr>
            <p:spPr bwMode="auto">
              <a:xfrm>
                <a:off x="-5490741" y="636608"/>
                <a:ext cx="514590" cy="277791"/>
              </a:xfrm>
              <a:prstGeom prst="rect">
                <a:avLst/>
              </a:prstGeom>
              <a:solidFill>
                <a:srgbClr val="6244BB">
                  <a:alpha val="2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20%</a:t>
                </a:r>
              </a:p>
            </p:txBody>
          </p:sp>
          <p:sp>
            <p:nvSpPr>
              <p:cNvPr id="88" name="Rectangle 20">
                <a:extLst>
                  <a:ext uri="{FF2B5EF4-FFF2-40B4-BE49-F238E27FC236}">
                    <a16:creationId xmlns:a16="http://schemas.microsoft.com/office/drawing/2014/main" id="{3D68DEFD-99BA-F247-8E59-D070108B30C7}"/>
                  </a:ext>
                </a:extLst>
              </p:cNvPr>
              <p:cNvSpPr>
                <a:spLocks noChangeArrowheads="1"/>
              </p:cNvSpPr>
              <p:nvPr userDrawn="1"/>
            </p:nvSpPr>
            <p:spPr bwMode="auto">
              <a:xfrm>
                <a:off x="-4974036" y="636608"/>
                <a:ext cx="514590" cy="277791"/>
              </a:xfrm>
              <a:prstGeom prst="rect">
                <a:avLst/>
              </a:prstGeom>
              <a:solidFill>
                <a:srgbClr val="6244BB">
                  <a:alpha val="5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50%</a:t>
                </a:r>
              </a:p>
            </p:txBody>
          </p:sp>
          <p:sp>
            <p:nvSpPr>
              <p:cNvPr id="89" name="Rectangle 22">
                <a:extLst>
                  <a:ext uri="{FF2B5EF4-FFF2-40B4-BE49-F238E27FC236}">
                    <a16:creationId xmlns:a16="http://schemas.microsoft.com/office/drawing/2014/main" id="{BD150BAA-53FB-404B-BD6E-221AD65A72D4}"/>
                  </a:ext>
                </a:extLst>
              </p:cNvPr>
              <p:cNvSpPr>
                <a:spLocks noChangeArrowheads="1"/>
              </p:cNvSpPr>
              <p:nvPr userDrawn="1"/>
            </p:nvSpPr>
            <p:spPr bwMode="auto">
              <a:xfrm>
                <a:off x="-4457331" y="636608"/>
                <a:ext cx="514590" cy="277791"/>
              </a:xfrm>
              <a:prstGeom prst="rect">
                <a:avLst/>
              </a:prstGeom>
              <a:solidFill>
                <a:srgbClr val="6244BB">
                  <a:alpha val="80000"/>
                </a:srgbClr>
              </a:solidFill>
              <a:ln w="9525">
                <a:noFill/>
                <a:miter lim="800000"/>
                <a:headEnd/>
                <a:tailEnd/>
              </a:ln>
              <a:effectLst/>
            </p:spPr>
            <p:txBody>
              <a:bodyPr wrap="none" anchor="ctr"/>
              <a:lstStyle/>
              <a:p>
                <a:pPr algn="ctr">
                  <a:spcBef>
                    <a:spcPct val="0"/>
                  </a:spcBef>
                  <a:buFontTx/>
                  <a:buNone/>
                </a:pPr>
                <a:r>
                  <a:rPr lang="en-US" sz="1200" b="1" spc="-100" baseline="0">
                    <a:solidFill>
                      <a:schemeClr val="bg1"/>
                    </a:solidFill>
                    <a:latin typeface="Arial" panose="020B0604020202020204" pitchFamily="34" charset="0"/>
                    <a:cs typeface="Arial" panose="020B0604020202020204" pitchFamily="34" charset="0"/>
                  </a:rPr>
                  <a:t>80%</a:t>
                </a:r>
              </a:p>
            </p:txBody>
          </p:sp>
        </p:grpSp>
      </p:grpSp>
    </p:spTree>
    <p:extLst>
      <p:ext uri="{BB962C8B-B14F-4D97-AF65-F5344CB8AC3E}">
        <p14:creationId xmlns:p14="http://schemas.microsoft.com/office/powerpoint/2010/main" val="761269877"/>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Lst>
  <p:txStyles>
    <p:titleStyle>
      <a:lvl1pPr algn="l" defTabSz="914400" rtl="0" eaLnBrk="1" latinLnBrk="0" hangingPunct="1">
        <a:spcBef>
          <a:spcPct val="0"/>
        </a:spcBef>
        <a:buNone/>
        <a:defRPr sz="2400" b="1" kern="1200" cap="all" normalizeH="0" baseline="0">
          <a:solidFill>
            <a:schemeClr val="tx1">
              <a:lumMod val="75000"/>
              <a:lumOff val="25000"/>
            </a:schemeClr>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ct val="20000"/>
        </a:spcBef>
        <a:buFont typeface="Arial" panose="020B0604020202020204" pitchFamily="34" charset="0"/>
        <a:buNone/>
        <a:defRPr sz="16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400" kern="1200">
          <a:solidFill>
            <a:schemeClr val="tx1">
              <a:lumMod val="65000"/>
              <a:lumOff val="3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lumMod val="65000"/>
              <a:lumOff val="3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lumMod val="65000"/>
              <a:lumOff val="3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4" name="Picture 53">
            <a:extLst>
              <a:ext uri="{FF2B5EF4-FFF2-40B4-BE49-F238E27FC236}">
                <a16:creationId xmlns:a16="http://schemas.microsoft.com/office/drawing/2014/main" id="{983ED192-90CA-459E-9986-54AD9FBA8056}"/>
              </a:ext>
            </a:extLst>
          </p:cNvPr>
          <p:cNvPicPr>
            <a:picLocks noChangeAspect="1"/>
          </p:cNvPicPr>
          <p:nvPr/>
        </p:nvPicPr>
        <p:blipFill>
          <a:blip r:embed="rId9"/>
          <a:stretch>
            <a:fillRect/>
          </a:stretch>
        </p:blipFill>
        <p:spPr>
          <a:xfrm>
            <a:off x="-1238459" y="-63500"/>
            <a:ext cx="1149559" cy="2160000"/>
          </a:xfrm>
          <a:prstGeom prst="rect">
            <a:avLst/>
          </a:prstGeom>
        </p:spPr>
      </p:pic>
      <p:pic>
        <p:nvPicPr>
          <p:cNvPr id="55" name="Picture 54">
            <a:extLst>
              <a:ext uri="{FF2B5EF4-FFF2-40B4-BE49-F238E27FC236}">
                <a16:creationId xmlns:a16="http://schemas.microsoft.com/office/drawing/2014/main" id="{F353E302-1D4C-400C-97A2-E6706D5B729D}"/>
              </a:ext>
            </a:extLst>
          </p:cNvPr>
          <p:cNvPicPr>
            <a:picLocks noChangeAspect="1"/>
          </p:cNvPicPr>
          <p:nvPr/>
        </p:nvPicPr>
        <p:blipFill>
          <a:blip r:embed="rId10"/>
          <a:stretch>
            <a:fillRect/>
          </a:stretch>
        </p:blipFill>
        <p:spPr>
          <a:xfrm>
            <a:off x="-1979701" y="2096500"/>
            <a:ext cx="1890801" cy="2160000"/>
          </a:xfrm>
          <a:prstGeom prst="rect">
            <a:avLst/>
          </a:prstGeom>
        </p:spPr>
      </p:pic>
    </p:spTree>
    <p:extLst>
      <p:ext uri="{BB962C8B-B14F-4D97-AF65-F5344CB8AC3E}">
        <p14:creationId xmlns:p14="http://schemas.microsoft.com/office/powerpoint/2010/main" val="54980511"/>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Lst>
  <p:hf hdr="0" ftr="0" dt="0"/>
  <p:txStyles>
    <p:titleStyle>
      <a:lvl1pPr algn="l" rtl="0" eaLnBrk="1" fontAlgn="base" hangingPunct="1">
        <a:spcBef>
          <a:spcPct val="0"/>
        </a:spcBef>
        <a:spcAft>
          <a:spcPct val="0"/>
        </a:spcAft>
        <a:defRPr sz="2400" b="1" kern="1200" cap="all">
          <a:solidFill>
            <a:srgbClr val="404040"/>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2400" b="1">
          <a:solidFill>
            <a:srgbClr val="404040"/>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rgbClr val="404040"/>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rgbClr val="404040"/>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rgbClr val="404040"/>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400" b="1">
          <a:solidFill>
            <a:srgbClr val="404040"/>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400" b="1">
          <a:solidFill>
            <a:srgbClr val="404040"/>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400" b="1">
          <a:solidFill>
            <a:srgbClr val="404040"/>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400" b="1">
          <a:solidFill>
            <a:srgbClr val="404040"/>
          </a:solidFill>
          <a:latin typeface="Arial" panose="020B0604020202020204" pitchFamily="34" charset="0"/>
          <a:cs typeface="Arial" panose="020B0604020202020204" pitchFamily="34" charset="0"/>
        </a:defRPr>
      </a:lvl9pPr>
    </p:titleStyle>
    <p:bodyStyle>
      <a:lvl1pPr algn="l" rtl="0" eaLnBrk="1" fontAlgn="base" hangingPunct="1">
        <a:spcBef>
          <a:spcPct val="20000"/>
        </a:spcBef>
        <a:spcAft>
          <a:spcPct val="0"/>
        </a:spcAft>
        <a:buFont typeface="Arial" panose="020B0604020202020204" pitchFamily="34" charset="0"/>
        <a:defRPr sz="1600" kern="1200">
          <a:solidFill>
            <a:srgbClr val="595959"/>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77962"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215979" cy="161974"/>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981279" y="2868749"/>
            <a:ext cx="2231380"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AU" sz="612">
                <a:solidFill>
                  <a:srgbClr val="000000"/>
                </a:solidFill>
                <a:latin typeface="Arial"/>
              </a:rPr>
              <a:t>Last Modified 19.05.2017 22:13 Malay Peninsula Standard Time</a:t>
            </a:r>
            <a:endParaRPr lang="en-US" sz="1632">
              <a:solidFill>
                <a:srgbClr val="000000"/>
              </a:solidFill>
              <a:latin typeface="Arial"/>
            </a:endParaRPr>
          </a:p>
        </p:txBody>
      </p:sp>
      <p:sp>
        <p:nvSpPr>
          <p:cNvPr id="1035" name="Printed" hidden="1"/>
          <p:cNvSpPr txBox="1">
            <a:spLocks noChangeArrowheads="1"/>
          </p:cNvSpPr>
          <p:nvPr/>
        </p:nvSpPr>
        <p:spPr bwMode="auto">
          <a:xfrm rot="5400000">
            <a:off x="11972736" y="5086730"/>
            <a:ext cx="248466"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12">
                <a:solidFill>
                  <a:srgbClr val="000000"/>
                </a:solidFill>
                <a:latin typeface="Arial"/>
              </a:rPr>
              <a:t>Printed</a:t>
            </a:r>
            <a:endParaRPr lang="en-US" sz="1632">
              <a:solidFill>
                <a:srgbClr val="000000"/>
              </a:solidFill>
              <a:latin typeface="Arial"/>
            </a:endParaRPr>
          </a:p>
        </p:txBody>
      </p:sp>
      <p:sp>
        <p:nvSpPr>
          <p:cNvPr id="19" name="Title Placeholder 2"/>
          <p:cNvSpPr>
            <a:spLocks noGrp="1" noChangeArrowheads="1"/>
          </p:cNvSpPr>
          <p:nvPr>
            <p:ph type="title"/>
          </p:nvPr>
        </p:nvSpPr>
        <p:spPr bwMode="auto">
          <a:xfrm>
            <a:off x="161989" y="614413"/>
            <a:ext cx="106076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61990" y="9719"/>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28">
                <a:solidFill>
                  <a:srgbClr val="808080"/>
                </a:solidFill>
              </a:rPr>
              <a:t>TRACKER</a:t>
            </a:r>
          </a:p>
        </p:txBody>
      </p:sp>
      <p:sp>
        <p:nvSpPr>
          <p:cNvPr id="11" name="3. Unit of measure" hidden="1"/>
          <p:cNvSpPr txBox="1">
            <a:spLocks noChangeArrowheads="1"/>
          </p:cNvSpPr>
          <p:nvPr/>
        </p:nvSpPr>
        <p:spPr bwMode="auto">
          <a:xfrm>
            <a:off x="161989" y="1098880"/>
            <a:ext cx="10607613"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32">
                <a:solidFill>
                  <a:srgbClr val="808080"/>
                </a:solidFill>
                <a:latin typeface="Arial"/>
              </a:rPr>
              <a:t>Unit of measure</a:t>
            </a:r>
          </a:p>
        </p:txBody>
      </p:sp>
      <p:grpSp>
        <p:nvGrpSpPr>
          <p:cNvPr id="12" name="Slide Elements" hidden="1"/>
          <p:cNvGrpSpPr>
            <a:grpSpLocks/>
          </p:cNvGrpSpPr>
          <p:nvPr/>
        </p:nvGrpSpPr>
        <p:grpSpPr bwMode="auto">
          <a:xfrm>
            <a:off x="161989" y="6432017"/>
            <a:ext cx="11557299" cy="348246"/>
            <a:chOff x="75" y="3935"/>
            <a:chExt cx="5385" cy="215"/>
          </a:xfrm>
        </p:grpSpPr>
        <p:sp>
          <p:nvSpPr>
            <p:cNvPr id="13" name="4. Footnote"/>
            <p:cNvSpPr txBox="1">
              <a:spLocks noChangeArrowheads="1"/>
            </p:cNvSpPr>
            <p:nvPr/>
          </p:nvSpPr>
          <p:spPr bwMode="auto">
            <a:xfrm>
              <a:off x="75" y="3935"/>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a:solidFill>
                    <a:srgbClr val="000000"/>
                  </a:solidFill>
                  <a:latin typeface="Arial"/>
                </a:rPr>
                <a:t>1 Footnote</a:t>
              </a:r>
            </a:p>
          </p:txBody>
        </p:sp>
        <p:sp>
          <p:nvSpPr>
            <p:cNvPr id="14" name="5. Source"/>
            <p:cNvSpPr>
              <a:spLocks noChangeArrowheads="1"/>
            </p:cNvSpPr>
            <p:nvPr/>
          </p:nvSpPr>
          <p:spPr bwMode="auto">
            <a:xfrm>
              <a:off x="75" y="4051"/>
              <a:ext cx="5140"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75" indent="-621975" defTabSz="913526" fontAlgn="base">
                <a:spcBef>
                  <a:spcPct val="0"/>
                </a:spcBef>
                <a:spcAft>
                  <a:spcPct val="0"/>
                </a:spcAft>
                <a:tabLst>
                  <a:tab pos="625214" algn="l"/>
                </a:tabLst>
              </a:pPr>
              <a:r>
                <a:rPr lang="en-US" sz="1020">
                  <a:solidFill>
                    <a:srgbClr val="000000"/>
                  </a:solidFill>
                </a:rPr>
                <a:t>SOURCE: Source</a:t>
              </a:r>
            </a:p>
          </p:txBody>
        </p:sp>
      </p:grpSp>
      <p:grpSp>
        <p:nvGrpSpPr>
          <p:cNvPr id="15" name="ACET" hidden="1"/>
          <p:cNvGrpSpPr>
            <a:grpSpLocks/>
          </p:cNvGrpSpPr>
          <p:nvPr/>
        </p:nvGrpSpPr>
        <p:grpSpPr bwMode="auto">
          <a:xfrm>
            <a:off x="1976207" y="2282223"/>
            <a:ext cx="5853024"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32" b="1">
                  <a:solidFill>
                    <a:srgbClr val="000000"/>
                  </a:solidFill>
                </a:rPr>
                <a:t>Title</a:t>
              </a:r>
            </a:p>
            <a:p>
              <a:pPr fontAlgn="base">
                <a:spcBef>
                  <a:spcPct val="0"/>
                </a:spcBef>
                <a:spcAft>
                  <a:spcPct val="0"/>
                </a:spcAft>
              </a:pPr>
              <a:r>
                <a:rPr lang="en-US" sz="1632">
                  <a:solidFill>
                    <a:srgbClr val="808080"/>
                  </a:solidFill>
                </a:rPr>
                <a:t>Unit of measure</a:t>
              </a:r>
            </a:p>
          </p:txBody>
        </p:sp>
      </p:grpSp>
      <p:sp>
        <p:nvSpPr>
          <p:cNvPr id="3" name="Text Placeholder 2"/>
          <p:cNvSpPr>
            <a:spLocks noGrp="1"/>
          </p:cNvSpPr>
          <p:nvPr>
            <p:ph type="body" idx="1"/>
          </p:nvPr>
        </p:nvSpPr>
        <p:spPr>
          <a:xfrm>
            <a:off x="1976208" y="2902453"/>
            <a:ext cx="5853024" cy="125611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LegendBoxes" hidden="1"/>
          <p:cNvGrpSpPr>
            <a:grpSpLocks/>
          </p:cNvGrpSpPr>
          <p:nvPr/>
        </p:nvGrpSpPr>
        <p:grpSpPr bwMode="auto">
          <a:xfrm>
            <a:off x="10680425" y="1142815"/>
            <a:ext cx="863915" cy="1017202"/>
            <a:chOff x="4936" y="176"/>
            <a:chExt cx="400" cy="628"/>
          </a:xfrm>
        </p:grpSpPr>
        <p:sp>
          <p:nvSpPr>
            <p:cNvPr id="21" name="Legend1"/>
            <p:cNvSpPr>
              <a:spLocks noChangeArrowheads="1"/>
            </p:cNvSpPr>
            <p:nvPr/>
          </p:nvSpPr>
          <p:spPr bwMode="auto">
            <a:xfrm>
              <a:off x="5096" y="176"/>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sp>
          <p:nvSpPr>
            <p:cNvPr id="22"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sp>
          <p:nvSpPr>
            <p:cNvPr id="23" name="Legend2"/>
            <p:cNvSpPr>
              <a:spLocks noChangeArrowheads="1"/>
            </p:cNvSpPr>
            <p:nvPr/>
          </p:nvSpPr>
          <p:spPr bwMode="auto">
            <a:xfrm>
              <a:off x="5096" y="346"/>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sp>
          <p:nvSpPr>
            <p:cNvPr id="24"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sp>
          <p:nvSpPr>
            <p:cNvPr id="25" name="Legend3"/>
            <p:cNvSpPr>
              <a:spLocks noChangeArrowheads="1"/>
            </p:cNvSpPr>
            <p:nvPr/>
          </p:nvSpPr>
          <p:spPr bwMode="auto">
            <a:xfrm>
              <a:off x="5096" y="517"/>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sp>
          <p:nvSpPr>
            <p:cNvPr id="26"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sp>
          <p:nvSpPr>
            <p:cNvPr id="27" name="Legend4"/>
            <p:cNvSpPr>
              <a:spLocks noChangeArrowheads="1"/>
            </p:cNvSpPr>
            <p:nvPr/>
          </p:nvSpPr>
          <p:spPr bwMode="auto">
            <a:xfrm>
              <a:off x="5096" y="688"/>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sp>
          <p:nvSpPr>
            <p:cNvPr id="28"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grpSp>
      <p:grpSp>
        <p:nvGrpSpPr>
          <p:cNvPr id="29" name="LegendLines" hidden="1"/>
          <p:cNvGrpSpPr>
            <a:grpSpLocks/>
          </p:cNvGrpSpPr>
          <p:nvPr/>
        </p:nvGrpSpPr>
        <p:grpSpPr bwMode="auto">
          <a:xfrm>
            <a:off x="10261427" y="1142816"/>
            <a:ext cx="1282914" cy="745084"/>
            <a:chOff x="4750" y="176"/>
            <a:chExt cx="594" cy="460"/>
          </a:xfrm>
        </p:grpSpPr>
        <p:sp>
          <p:nvSpPr>
            <p:cNvPr id="30"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32">
                <a:solidFill>
                  <a:srgbClr val="000000"/>
                </a:solidFill>
              </a:endParaRPr>
            </a:p>
          </p:txBody>
        </p:sp>
        <p:sp>
          <p:nvSpPr>
            <p:cNvPr id="31"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32">
                <a:solidFill>
                  <a:srgbClr val="000000"/>
                </a:solidFill>
              </a:endParaRPr>
            </a:p>
          </p:txBody>
        </p:sp>
        <p:sp>
          <p:nvSpPr>
            <p:cNvPr id="32"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32">
                <a:solidFill>
                  <a:srgbClr val="000000"/>
                </a:solidFill>
              </a:endParaRPr>
            </a:p>
          </p:txBody>
        </p:sp>
        <p:sp>
          <p:nvSpPr>
            <p:cNvPr id="33" name="Legend1"/>
            <p:cNvSpPr>
              <a:spLocks noChangeArrowheads="1"/>
            </p:cNvSpPr>
            <p:nvPr/>
          </p:nvSpPr>
          <p:spPr bwMode="auto">
            <a:xfrm>
              <a:off x="5104" y="176"/>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sp>
          <p:nvSpPr>
            <p:cNvPr id="34" name="Legend2"/>
            <p:cNvSpPr>
              <a:spLocks noChangeArrowheads="1"/>
            </p:cNvSpPr>
            <p:nvPr/>
          </p:nvSpPr>
          <p:spPr bwMode="auto">
            <a:xfrm>
              <a:off x="5104" y="344"/>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sp>
          <p:nvSpPr>
            <p:cNvPr id="35" name="Legend3"/>
            <p:cNvSpPr>
              <a:spLocks noChangeArrowheads="1"/>
            </p:cNvSpPr>
            <p:nvPr/>
          </p:nvSpPr>
          <p:spPr bwMode="auto">
            <a:xfrm>
              <a:off x="5104" y="520"/>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grpSp>
      <p:grpSp>
        <p:nvGrpSpPr>
          <p:cNvPr id="36" name="McKSticker" hidden="1"/>
          <p:cNvGrpSpPr/>
          <p:nvPr/>
        </p:nvGrpSpPr>
        <p:grpSpPr bwMode="auto">
          <a:xfrm>
            <a:off x="10631617" y="1142817"/>
            <a:ext cx="1087669" cy="216085"/>
            <a:chOff x="7941310" y="285750"/>
            <a:chExt cx="799465" cy="211783"/>
          </a:xfrm>
        </p:grpSpPr>
        <p:sp>
          <p:nvSpPr>
            <p:cNvPr id="37" name="StickerRectangle"/>
            <p:cNvSpPr>
              <a:spLocks noChangeArrowheads="1"/>
            </p:cNvSpPr>
            <p:nvPr/>
          </p:nvSpPr>
          <p:spPr bwMode="auto">
            <a:xfrm>
              <a:off x="7941310" y="285750"/>
              <a:ext cx="799465" cy="2117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D31145"/>
                </a:buClr>
              </a:pPr>
              <a:r>
                <a:rPr lang="en-US" sz="1224">
                  <a:solidFill>
                    <a:srgbClr val="808080"/>
                  </a:solidFill>
                </a:rPr>
                <a:t>PRELIMINARY</a:t>
              </a:r>
            </a:p>
          </p:txBody>
        </p:sp>
        <p:cxnSp>
          <p:nvCxnSpPr>
            <p:cNvPr id="38" name="AutoShape 31"/>
            <p:cNvCxnSpPr>
              <a:cxnSpLocks noChangeShapeType="1"/>
              <a:stCxn id="37" idx="2"/>
              <a:endCxn id="37" idx="4"/>
            </p:cNvCxnSpPr>
            <p:nvPr/>
          </p:nvCxnSpPr>
          <p:spPr bwMode="auto">
            <a:xfrm>
              <a:off x="7941310" y="285750"/>
              <a:ext cx="0" cy="21178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9" name="AutoShape 32"/>
            <p:cNvCxnSpPr>
              <a:cxnSpLocks noChangeShapeType="1"/>
              <a:stCxn id="37" idx="4"/>
              <a:endCxn id="37" idx="6"/>
            </p:cNvCxnSpPr>
            <p:nvPr/>
          </p:nvCxnSpPr>
          <p:spPr bwMode="auto">
            <a:xfrm>
              <a:off x="7941310" y="497533"/>
              <a:ext cx="7994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0" name="LegendMoons" hidden="1"/>
          <p:cNvGrpSpPr/>
          <p:nvPr/>
        </p:nvGrpSpPr>
        <p:grpSpPr>
          <a:xfrm>
            <a:off x="10589496" y="1142815"/>
            <a:ext cx="955651" cy="1333054"/>
            <a:chOff x="7875175" y="286625"/>
            <a:chExt cx="702428" cy="1306516"/>
          </a:xfrm>
        </p:grpSpPr>
        <p:grpSp>
          <p:nvGrpSpPr>
            <p:cNvPr id="41" name="MoonLegend2"/>
            <p:cNvGrpSpPr>
              <a:grpSpLocks noChangeAspect="1"/>
            </p:cNvGrpSpPr>
            <p:nvPr>
              <p:custDataLst>
                <p:tags r:id="rId10"/>
              </p:custDataLst>
            </p:nvPr>
          </p:nvGrpSpPr>
          <p:grpSpPr bwMode="auto">
            <a:xfrm>
              <a:off x="7875175" y="560866"/>
              <a:ext cx="209550" cy="209551"/>
              <a:chOff x="1694" y="2044"/>
              <a:chExt cx="160" cy="160"/>
            </a:xfrm>
          </p:grpSpPr>
          <p:sp>
            <p:nvSpPr>
              <p:cNvPr id="59"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sp>
            <p:nvSpPr>
              <p:cNvPr id="60"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grpSp>
        <p:grpSp>
          <p:nvGrpSpPr>
            <p:cNvPr id="42" name="MoonLegend4"/>
            <p:cNvGrpSpPr>
              <a:grpSpLocks noChangeAspect="1"/>
            </p:cNvGrpSpPr>
            <p:nvPr>
              <p:custDataLst>
                <p:tags r:id="rId11"/>
              </p:custDataLst>
            </p:nvPr>
          </p:nvGrpSpPr>
          <p:grpSpPr bwMode="auto">
            <a:xfrm>
              <a:off x="7875175" y="1109348"/>
              <a:ext cx="209550" cy="209551"/>
              <a:chOff x="4495" y="1198"/>
              <a:chExt cx="160" cy="160"/>
            </a:xfrm>
          </p:grpSpPr>
          <p:sp>
            <p:nvSpPr>
              <p:cNvPr id="57"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sp>
            <p:nvSpPr>
              <p:cNvPr id="58"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grpSp>
        <p:grpSp>
          <p:nvGrpSpPr>
            <p:cNvPr id="43" name="MoonLegend5"/>
            <p:cNvGrpSpPr>
              <a:grpSpLocks noChangeAspect="1"/>
            </p:cNvGrpSpPr>
            <p:nvPr>
              <p:custDataLst>
                <p:tags r:id="rId12"/>
              </p:custDataLst>
            </p:nvPr>
          </p:nvGrpSpPr>
          <p:grpSpPr bwMode="auto">
            <a:xfrm>
              <a:off x="7875175" y="1383590"/>
              <a:ext cx="209550" cy="209551"/>
              <a:chOff x="4495" y="1440"/>
              <a:chExt cx="160" cy="160"/>
            </a:xfrm>
          </p:grpSpPr>
          <p:sp>
            <p:nvSpPr>
              <p:cNvPr id="55"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sp>
            <p:nvSpPr>
              <p:cNvPr id="56"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grpSp>
        <p:sp>
          <p:nvSpPr>
            <p:cNvPr id="44" name="Legend1"/>
            <p:cNvSpPr>
              <a:spLocks noChangeArrowheads="1"/>
            </p:cNvSpPr>
            <p:nvPr/>
          </p:nvSpPr>
          <p:spPr bwMode="auto">
            <a:xfrm>
              <a:off x="8195850" y="299325"/>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sp>
          <p:nvSpPr>
            <p:cNvPr id="45" name="Legend2"/>
            <p:cNvSpPr>
              <a:spLocks noChangeArrowheads="1"/>
            </p:cNvSpPr>
            <p:nvPr/>
          </p:nvSpPr>
          <p:spPr bwMode="auto">
            <a:xfrm>
              <a:off x="8195850" y="573963"/>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sp>
          <p:nvSpPr>
            <p:cNvPr id="46" name="Legend3"/>
            <p:cNvSpPr>
              <a:spLocks noChangeArrowheads="1"/>
            </p:cNvSpPr>
            <p:nvPr/>
          </p:nvSpPr>
          <p:spPr bwMode="auto">
            <a:xfrm>
              <a:off x="8195850" y="848602"/>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sp>
          <p:nvSpPr>
            <p:cNvPr id="47" name="Legend4"/>
            <p:cNvSpPr>
              <a:spLocks noChangeArrowheads="1"/>
            </p:cNvSpPr>
            <p:nvPr/>
          </p:nvSpPr>
          <p:spPr bwMode="auto">
            <a:xfrm>
              <a:off x="8195850" y="1120065"/>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sp>
          <p:nvSpPr>
            <p:cNvPr id="48" name="Legend5"/>
            <p:cNvSpPr>
              <a:spLocks noChangeArrowheads="1"/>
            </p:cNvSpPr>
            <p:nvPr/>
          </p:nvSpPr>
          <p:spPr bwMode="auto">
            <a:xfrm>
              <a:off x="8195850" y="139629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grpSp>
          <p:nvGrpSpPr>
            <p:cNvPr id="49" name="MoonLegend3"/>
            <p:cNvGrpSpPr>
              <a:grpSpLocks noChangeAspect="1"/>
            </p:cNvGrpSpPr>
            <p:nvPr>
              <p:custDataLst>
                <p:tags r:id="rId13"/>
              </p:custDataLst>
            </p:nvPr>
          </p:nvGrpSpPr>
          <p:grpSpPr bwMode="auto">
            <a:xfrm>
              <a:off x="7875175" y="835107"/>
              <a:ext cx="209550" cy="209551"/>
              <a:chOff x="4495" y="1198"/>
              <a:chExt cx="160" cy="160"/>
            </a:xfrm>
          </p:grpSpPr>
          <p:sp>
            <p:nvSpPr>
              <p:cNvPr id="53"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sp>
            <p:nvSpPr>
              <p:cNvPr id="54"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grpSp>
        <p:grpSp>
          <p:nvGrpSpPr>
            <p:cNvPr id="50" name="MoonLegend1"/>
            <p:cNvGrpSpPr>
              <a:grpSpLocks noChangeAspect="1"/>
            </p:cNvGrpSpPr>
            <p:nvPr userDrawn="1">
              <p:custDataLst>
                <p:tags r:id="rId14"/>
              </p:custDataLst>
            </p:nvPr>
          </p:nvGrpSpPr>
          <p:grpSpPr bwMode="auto">
            <a:xfrm>
              <a:off x="7875175" y="286625"/>
              <a:ext cx="209550" cy="209551"/>
              <a:chOff x="1694" y="2044"/>
              <a:chExt cx="160" cy="160"/>
            </a:xfrm>
          </p:grpSpPr>
          <p:sp>
            <p:nvSpPr>
              <p:cNvPr id="51"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sp>
            <p:nvSpPr>
              <p:cNvPr id="52" name="Arc 42" hidden="1"/>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grpSp>
      </p:grpSp>
      <p:sp>
        <p:nvSpPr>
          <p:cNvPr id="61" name="Slide Number"/>
          <p:cNvSpPr txBox="1">
            <a:spLocks/>
          </p:cNvSpPr>
          <p:nvPr/>
        </p:nvSpPr>
        <p:spPr>
          <a:xfrm>
            <a:off x="11560591" y="6623262"/>
            <a:ext cx="158697" cy="15696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20" smtClean="0">
                <a:solidFill>
                  <a:srgbClr val="000000"/>
                </a:solidFill>
              </a:rPr>
              <a:pPr algn="r" fontAlgn="base">
                <a:spcBef>
                  <a:spcPct val="0"/>
                </a:spcBef>
                <a:spcAft>
                  <a:spcPct val="0"/>
                </a:spcAft>
              </a:pPr>
              <a:t>‹#›</a:t>
            </a:fld>
            <a:endParaRPr lang="en-US" sz="1020">
              <a:solidFill>
                <a:srgbClr val="000000"/>
              </a:solidFill>
            </a:endParaRPr>
          </a:p>
        </p:txBody>
      </p:sp>
      <p:sp>
        <p:nvSpPr>
          <p:cNvPr id="62" name="Rectangle 34"/>
          <p:cNvSpPr>
            <a:spLocks noChangeArrowheads="1"/>
          </p:cNvSpPr>
          <p:nvPr/>
        </p:nvSpPr>
        <p:spPr bwMode="invGray">
          <a:xfrm flipV="1">
            <a:off x="1" y="990601"/>
            <a:ext cx="10769600" cy="76200"/>
          </a:xfrm>
          <a:prstGeom prst="rect">
            <a:avLst/>
          </a:prstGeom>
          <a:solidFill>
            <a:srgbClr val="D31145"/>
          </a:solidFill>
          <a:ln w="9525">
            <a:noFill/>
            <a:miter lim="800000"/>
            <a:headEnd/>
            <a:tailEnd/>
          </a:ln>
          <a:effectLst/>
        </p:spPr>
        <p:txBody>
          <a:bodyPr wrap="none" anchor="ctr"/>
          <a:lstStyle/>
          <a:p>
            <a:pPr fontAlgn="base">
              <a:spcBef>
                <a:spcPct val="20000"/>
              </a:spcBef>
              <a:spcAft>
                <a:spcPct val="0"/>
              </a:spcAft>
              <a:buFontTx/>
              <a:buChar char="•"/>
            </a:pPr>
            <a:endParaRPr lang="en-US" sz="1200">
              <a:solidFill>
                <a:srgbClr val="000000"/>
              </a:solidFill>
              <a:ea typeface="微軟正黑體"/>
            </a:endParaRPr>
          </a:p>
        </p:txBody>
      </p:sp>
      <p:pic>
        <p:nvPicPr>
          <p:cNvPr id="4" name="Picture 3"/>
          <p:cNvPicPr>
            <a:picLocks noChangeAspect="1"/>
          </p:cNvPicPr>
          <p:nvPr/>
        </p:nvPicPr>
        <p:blipFill>
          <a:blip r:embed="rId27"/>
          <a:stretch>
            <a:fillRect/>
          </a:stretch>
        </p:blipFill>
        <p:spPr bwMode="invGray">
          <a:xfrm>
            <a:off x="10972800" y="457201"/>
            <a:ext cx="746488" cy="597155"/>
          </a:xfrm>
          <a:prstGeom prst="rect">
            <a:avLst/>
          </a:prstGeom>
        </p:spPr>
      </p:pic>
    </p:spTree>
    <p:extLst>
      <p:ext uri="{BB962C8B-B14F-4D97-AF65-F5344CB8AC3E}">
        <p14:creationId xmlns:p14="http://schemas.microsoft.com/office/powerpoint/2010/main" val="1721562170"/>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Lst>
  <p:hf hdr="0" ftr="0" dt="0"/>
  <p:txStyles>
    <p:titleStyle>
      <a:lvl1pPr algn="l" defTabSz="913526" rtl="0" eaLnBrk="1" fontAlgn="base" hangingPunct="1">
        <a:spcBef>
          <a:spcPct val="0"/>
        </a:spcBef>
        <a:spcAft>
          <a:spcPct val="0"/>
        </a:spcAft>
        <a:tabLst>
          <a:tab pos="275353" algn="l"/>
        </a:tabLst>
        <a:defRPr sz="2041" b="1" baseline="0">
          <a:solidFill>
            <a:schemeClr val="tx1"/>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1"/>
            </p:custDataLst>
            <p:extLst>
              <p:ext uri="{D42A27DB-BD31-4B8C-83A1-F6EECF244321}">
                <p14:modId xmlns:p14="http://schemas.microsoft.com/office/powerpoint/2010/main" val="5504530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130"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724720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 id="2147483773" r:id="rId30"/>
    <p:sldLayoutId id="2147483774" r:id="rId31"/>
    <p:sldLayoutId id="2147483775" r:id="rId32"/>
    <p:sldLayoutId id="2147483776" r:id="rId33"/>
    <p:sldLayoutId id="2147483777" r:id="rId34"/>
    <p:sldLayoutId id="2147483778" r:id="rId35"/>
    <p:sldLayoutId id="2147483779" r:id="rId36"/>
    <p:sldLayoutId id="2147483780" r:id="rId37"/>
    <p:sldLayoutId id="2147483781" r:id="rId38"/>
    <p:sldLayoutId id="2147483782" r:id="rId39"/>
    <p:sldLayoutId id="2147483783" r:id="rId40"/>
    <p:sldLayoutId id="2147483784" r:id="rId41"/>
    <p:sldLayoutId id="2147483785" r:id="rId42"/>
    <p:sldLayoutId id="2147483786" r:id="rId43"/>
    <p:sldLayoutId id="2147483787" r:id="rId44"/>
    <p:sldLayoutId id="2147483788" r:id="rId45"/>
    <p:sldLayoutId id="2147483789" r:id="rId46"/>
    <p:sldLayoutId id="2147483790" r:id="rId47"/>
    <p:sldLayoutId id="2147483791" r:id="rId48"/>
    <p:sldLayoutId id="2147483792" r:id="rId49"/>
    <p:sldLayoutId id="2147483793" r:id="rId50"/>
    <p:sldLayoutId id="2147483794" r:id="rId51"/>
    <p:sldLayoutId id="2147483795" r:id="rId52"/>
    <p:sldLayoutId id="2147483796" r:id="rId53"/>
    <p:sldLayoutId id="2147483797" r:id="rId54"/>
    <p:sldLayoutId id="2147483798" r:id="rId55"/>
    <p:sldLayoutId id="2147483799" r:id="rId56"/>
    <p:sldLayoutId id="2147483800" r:id="rId57"/>
    <p:sldLayoutId id="2147483801" r:id="rId58"/>
    <p:sldLayoutId id="2147483802" r:id="rId59"/>
    <p:sldLayoutId id="2147483803" r:id="rId60"/>
    <p:sldLayoutId id="2147483804" r:id="rId61"/>
    <p:sldLayoutId id="2147483805" r:id="rId62"/>
    <p:sldLayoutId id="2147483806" r:id="rId63"/>
    <p:sldLayoutId id="2147483807" r:id="rId64"/>
    <p:sldLayoutId id="2147483808" r:id="rId65"/>
    <p:sldLayoutId id="2147483809" r:id="rId66"/>
    <p:sldLayoutId id="2147483810" r:id="rId67"/>
    <p:sldLayoutId id="2147483811"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1"/>
            </p:custDataLst>
            <p:extLst>
              <p:ext uri="{D42A27DB-BD31-4B8C-83A1-F6EECF244321}">
                <p14:modId xmlns:p14="http://schemas.microsoft.com/office/powerpoint/2010/main" val="1309600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786"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0180291"/>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31" r:id="rId19"/>
    <p:sldLayoutId id="2147483832" r:id="rId20"/>
    <p:sldLayoutId id="2147483833" r:id="rId21"/>
    <p:sldLayoutId id="2147483834" r:id="rId22"/>
    <p:sldLayoutId id="2147483835" r:id="rId23"/>
    <p:sldLayoutId id="2147483836" r:id="rId24"/>
    <p:sldLayoutId id="2147483837" r:id="rId25"/>
    <p:sldLayoutId id="2147483838" r:id="rId26"/>
    <p:sldLayoutId id="2147483839" r:id="rId27"/>
    <p:sldLayoutId id="2147483840" r:id="rId28"/>
    <p:sldLayoutId id="2147483841" r:id="rId29"/>
    <p:sldLayoutId id="2147483842" r:id="rId30"/>
    <p:sldLayoutId id="2147483843" r:id="rId31"/>
    <p:sldLayoutId id="2147483844" r:id="rId32"/>
    <p:sldLayoutId id="2147483845" r:id="rId33"/>
    <p:sldLayoutId id="2147483846" r:id="rId34"/>
    <p:sldLayoutId id="2147483847" r:id="rId35"/>
    <p:sldLayoutId id="2147483848" r:id="rId36"/>
    <p:sldLayoutId id="2147483849" r:id="rId37"/>
    <p:sldLayoutId id="2147483850" r:id="rId38"/>
    <p:sldLayoutId id="2147483851" r:id="rId39"/>
    <p:sldLayoutId id="2147483852" r:id="rId40"/>
    <p:sldLayoutId id="2147483853" r:id="rId41"/>
    <p:sldLayoutId id="2147483854" r:id="rId42"/>
    <p:sldLayoutId id="2147483855" r:id="rId43"/>
    <p:sldLayoutId id="2147483856" r:id="rId44"/>
    <p:sldLayoutId id="2147483857" r:id="rId45"/>
    <p:sldLayoutId id="2147483858" r:id="rId46"/>
    <p:sldLayoutId id="2147483859" r:id="rId47"/>
    <p:sldLayoutId id="2147483860" r:id="rId48"/>
    <p:sldLayoutId id="2147483861" r:id="rId49"/>
    <p:sldLayoutId id="2147483862" r:id="rId50"/>
    <p:sldLayoutId id="2147483863" r:id="rId51"/>
    <p:sldLayoutId id="2147483864" r:id="rId52"/>
    <p:sldLayoutId id="2147483865" r:id="rId53"/>
    <p:sldLayoutId id="2147483866" r:id="rId54"/>
    <p:sldLayoutId id="2147483867" r:id="rId55"/>
    <p:sldLayoutId id="2147483868" r:id="rId56"/>
    <p:sldLayoutId id="2147483869" r:id="rId57"/>
    <p:sldLayoutId id="2147483870" r:id="rId58"/>
    <p:sldLayoutId id="2147483871" r:id="rId59"/>
    <p:sldLayoutId id="2147483872" r:id="rId60"/>
    <p:sldLayoutId id="2147483873" r:id="rId61"/>
    <p:sldLayoutId id="2147483874" r:id="rId62"/>
    <p:sldLayoutId id="2147483875" r:id="rId63"/>
    <p:sldLayoutId id="2147483876" r:id="rId64"/>
    <p:sldLayoutId id="2147483877" r:id="rId65"/>
    <p:sldLayoutId id="2147483878" r:id="rId66"/>
    <p:sldLayoutId id="2147483879" r:id="rId67"/>
    <p:sldLayoutId id="2147483880"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226442"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10954028" y="2868749"/>
            <a:ext cx="2285882"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12">
                <a:solidFill>
                  <a:srgbClr val="000000"/>
                </a:solidFill>
                <a:latin typeface="Arial"/>
              </a:rPr>
              <a:t>Last Modified 2/23/2017 3:18 PM Malay Peninsula Standard Time</a:t>
            </a:r>
            <a:endParaRPr lang="en-US" sz="1632">
              <a:solidFill>
                <a:srgbClr val="000000"/>
              </a:solidFill>
              <a:latin typeface="Arial"/>
            </a:endParaRPr>
          </a:p>
        </p:txBody>
      </p:sp>
      <p:sp>
        <p:nvSpPr>
          <p:cNvPr id="1035" name="Printed" hidden="1"/>
          <p:cNvSpPr txBox="1">
            <a:spLocks noChangeArrowheads="1"/>
          </p:cNvSpPr>
          <p:nvPr/>
        </p:nvSpPr>
        <p:spPr bwMode="auto">
          <a:xfrm rot="5400000">
            <a:off x="11063034" y="5086730"/>
            <a:ext cx="2067874"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12">
                <a:solidFill>
                  <a:srgbClr val="000000"/>
                </a:solidFill>
                <a:latin typeface="Arial"/>
              </a:rPr>
              <a:t>Printed 2/21/2017 7:19 PM Malay Peninsula Standard Time</a:t>
            </a:r>
            <a:endParaRPr lang="en-US" sz="1632">
              <a:solidFill>
                <a:srgbClr val="000000"/>
              </a:solidFill>
              <a:latin typeface="Arial"/>
            </a:endParaRPr>
          </a:p>
        </p:txBody>
      </p:sp>
      <p:sp>
        <p:nvSpPr>
          <p:cNvPr id="19" name="Title Placeholder 2"/>
          <p:cNvSpPr>
            <a:spLocks noGrp="1" noChangeArrowheads="1"/>
          </p:cNvSpPr>
          <p:nvPr>
            <p:ph type="title"/>
          </p:nvPr>
        </p:nvSpPr>
        <p:spPr bwMode="auto">
          <a:xfrm>
            <a:off x="161989" y="614413"/>
            <a:ext cx="106076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61990" y="9719"/>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28">
                <a:solidFill>
                  <a:srgbClr val="808080"/>
                </a:solidFill>
              </a:rPr>
              <a:t>TRACKER</a:t>
            </a:r>
          </a:p>
        </p:txBody>
      </p:sp>
      <p:sp>
        <p:nvSpPr>
          <p:cNvPr id="11" name="3. Unit of measure" hidden="1"/>
          <p:cNvSpPr txBox="1">
            <a:spLocks noChangeArrowheads="1"/>
          </p:cNvSpPr>
          <p:nvPr/>
        </p:nvSpPr>
        <p:spPr bwMode="auto">
          <a:xfrm>
            <a:off x="161989" y="1098880"/>
            <a:ext cx="10607613"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32">
                <a:solidFill>
                  <a:srgbClr val="808080"/>
                </a:solidFill>
                <a:latin typeface="Arial"/>
              </a:rPr>
              <a:t>Unit of measure</a:t>
            </a:r>
          </a:p>
        </p:txBody>
      </p:sp>
      <p:grpSp>
        <p:nvGrpSpPr>
          <p:cNvPr id="12" name="Slide Elements" hidden="1"/>
          <p:cNvGrpSpPr>
            <a:grpSpLocks/>
          </p:cNvGrpSpPr>
          <p:nvPr/>
        </p:nvGrpSpPr>
        <p:grpSpPr bwMode="auto">
          <a:xfrm>
            <a:off x="161989" y="6432017"/>
            <a:ext cx="11557299" cy="348246"/>
            <a:chOff x="75" y="3935"/>
            <a:chExt cx="5385" cy="215"/>
          </a:xfrm>
        </p:grpSpPr>
        <p:sp>
          <p:nvSpPr>
            <p:cNvPr id="13" name="4. Footnote"/>
            <p:cNvSpPr txBox="1">
              <a:spLocks noChangeArrowheads="1"/>
            </p:cNvSpPr>
            <p:nvPr/>
          </p:nvSpPr>
          <p:spPr bwMode="auto">
            <a:xfrm>
              <a:off x="75" y="3935"/>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a:solidFill>
                    <a:srgbClr val="000000"/>
                  </a:solidFill>
                  <a:latin typeface="Arial"/>
                </a:rPr>
                <a:t>1 Footnote</a:t>
              </a:r>
            </a:p>
          </p:txBody>
        </p:sp>
        <p:sp>
          <p:nvSpPr>
            <p:cNvPr id="14" name="5. Source"/>
            <p:cNvSpPr>
              <a:spLocks noChangeArrowheads="1"/>
            </p:cNvSpPr>
            <p:nvPr/>
          </p:nvSpPr>
          <p:spPr bwMode="auto">
            <a:xfrm>
              <a:off x="75" y="4051"/>
              <a:ext cx="5140"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75" indent="-621975" defTabSz="913526" fontAlgn="base">
                <a:spcBef>
                  <a:spcPct val="0"/>
                </a:spcBef>
                <a:spcAft>
                  <a:spcPct val="0"/>
                </a:spcAft>
                <a:tabLst>
                  <a:tab pos="625214" algn="l"/>
                </a:tabLst>
              </a:pPr>
              <a:r>
                <a:rPr lang="en-US" sz="1020">
                  <a:solidFill>
                    <a:srgbClr val="000000"/>
                  </a:solidFill>
                </a:rPr>
                <a:t>SOURCE: Source</a:t>
              </a:r>
            </a:p>
          </p:txBody>
        </p:sp>
      </p:grpSp>
      <p:grpSp>
        <p:nvGrpSpPr>
          <p:cNvPr id="15" name="ACET" hidden="1"/>
          <p:cNvGrpSpPr>
            <a:grpSpLocks/>
          </p:cNvGrpSpPr>
          <p:nvPr/>
        </p:nvGrpSpPr>
        <p:grpSpPr bwMode="auto">
          <a:xfrm>
            <a:off x="1976207" y="2282223"/>
            <a:ext cx="5853024"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32" b="1">
                  <a:solidFill>
                    <a:srgbClr val="000000"/>
                  </a:solidFill>
                </a:rPr>
                <a:t>Title</a:t>
              </a:r>
            </a:p>
            <a:p>
              <a:pPr fontAlgn="base">
                <a:spcBef>
                  <a:spcPct val="0"/>
                </a:spcBef>
                <a:spcAft>
                  <a:spcPct val="0"/>
                </a:spcAft>
              </a:pPr>
              <a:r>
                <a:rPr lang="en-US" sz="1632">
                  <a:solidFill>
                    <a:srgbClr val="808080"/>
                  </a:solidFill>
                </a:rPr>
                <a:t>Unit of measure</a:t>
              </a:r>
            </a:p>
          </p:txBody>
        </p:sp>
      </p:grpSp>
      <p:sp>
        <p:nvSpPr>
          <p:cNvPr id="3" name="Text Placeholder 2"/>
          <p:cNvSpPr>
            <a:spLocks noGrp="1"/>
          </p:cNvSpPr>
          <p:nvPr>
            <p:ph type="body" idx="1"/>
          </p:nvPr>
        </p:nvSpPr>
        <p:spPr>
          <a:xfrm>
            <a:off x="1976208" y="2902453"/>
            <a:ext cx="5853024" cy="125611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LegendBoxes" hidden="1"/>
          <p:cNvGrpSpPr>
            <a:grpSpLocks/>
          </p:cNvGrpSpPr>
          <p:nvPr/>
        </p:nvGrpSpPr>
        <p:grpSpPr bwMode="auto">
          <a:xfrm>
            <a:off x="10680425" y="1142815"/>
            <a:ext cx="863915" cy="1017202"/>
            <a:chOff x="4936" y="176"/>
            <a:chExt cx="400" cy="628"/>
          </a:xfrm>
        </p:grpSpPr>
        <p:sp>
          <p:nvSpPr>
            <p:cNvPr id="21" name="Legend1"/>
            <p:cNvSpPr>
              <a:spLocks noChangeArrowheads="1"/>
            </p:cNvSpPr>
            <p:nvPr/>
          </p:nvSpPr>
          <p:spPr bwMode="auto">
            <a:xfrm>
              <a:off x="5096" y="176"/>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sp>
          <p:nvSpPr>
            <p:cNvPr id="22"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sp>
          <p:nvSpPr>
            <p:cNvPr id="23" name="Legend2"/>
            <p:cNvSpPr>
              <a:spLocks noChangeArrowheads="1"/>
            </p:cNvSpPr>
            <p:nvPr/>
          </p:nvSpPr>
          <p:spPr bwMode="auto">
            <a:xfrm>
              <a:off x="5096" y="346"/>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sp>
          <p:nvSpPr>
            <p:cNvPr id="24"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sp>
          <p:nvSpPr>
            <p:cNvPr id="25" name="Legend3"/>
            <p:cNvSpPr>
              <a:spLocks noChangeArrowheads="1"/>
            </p:cNvSpPr>
            <p:nvPr/>
          </p:nvSpPr>
          <p:spPr bwMode="auto">
            <a:xfrm>
              <a:off x="5096" y="517"/>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sp>
          <p:nvSpPr>
            <p:cNvPr id="26"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sp>
          <p:nvSpPr>
            <p:cNvPr id="27" name="Legend4"/>
            <p:cNvSpPr>
              <a:spLocks noChangeArrowheads="1"/>
            </p:cNvSpPr>
            <p:nvPr/>
          </p:nvSpPr>
          <p:spPr bwMode="auto">
            <a:xfrm>
              <a:off x="5096" y="688"/>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sp>
          <p:nvSpPr>
            <p:cNvPr id="28"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grpSp>
      <p:grpSp>
        <p:nvGrpSpPr>
          <p:cNvPr id="29" name="LegendLines" hidden="1"/>
          <p:cNvGrpSpPr>
            <a:grpSpLocks/>
          </p:cNvGrpSpPr>
          <p:nvPr/>
        </p:nvGrpSpPr>
        <p:grpSpPr bwMode="auto">
          <a:xfrm>
            <a:off x="10261427" y="1142816"/>
            <a:ext cx="1282914" cy="745084"/>
            <a:chOff x="4750" y="176"/>
            <a:chExt cx="594" cy="460"/>
          </a:xfrm>
        </p:grpSpPr>
        <p:sp>
          <p:nvSpPr>
            <p:cNvPr id="30"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32">
                <a:solidFill>
                  <a:srgbClr val="000000"/>
                </a:solidFill>
              </a:endParaRPr>
            </a:p>
          </p:txBody>
        </p:sp>
        <p:sp>
          <p:nvSpPr>
            <p:cNvPr id="31"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32">
                <a:solidFill>
                  <a:srgbClr val="000000"/>
                </a:solidFill>
              </a:endParaRPr>
            </a:p>
          </p:txBody>
        </p:sp>
        <p:sp>
          <p:nvSpPr>
            <p:cNvPr id="32"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32">
                <a:solidFill>
                  <a:srgbClr val="000000"/>
                </a:solidFill>
              </a:endParaRPr>
            </a:p>
          </p:txBody>
        </p:sp>
        <p:sp>
          <p:nvSpPr>
            <p:cNvPr id="33" name="Legend1"/>
            <p:cNvSpPr>
              <a:spLocks noChangeArrowheads="1"/>
            </p:cNvSpPr>
            <p:nvPr/>
          </p:nvSpPr>
          <p:spPr bwMode="auto">
            <a:xfrm>
              <a:off x="5104" y="176"/>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sp>
          <p:nvSpPr>
            <p:cNvPr id="34" name="Legend2"/>
            <p:cNvSpPr>
              <a:spLocks noChangeArrowheads="1"/>
            </p:cNvSpPr>
            <p:nvPr/>
          </p:nvSpPr>
          <p:spPr bwMode="auto">
            <a:xfrm>
              <a:off x="5104" y="344"/>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sp>
          <p:nvSpPr>
            <p:cNvPr id="35" name="Legend3"/>
            <p:cNvSpPr>
              <a:spLocks noChangeArrowheads="1"/>
            </p:cNvSpPr>
            <p:nvPr/>
          </p:nvSpPr>
          <p:spPr bwMode="auto">
            <a:xfrm>
              <a:off x="5104" y="520"/>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grpSp>
      <p:grpSp>
        <p:nvGrpSpPr>
          <p:cNvPr id="36" name="Sticker" hidden="1"/>
          <p:cNvGrpSpPr/>
          <p:nvPr/>
        </p:nvGrpSpPr>
        <p:grpSpPr bwMode="auto">
          <a:xfrm>
            <a:off x="10631617" y="1142817"/>
            <a:ext cx="1087669" cy="216085"/>
            <a:chOff x="7941310" y="285750"/>
            <a:chExt cx="799465" cy="211783"/>
          </a:xfrm>
        </p:grpSpPr>
        <p:sp>
          <p:nvSpPr>
            <p:cNvPr id="37" name="StickerRectangle"/>
            <p:cNvSpPr>
              <a:spLocks noChangeArrowheads="1"/>
            </p:cNvSpPr>
            <p:nvPr/>
          </p:nvSpPr>
          <p:spPr bwMode="auto">
            <a:xfrm>
              <a:off x="7941310" y="285750"/>
              <a:ext cx="799465" cy="2117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D31145"/>
                </a:buClr>
              </a:pPr>
              <a:r>
                <a:rPr lang="en-US" sz="1224">
                  <a:solidFill>
                    <a:srgbClr val="808080"/>
                  </a:solidFill>
                </a:rPr>
                <a:t>PRELIMINARY</a:t>
              </a:r>
            </a:p>
          </p:txBody>
        </p:sp>
        <p:cxnSp>
          <p:nvCxnSpPr>
            <p:cNvPr id="38" name="AutoShape 31"/>
            <p:cNvCxnSpPr>
              <a:cxnSpLocks noChangeShapeType="1"/>
              <a:stCxn id="37" idx="2"/>
              <a:endCxn id="37" idx="4"/>
            </p:cNvCxnSpPr>
            <p:nvPr/>
          </p:nvCxnSpPr>
          <p:spPr bwMode="auto">
            <a:xfrm>
              <a:off x="7941310" y="285750"/>
              <a:ext cx="0" cy="21178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9" name="AutoShape 32"/>
            <p:cNvCxnSpPr>
              <a:cxnSpLocks noChangeShapeType="1"/>
              <a:stCxn id="37" idx="4"/>
              <a:endCxn id="37" idx="6"/>
            </p:cNvCxnSpPr>
            <p:nvPr/>
          </p:nvCxnSpPr>
          <p:spPr bwMode="auto">
            <a:xfrm>
              <a:off x="7941310" y="497533"/>
              <a:ext cx="7994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0" name="LegendMoons" hidden="1"/>
          <p:cNvGrpSpPr/>
          <p:nvPr/>
        </p:nvGrpSpPr>
        <p:grpSpPr>
          <a:xfrm>
            <a:off x="10589496" y="1142815"/>
            <a:ext cx="955651" cy="1333054"/>
            <a:chOff x="7875175" y="286625"/>
            <a:chExt cx="702428" cy="1306516"/>
          </a:xfrm>
        </p:grpSpPr>
        <p:grpSp>
          <p:nvGrpSpPr>
            <p:cNvPr id="41" name="MoonLegend2"/>
            <p:cNvGrpSpPr>
              <a:grpSpLocks noChangeAspect="1"/>
            </p:cNvGrpSpPr>
            <p:nvPr>
              <p:custDataLst>
                <p:tags r:id="rId7"/>
              </p:custDataLst>
            </p:nvPr>
          </p:nvGrpSpPr>
          <p:grpSpPr bwMode="auto">
            <a:xfrm>
              <a:off x="7875175" y="5608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grpSp>
        <p:grpSp>
          <p:nvGrpSpPr>
            <p:cNvPr id="42" name="MoonLegend4"/>
            <p:cNvGrpSpPr>
              <a:grpSpLocks noChangeAspect="1"/>
            </p:cNvGrpSpPr>
            <p:nvPr>
              <p:custDataLst>
                <p:tags r:id="rId8"/>
              </p:custDataLst>
            </p:nvPr>
          </p:nvGrpSpPr>
          <p:grpSpPr bwMode="auto">
            <a:xfrm>
              <a:off x="7875175" y="11093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grpSp>
        <p:grpSp>
          <p:nvGrpSpPr>
            <p:cNvPr id="43" name="MoonLegend5"/>
            <p:cNvGrpSpPr>
              <a:grpSpLocks noChangeAspect="1"/>
            </p:cNvGrpSpPr>
            <p:nvPr>
              <p:custDataLst>
                <p:tags r:id="rId9"/>
              </p:custDataLst>
            </p:nvPr>
          </p:nvGrpSpPr>
          <p:grpSpPr bwMode="auto">
            <a:xfrm>
              <a:off x="7875175" y="13835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grpSp>
        <p:sp>
          <p:nvSpPr>
            <p:cNvPr id="44" name="Legend1"/>
            <p:cNvSpPr>
              <a:spLocks noChangeArrowheads="1"/>
            </p:cNvSpPr>
            <p:nvPr/>
          </p:nvSpPr>
          <p:spPr bwMode="auto">
            <a:xfrm>
              <a:off x="8195850" y="299325"/>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sp>
          <p:nvSpPr>
            <p:cNvPr id="45" name="Legend2"/>
            <p:cNvSpPr>
              <a:spLocks noChangeArrowheads="1"/>
            </p:cNvSpPr>
            <p:nvPr/>
          </p:nvSpPr>
          <p:spPr bwMode="auto">
            <a:xfrm>
              <a:off x="8195850" y="573963"/>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sp>
          <p:nvSpPr>
            <p:cNvPr id="46" name="Legend3"/>
            <p:cNvSpPr>
              <a:spLocks noChangeArrowheads="1"/>
            </p:cNvSpPr>
            <p:nvPr/>
          </p:nvSpPr>
          <p:spPr bwMode="auto">
            <a:xfrm>
              <a:off x="8195850" y="848602"/>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sp>
          <p:nvSpPr>
            <p:cNvPr id="47" name="Legend4"/>
            <p:cNvSpPr>
              <a:spLocks noChangeArrowheads="1"/>
            </p:cNvSpPr>
            <p:nvPr/>
          </p:nvSpPr>
          <p:spPr bwMode="auto">
            <a:xfrm>
              <a:off x="8195850" y="1120065"/>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sp>
          <p:nvSpPr>
            <p:cNvPr id="48" name="Legend5"/>
            <p:cNvSpPr>
              <a:spLocks noChangeArrowheads="1"/>
            </p:cNvSpPr>
            <p:nvPr/>
          </p:nvSpPr>
          <p:spPr bwMode="auto">
            <a:xfrm>
              <a:off x="8195850" y="139629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D31145"/>
                </a:buClr>
              </a:pPr>
              <a:r>
                <a:rPr lang="en-US" sz="1224">
                  <a:solidFill>
                    <a:srgbClr val="000000"/>
                  </a:solidFill>
                </a:rPr>
                <a:t>Legend</a:t>
              </a:r>
            </a:p>
          </p:txBody>
        </p:sp>
        <p:grpSp>
          <p:nvGrpSpPr>
            <p:cNvPr id="49" name="MoonLegend3"/>
            <p:cNvGrpSpPr>
              <a:grpSpLocks noChangeAspect="1"/>
            </p:cNvGrpSpPr>
            <p:nvPr>
              <p:custDataLst>
                <p:tags r:id="rId10"/>
              </p:custDataLst>
            </p:nvPr>
          </p:nvGrpSpPr>
          <p:grpSpPr bwMode="auto">
            <a:xfrm>
              <a:off x="7875175" y="8351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grpSp>
        <p:grpSp>
          <p:nvGrpSpPr>
            <p:cNvPr id="50" name="MoonLegend1"/>
            <p:cNvGrpSpPr>
              <a:grpSpLocks noChangeAspect="1"/>
            </p:cNvGrpSpPr>
            <p:nvPr userDrawn="1">
              <p:custDataLst>
                <p:tags r:id="rId11"/>
              </p:custDataLst>
            </p:nvPr>
          </p:nvGrpSpPr>
          <p:grpSpPr bwMode="auto">
            <a:xfrm>
              <a:off x="7875175" y="286625"/>
              <a:ext cx="209550" cy="209551"/>
              <a:chOff x="1694" y="2044"/>
              <a:chExt cx="160" cy="160"/>
            </a:xfrm>
          </p:grpSpPr>
          <p:sp>
            <p:nvSpPr>
              <p:cNvPr id="51"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sp>
            <p:nvSpPr>
              <p:cNvPr id="52" name="Arc 42" hidden="1"/>
              <p:cNvSpPr>
                <a:spLocks noChangeAspect="1"/>
              </p:cNvSpPr>
              <p:nvPr>
                <p:custDataLst>
                  <p:tags r:id="rId13"/>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grpSp>
      </p:grpSp>
      <p:sp>
        <p:nvSpPr>
          <p:cNvPr id="61" name="Slide Number"/>
          <p:cNvSpPr txBox="1">
            <a:spLocks/>
          </p:cNvSpPr>
          <p:nvPr/>
        </p:nvSpPr>
        <p:spPr>
          <a:xfrm>
            <a:off x="11560591" y="6623262"/>
            <a:ext cx="158697" cy="15696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20" smtClean="0">
                <a:solidFill>
                  <a:srgbClr val="000000"/>
                </a:solidFill>
              </a:rPr>
              <a:pPr algn="r" fontAlgn="base">
                <a:spcBef>
                  <a:spcPct val="0"/>
                </a:spcBef>
                <a:spcAft>
                  <a:spcPct val="0"/>
                </a:spcAft>
              </a:pPr>
              <a:t>‹#›</a:t>
            </a:fld>
            <a:endParaRPr lang="en-US" sz="1020">
              <a:solidFill>
                <a:srgbClr val="000000"/>
              </a:solidFill>
            </a:endParaRPr>
          </a:p>
        </p:txBody>
      </p:sp>
      <p:sp>
        <p:nvSpPr>
          <p:cNvPr id="62" name="Rectangle 34"/>
          <p:cNvSpPr>
            <a:spLocks noChangeArrowheads="1"/>
          </p:cNvSpPr>
          <p:nvPr/>
        </p:nvSpPr>
        <p:spPr bwMode="invGray">
          <a:xfrm flipV="1">
            <a:off x="1" y="990601"/>
            <a:ext cx="10769600" cy="76200"/>
          </a:xfrm>
          <a:prstGeom prst="rect">
            <a:avLst/>
          </a:prstGeom>
          <a:solidFill>
            <a:srgbClr val="D31145"/>
          </a:solidFill>
          <a:ln w="9525">
            <a:noFill/>
            <a:miter lim="800000"/>
            <a:headEnd/>
            <a:tailEnd/>
          </a:ln>
          <a:effectLst/>
        </p:spPr>
        <p:txBody>
          <a:bodyPr wrap="none" anchor="ctr"/>
          <a:lstStyle/>
          <a:p>
            <a:pPr fontAlgn="base">
              <a:spcBef>
                <a:spcPct val="20000"/>
              </a:spcBef>
              <a:spcAft>
                <a:spcPct val="0"/>
              </a:spcAft>
              <a:buFontTx/>
              <a:buChar char="•"/>
            </a:pPr>
            <a:endParaRPr lang="en-US" sz="1200">
              <a:solidFill>
                <a:srgbClr val="000000"/>
              </a:solidFill>
              <a:ea typeface="微軟正黑體"/>
            </a:endParaRPr>
          </a:p>
        </p:txBody>
      </p:sp>
      <p:pic>
        <p:nvPicPr>
          <p:cNvPr id="4" name="Picture 3"/>
          <p:cNvPicPr>
            <a:picLocks noChangeAspect="1"/>
          </p:cNvPicPr>
          <p:nvPr/>
        </p:nvPicPr>
        <p:blipFill>
          <a:blip r:embed="rId24"/>
          <a:stretch>
            <a:fillRect/>
          </a:stretch>
        </p:blipFill>
        <p:spPr bwMode="invGray">
          <a:xfrm>
            <a:off x="10972800" y="457201"/>
            <a:ext cx="746488" cy="597155"/>
          </a:xfrm>
          <a:prstGeom prst="rect">
            <a:avLst/>
          </a:prstGeom>
        </p:spPr>
      </p:pic>
    </p:spTree>
    <p:extLst>
      <p:ext uri="{BB962C8B-B14F-4D97-AF65-F5344CB8AC3E}">
        <p14:creationId xmlns:p14="http://schemas.microsoft.com/office/powerpoint/2010/main" val="3133711618"/>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Lst>
  <p:hf hdr="0" ftr="0" dt="0"/>
  <p:txStyles>
    <p:titleStyle>
      <a:lvl1pPr algn="l" defTabSz="913526" rtl="0" eaLnBrk="1" fontAlgn="base" hangingPunct="1">
        <a:spcBef>
          <a:spcPct val="0"/>
        </a:spcBef>
        <a:spcAft>
          <a:spcPct val="0"/>
        </a:spcAft>
        <a:tabLst>
          <a:tab pos="275353" algn="l"/>
        </a:tabLst>
        <a:defRPr sz="2041" b="1" baseline="0">
          <a:solidFill>
            <a:schemeClr val="tx1"/>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27.svg"/><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image" Target="../media/image121.png"/><Relationship Id="rId1" Type="http://schemas.openxmlformats.org/officeDocument/2006/relationships/slideLayout" Target="../slideLayouts/slideLayout28.xml"/><Relationship Id="rId6" Type="http://schemas.openxmlformats.org/officeDocument/2006/relationships/image" Target="../media/image125.svg"/><Relationship Id="rId5" Type="http://schemas.openxmlformats.org/officeDocument/2006/relationships/image" Target="../media/image124.png"/><Relationship Id="rId4" Type="http://schemas.openxmlformats.org/officeDocument/2006/relationships/image" Target="../media/image123.svg"/><Relationship Id="rId9" Type="http://schemas.openxmlformats.org/officeDocument/2006/relationships/image" Target="../media/image128.png"/></Relationships>
</file>

<file path=ppt/slides/_rels/slide1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slideLayout" Target="../slideLayouts/slideLayout28.xml"/><Relationship Id="rId1" Type="http://schemas.openxmlformats.org/officeDocument/2006/relationships/vmlDrawing" Target="../drawings/vmlDrawing47.vml"/><Relationship Id="rId4" Type="http://schemas.openxmlformats.org/officeDocument/2006/relationships/image" Target="../media/image129.emf"/></Relationships>
</file>

<file path=ppt/slides/_rels/slide1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slideLayout" Target="../slideLayouts/slideLayout28.xml"/><Relationship Id="rId1" Type="http://schemas.openxmlformats.org/officeDocument/2006/relationships/vmlDrawing" Target="../drawings/vmlDrawing48.vml"/><Relationship Id="rId4" Type="http://schemas.openxmlformats.org/officeDocument/2006/relationships/image" Target="../media/image130.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131.png"/><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2" Type="http://schemas.openxmlformats.org/officeDocument/2006/relationships/comments" Target="../comments/comment4.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xml"/><Relationship Id="rId1" Type="http://schemas.openxmlformats.org/officeDocument/2006/relationships/slideLayout" Target="../slideLayouts/slideLayout27.xml"/><Relationship Id="rId4" Type="http://schemas.openxmlformats.org/officeDocument/2006/relationships/image" Target="../media/image87.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36.png"/><Relationship Id="rId7" Type="http://schemas.openxmlformats.org/officeDocument/2006/relationships/image" Target="../media/image140.png"/><Relationship Id="rId2" Type="http://schemas.openxmlformats.org/officeDocument/2006/relationships/notesSlide" Target="../notesSlides/notesSlide5.xml"/><Relationship Id="rId1" Type="http://schemas.openxmlformats.org/officeDocument/2006/relationships/slideLayout" Target="../slideLayouts/slideLayout28.xml"/><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137.png"/><Relationship Id="rId9" Type="http://schemas.openxmlformats.org/officeDocument/2006/relationships/comments" Target="../comments/comment5.xml"/></Relationships>
</file>

<file path=ppt/slides/_rels/slide22.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6.xml"/><Relationship Id="rId1" Type="http://schemas.openxmlformats.org/officeDocument/2006/relationships/slideLayout" Target="../slideLayouts/slideLayout28.xml"/><Relationship Id="rId5" Type="http://schemas.openxmlformats.org/officeDocument/2006/relationships/comments" Target="../comments/comment6.xml"/><Relationship Id="rId4" Type="http://schemas.openxmlformats.org/officeDocument/2006/relationships/image" Target="../media/image143.png"/></Relationships>
</file>

<file path=ppt/slides/_rels/slide23.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7.xml"/><Relationship Id="rId1" Type="http://schemas.openxmlformats.org/officeDocument/2006/relationships/slideLayout" Target="../slideLayouts/slideLayout28.xml"/><Relationship Id="rId4" Type="http://schemas.openxmlformats.org/officeDocument/2006/relationships/image" Target="../media/image145.png"/></Relationships>
</file>

<file path=ppt/slides/_rels/slide2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8.xml"/><Relationship Id="rId1" Type="http://schemas.openxmlformats.org/officeDocument/2006/relationships/slideLayout" Target="../slideLayouts/slideLayout28.xml"/><Relationship Id="rId4" Type="http://schemas.openxmlformats.org/officeDocument/2006/relationships/image" Target="../media/image147.png"/></Relationships>
</file>

<file path=ppt/slides/_rels/slide25.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9.xml"/><Relationship Id="rId1" Type="http://schemas.openxmlformats.org/officeDocument/2006/relationships/slideLayout" Target="../slideLayouts/slideLayout28.xml"/><Relationship Id="rId4" Type="http://schemas.openxmlformats.org/officeDocument/2006/relationships/image" Target="../media/image149.png"/></Relationships>
</file>

<file path=ppt/slides/_rels/slide26.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xml"/><Relationship Id="rId1" Type="http://schemas.openxmlformats.org/officeDocument/2006/relationships/slideLayout" Target="../slideLayouts/slideLayout28.xml"/><Relationship Id="rId4" Type="http://schemas.openxmlformats.org/officeDocument/2006/relationships/image" Target="../media/image151.png"/></Relationships>
</file>

<file path=ppt/slides/_rels/slide27.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1.xml"/><Relationship Id="rId1" Type="http://schemas.openxmlformats.org/officeDocument/2006/relationships/slideLayout" Target="../slideLayouts/slideLayout28.xml"/><Relationship Id="rId4" Type="http://schemas.openxmlformats.org/officeDocument/2006/relationships/image" Target="../media/image153.png"/></Relationships>
</file>

<file path=ppt/slides/_rels/slide28.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2.xml"/><Relationship Id="rId1" Type="http://schemas.openxmlformats.org/officeDocument/2006/relationships/slideLayout" Target="../slideLayouts/slideLayout28.xml"/><Relationship Id="rId4" Type="http://schemas.openxmlformats.org/officeDocument/2006/relationships/image" Target="../media/image153.png"/></Relationships>
</file>

<file path=ppt/slides/_rels/slide29.xml.rels><?xml version="1.0" encoding="UTF-8" standalone="yes"?>
<Relationships xmlns="http://schemas.openxmlformats.org/package/2006/relationships"><Relationship Id="rId8" Type="http://schemas.openxmlformats.org/officeDocument/2006/relationships/image" Target="../media/image159.png"/><Relationship Id="rId3" Type="http://schemas.openxmlformats.org/officeDocument/2006/relationships/image" Target="../media/image154.png"/><Relationship Id="rId7" Type="http://schemas.openxmlformats.org/officeDocument/2006/relationships/image" Target="../media/image158.png"/><Relationship Id="rId2" Type="http://schemas.openxmlformats.org/officeDocument/2006/relationships/notesSlide" Target="../notesSlides/notesSlide13.xml"/><Relationship Id="rId1" Type="http://schemas.openxmlformats.org/officeDocument/2006/relationships/slideLayout" Target="../slideLayouts/slideLayout28.xml"/><Relationship Id="rId6" Type="http://schemas.openxmlformats.org/officeDocument/2006/relationships/image" Target="../media/image157.png"/><Relationship Id="rId5" Type="http://schemas.openxmlformats.org/officeDocument/2006/relationships/image" Target="../media/image156.png"/><Relationship Id="rId4" Type="http://schemas.openxmlformats.org/officeDocument/2006/relationships/image" Target="../media/image155.png"/></Relationships>
</file>

<file path=ppt/slides/_rels/slide3.xml.rels><?xml version="1.0" encoding="UTF-8" standalone="yes"?>
<Relationships xmlns="http://schemas.openxmlformats.org/package/2006/relationships"><Relationship Id="rId8" Type="http://schemas.openxmlformats.org/officeDocument/2006/relationships/image" Target="../media/image92.svg"/><Relationship Id="rId13" Type="http://schemas.openxmlformats.org/officeDocument/2006/relationships/image" Target="../media/image97.png"/><Relationship Id="rId18" Type="http://schemas.openxmlformats.org/officeDocument/2006/relationships/image" Target="../media/image102.png"/><Relationship Id="rId3" Type="http://schemas.openxmlformats.org/officeDocument/2006/relationships/image" Target="../media/image88.png"/><Relationship Id="rId7" Type="http://schemas.openxmlformats.org/officeDocument/2006/relationships/image" Target="../media/image91.png"/><Relationship Id="rId12" Type="http://schemas.openxmlformats.org/officeDocument/2006/relationships/image" Target="../media/image96.svg"/><Relationship Id="rId17" Type="http://schemas.openxmlformats.org/officeDocument/2006/relationships/image" Target="../media/image101.png"/><Relationship Id="rId2" Type="http://schemas.openxmlformats.org/officeDocument/2006/relationships/notesSlide" Target="../notesSlides/notesSlide3.xml"/><Relationship Id="rId16" Type="http://schemas.openxmlformats.org/officeDocument/2006/relationships/image" Target="../media/image100.svg"/><Relationship Id="rId1" Type="http://schemas.openxmlformats.org/officeDocument/2006/relationships/slideLayout" Target="../slideLayouts/slideLayout28.xml"/><Relationship Id="rId6" Type="http://schemas.openxmlformats.org/officeDocument/2006/relationships/image" Target="../media/image90.svg"/><Relationship Id="rId11" Type="http://schemas.openxmlformats.org/officeDocument/2006/relationships/image" Target="../media/image95.png"/><Relationship Id="rId5" Type="http://schemas.openxmlformats.org/officeDocument/2006/relationships/image" Target="../media/image89.png"/><Relationship Id="rId15" Type="http://schemas.openxmlformats.org/officeDocument/2006/relationships/image" Target="../media/image99.png"/><Relationship Id="rId10" Type="http://schemas.openxmlformats.org/officeDocument/2006/relationships/image" Target="../media/image94.svg"/><Relationship Id="rId4" Type="http://schemas.microsoft.com/office/2007/relationships/hdphoto" Target="../media/hdphoto1.wdp"/><Relationship Id="rId9" Type="http://schemas.openxmlformats.org/officeDocument/2006/relationships/image" Target="../media/image93.png"/><Relationship Id="rId14" Type="http://schemas.openxmlformats.org/officeDocument/2006/relationships/image" Target="../media/image98.svg"/></Relationships>
</file>

<file path=ppt/slides/_rels/slide3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4.xml"/><Relationship Id="rId1" Type="http://schemas.openxmlformats.org/officeDocument/2006/relationships/slideLayout" Target="../slideLayouts/slideLayout28.xml"/><Relationship Id="rId4" Type="http://schemas.openxmlformats.org/officeDocument/2006/relationships/image" Target="../media/image161.png"/></Relationships>
</file>

<file path=ppt/slides/_rels/slide3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5.xml"/><Relationship Id="rId1" Type="http://schemas.openxmlformats.org/officeDocument/2006/relationships/slideLayout" Target="../slideLayouts/slideLayout28.xml"/><Relationship Id="rId5" Type="http://schemas.openxmlformats.org/officeDocument/2006/relationships/image" Target="../media/image164.png"/><Relationship Id="rId4" Type="http://schemas.openxmlformats.org/officeDocument/2006/relationships/image" Target="../media/image163.png"/></Relationships>
</file>

<file path=ppt/slides/_rels/slide32.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6.xml"/><Relationship Id="rId1" Type="http://schemas.openxmlformats.org/officeDocument/2006/relationships/slideLayout" Target="../slideLayouts/slideLayout28.xml"/><Relationship Id="rId5" Type="http://schemas.openxmlformats.org/officeDocument/2006/relationships/image" Target="../media/image166.png"/><Relationship Id="rId4" Type="http://schemas.openxmlformats.org/officeDocument/2006/relationships/image" Target="../media/image165.png"/></Relationships>
</file>

<file path=ppt/slides/_rels/slide33.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7.xml"/><Relationship Id="rId1" Type="http://schemas.openxmlformats.org/officeDocument/2006/relationships/slideLayout" Target="../slideLayouts/slideLayout28.xml"/><Relationship Id="rId4" Type="http://schemas.openxmlformats.org/officeDocument/2006/relationships/image" Target="../media/image168.png"/></Relationships>
</file>

<file path=ppt/slides/_rels/slide34.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8.xml"/><Relationship Id="rId1" Type="http://schemas.openxmlformats.org/officeDocument/2006/relationships/slideLayout" Target="../slideLayouts/slideLayout28.xml"/><Relationship Id="rId4" Type="http://schemas.openxmlformats.org/officeDocument/2006/relationships/image" Target="../media/image170.png"/></Relationships>
</file>

<file path=ppt/slides/_rels/slide35.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9.xml"/><Relationship Id="rId1" Type="http://schemas.openxmlformats.org/officeDocument/2006/relationships/slideLayout" Target="../slideLayouts/slideLayout28.xml"/><Relationship Id="rId4" Type="http://schemas.openxmlformats.org/officeDocument/2006/relationships/image" Target="../media/image172.png"/></Relationships>
</file>

<file path=ppt/slides/_rels/slide36.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20.xml"/><Relationship Id="rId1" Type="http://schemas.openxmlformats.org/officeDocument/2006/relationships/slideLayout" Target="../slideLayouts/slideLayout28.xml"/><Relationship Id="rId4" Type="http://schemas.openxmlformats.org/officeDocument/2006/relationships/image" Target="../media/image174.png"/></Relationships>
</file>

<file path=ppt/slides/_rels/slide37.xml.rels><?xml version="1.0" encoding="UTF-8" standalone="yes"?>
<Relationships xmlns="http://schemas.openxmlformats.org/package/2006/relationships"><Relationship Id="rId8" Type="http://schemas.openxmlformats.org/officeDocument/2006/relationships/image" Target="../media/image180.png"/><Relationship Id="rId3" Type="http://schemas.openxmlformats.org/officeDocument/2006/relationships/image" Target="../media/image175.png"/><Relationship Id="rId7" Type="http://schemas.openxmlformats.org/officeDocument/2006/relationships/image" Target="../media/image179.png"/><Relationship Id="rId2" Type="http://schemas.openxmlformats.org/officeDocument/2006/relationships/notesSlide" Target="../notesSlides/notesSlide21.xml"/><Relationship Id="rId1" Type="http://schemas.openxmlformats.org/officeDocument/2006/relationships/slideLayout" Target="../slideLayouts/slideLayout28.xml"/><Relationship Id="rId6" Type="http://schemas.openxmlformats.org/officeDocument/2006/relationships/image" Target="../media/image178.png"/><Relationship Id="rId5" Type="http://schemas.openxmlformats.org/officeDocument/2006/relationships/image" Target="../media/image177.png"/><Relationship Id="rId10" Type="http://schemas.openxmlformats.org/officeDocument/2006/relationships/image" Target="../media/image182.png"/><Relationship Id="rId4" Type="http://schemas.openxmlformats.org/officeDocument/2006/relationships/image" Target="../media/image176.png"/><Relationship Id="rId9" Type="http://schemas.openxmlformats.org/officeDocument/2006/relationships/image" Target="../media/image181.png"/></Relationships>
</file>

<file path=ppt/slides/_rels/slide38.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22.xml"/><Relationship Id="rId1" Type="http://schemas.openxmlformats.org/officeDocument/2006/relationships/slideLayout" Target="../slideLayouts/slideLayout28.xml"/><Relationship Id="rId5" Type="http://schemas.openxmlformats.org/officeDocument/2006/relationships/image" Target="../media/image182.png"/><Relationship Id="rId4" Type="http://schemas.openxmlformats.org/officeDocument/2006/relationships/image" Target="../media/image184.png"/></Relationships>
</file>

<file path=ppt/slides/_rels/slide39.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23.xml"/><Relationship Id="rId1" Type="http://schemas.openxmlformats.org/officeDocument/2006/relationships/slideLayout" Target="../slideLayouts/slideLayout28.xml"/><Relationship Id="rId4" Type="http://schemas.openxmlformats.org/officeDocument/2006/relationships/image" Target="../media/image186.png"/></Relationships>
</file>

<file path=ppt/slides/_rels/slide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28.xml"/><Relationship Id="rId4" Type="http://schemas.openxmlformats.org/officeDocument/2006/relationships/image" Target="../media/image105.png"/></Relationships>
</file>

<file path=ppt/slides/_rels/slide40.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24.xml"/><Relationship Id="rId1" Type="http://schemas.openxmlformats.org/officeDocument/2006/relationships/slideLayout" Target="../slideLayouts/slideLayout28.xml"/><Relationship Id="rId4" Type="http://schemas.openxmlformats.org/officeDocument/2006/relationships/image" Target="../media/image188.png"/></Relationships>
</file>

<file path=ppt/slides/_rels/slide41.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189.png"/><Relationship Id="rId1" Type="http://schemas.openxmlformats.org/officeDocument/2006/relationships/slideLayout" Target="../slideLayouts/slideLayout28.xml"/><Relationship Id="rId4" Type="http://schemas.openxmlformats.org/officeDocument/2006/relationships/image" Target="../media/image191.png"/></Relationships>
</file>

<file path=ppt/slides/_rels/slide42.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image" Target="../media/image192.png"/><Relationship Id="rId1" Type="http://schemas.openxmlformats.org/officeDocument/2006/relationships/slideLayout" Target="../slideLayouts/slideLayout28.xml"/></Relationships>
</file>

<file path=ppt/slides/_rels/slide43.xml.rels><?xml version="1.0" encoding="UTF-8" standalone="yes"?>
<Relationships xmlns="http://schemas.openxmlformats.org/package/2006/relationships"><Relationship Id="rId2" Type="http://schemas.openxmlformats.org/officeDocument/2006/relationships/image" Target="../media/image194.png"/><Relationship Id="rId1" Type="http://schemas.openxmlformats.org/officeDocument/2006/relationships/slideLayout" Target="../slideLayouts/slideLayout28.xml"/></Relationships>
</file>

<file path=ppt/slides/_rels/slide44.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image" Target="../media/image195.png"/><Relationship Id="rId1" Type="http://schemas.openxmlformats.org/officeDocument/2006/relationships/slideLayout" Target="../slideLayouts/slideLayout28.xml"/><Relationship Id="rId4" Type="http://schemas.openxmlformats.org/officeDocument/2006/relationships/comments" Target="../comments/comment7.xml"/></Relationships>
</file>

<file path=ppt/slides/_rels/slide45.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image" Target="../media/image197.png"/><Relationship Id="rId1" Type="http://schemas.openxmlformats.org/officeDocument/2006/relationships/slideLayout" Target="../slideLayouts/slideLayout28.xml"/><Relationship Id="rId4" Type="http://schemas.openxmlformats.org/officeDocument/2006/relationships/image" Target="../media/image121.png"/></Relationships>
</file>

<file path=ppt/slides/_rels/slide46.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openxmlformats.org/officeDocument/2006/relationships/slideLayout" Target="../slideLayouts/slideLayout28.xml"/><Relationship Id="rId1" Type="http://schemas.openxmlformats.org/officeDocument/2006/relationships/vmlDrawing" Target="../drawings/vmlDrawing49.vml"/><Relationship Id="rId4" Type="http://schemas.openxmlformats.org/officeDocument/2006/relationships/image" Target="../media/image199.emf"/></Relationships>
</file>

<file path=ppt/slides/_rels/slide5.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image" Target="../media/image107.png"/><Relationship Id="rId1" Type="http://schemas.openxmlformats.org/officeDocument/2006/relationships/slideLayout" Target="../slideLayouts/slideLayout28.xml"/><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png"/><Relationship Id="rId10" Type="http://schemas.openxmlformats.org/officeDocument/2006/relationships/image" Target="../media/image115.png"/><Relationship Id="rId4" Type="http://schemas.openxmlformats.org/officeDocument/2006/relationships/image" Target="../media/image109.png"/><Relationship Id="rId9" Type="http://schemas.openxmlformats.org/officeDocument/2006/relationships/image" Target="../media/image114.png"/></Relationships>
</file>

<file path=ppt/slides/_rels/slide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3" Type="http://schemas.openxmlformats.org/officeDocument/2006/relationships/image" Target="../media/image117.png"/><Relationship Id="rId7" Type="http://schemas.openxmlformats.org/officeDocument/2006/relationships/comments" Target="../comments/comment1.xml"/><Relationship Id="rId2" Type="http://schemas.openxmlformats.org/officeDocument/2006/relationships/image" Target="../media/image102.png"/><Relationship Id="rId1" Type="http://schemas.openxmlformats.org/officeDocument/2006/relationships/slideLayout" Target="../slideLayouts/slideLayout28.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9.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598DBDC6-EA2A-4E42-8B1A-19A3976201B8}"/>
              </a:ext>
            </a:extLst>
          </p:cNvPr>
          <p:cNvSpPr>
            <a:spLocks noGrp="1"/>
          </p:cNvSpPr>
          <p:nvPr>
            <p:ph type="subTitle" idx="1"/>
          </p:nvPr>
        </p:nvSpPr>
        <p:spPr>
          <a:xfrm>
            <a:off x="360000" y="5053508"/>
            <a:ext cx="4696094" cy="541047"/>
          </a:xfrm>
        </p:spPr>
        <p:txBody>
          <a:bodyPr/>
          <a:lstStyle/>
          <a:p>
            <a:pPr marL="1076325" indent="-1076325">
              <a:tabLst>
                <a:tab pos="1258888" algn="l"/>
              </a:tabLst>
            </a:pPr>
            <a:r>
              <a:rPr lang="en-US"/>
              <a:t>Prepared by: Business Analytics Department</a:t>
            </a:r>
          </a:p>
          <a:p>
            <a:pPr marL="1076325" indent="-1076325">
              <a:tabLst>
                <a:tab pos="1258888" algn="l"/>
              </a:tabLst>
            </a:pPr>
            <a:r>
              <a:rPr lang="en-US"/>
              <a:t>Date:  	20th September 2021</a:t>
            </a:r>
          </a:p>
          <a:p>
            <a:endParaRPr lang="en-US"/>
          </a:p>
        </p:txBody>
      </p:sp>
      <p:sp>
        <p:nvSpPr>
          <p:cNvPr id="5" name="Text Placeholder 4">
            <a:extLst>
              <a:ext uri="{FF2B5EF4-FFF2-40B4-BE49-F238E27FC236}">
                <a16:creationId xmlns:a16="http://schemas.microsoft.com/office/drawing/2014/main" id="{54F5AE9A-FFF3-4D09-BEE8-78A160A6D341}"/>
              </a:ext>
            </a:extLst>
          </p:cNvPr>
          <p:cNvSpPr>
            <a:spLocks noGrp="1"/>
          </p:cNvSpPr>
          <p:nvPr>
            <p:ph type="body" sz="quarter" idx="10"/>
          </p:nvPr>
        </p:nvSpPr>
        <p:spPr>
          <a:xfrm>
            <a:off x="228000" y="2492378"/>
            <a:ext cx="5868000" cy="755621"/>
          </a:xfrm>
        </p:spPr>
        <p:txBody>
          <a:bodyPr/>
          <a:lstStyle/>
          <a:p>
            <a:r>
              <a:rPr lang="en-GB" sz="2800" b="1">
                <a:latin typeface="Verdana" panose="020B0604030504040204" pitchFamily="34" charset="0"/>
                <a:ea typeface="Verdana" panose="020B0604030504040204" pitchFamily="34" charset="0"/>
              </a:rPr>
              <a:t>Next Recommended Actions</a:t>
            </a:r>
            <a:endParaRPr lang="en-HK" sz="2800" b="1">
              <a:effectLst>
                <a:outerShdw blurRad="38100" dist="38100" dir="2700000" algn="tl">
                  <a:srgbClr val="000000">
                    <a:alpha val="43137"/>
                  </a:srgbClr>
                </a:outerShdw>
              </a:effectLst>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2615911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154;p17">
            <a:extLst>
              <a:ext uri="{FF2B5EF4-FFF2-40B4-BE49-F238E27FC236}">
                <a16:creationId xmlns:a16="http://schemas.microsoft.com/office/drawing/2014/main" id="{9B841323-F250-4F72-9C7E-B93AE586F876}"/>
              </a:ext>
            </a:extLst>
          </p:cNvPr>
          <p:cNvSpPr txBox="1"/>
          <p:nvPr/>
        </p:nvSpPr>
        <p:spPr>
          <a:xfrm>
            <a:off x="417083" y="539833"/>
            <a:ext cx="11416329" cy="487600"/>
          </a:xfrm>
          <a:prstGeom prst="rect">
            <a:avLst/>
          </a:prstGeom>
          <a:solidFill>
            <a:srgbClr val="D31145"/>
          </a:solidFill>
          <a:ln>
            <a:noFill/>
          </a:ln>
          <a:effectLst>
            <a:outerShdw blurRad="50800" dist="38100" dir="2700000" algn="tl" rotWithShape="0">
              <a:prstClr val="black">
                <a:alpha val="40000"/>
              </a:prstClr>
            </a:outerShdw>
          </a:effectLst>
        </p:spPr>
        <p:txBody>
          <a:bodyPr spcFirstLastPara="1" wrap="square" lIns="121900" tIns="121900" rIns="121900" bIns="121900" anchor="ctr" anchorCtr="0">
            <a:noAutofit/>
          </a:bodyPr>
          <a:lstStyle/>
          <a:p>
            <a:pPr algn="ctr"/>
            <a:r>
              <a:rPr lang="en" sz="2000" b="1" dirty="0">
                <a:solidFill>
                  <a:schemeClr val="bg1"/>
                </a:solidFill>
                <a:latin typeface="Fira Sans Extra Condensed Medium"/>
                <a:ea typeface="Fira Sans Extra Condensed Medium"/>
                <a:cs typeface="Fira Sans Extra Condensed Medium"/>
                <a:sym typeface="Fira Sans Extra Condensed Medium"/>
              </a:rPr>
              <a:t>Modeling Flow: Hybrid of Model + Business Rules</a:t>
            </a:r>
            <a:endParaRPr sz="2000" b="1" dirty="0">
              <a:solidFill>
                <a:schemeClr val="bg1"/>
              </a:solidFill>
              <a:latin typeface="Fira Sans Extra Condensed Medium"/>
              <a:ea typeface="Fira Sans Extra Condensed Medium"/>
              <a:cs typeface="Fira Sans Extra Condensed Medium"/>
              <a:sym typeface="Fira Sans Extra Condensed Medium"/>
            </a:endParaRPr>
          </a:p>
        </p:txBody>
      </p:sp>
      <p:sp>
        <p:nvSpPr>
          <p:cNvPr id="9" name="Rectangle: Rounded Corners 8">
            <a:extLst>
              <a:ext uri="{FF2B5EF4-FFF2-40B4-BE49-F238E27FC236}">
                <a16:creationId xmlns:a16="http://schemas.microsoft.com/office/drawing/2014/main" id="{B9FF7A23-5F1C-4F6B-9E9F-E66B12FB7FF8}"/>
              </a:ext>
            </a:extLst>
          </p:cNvPr>
          <p:cNvSpPr/>
          <p:nvPr/>
        </p:nvSpPr>
        <p:spPr>
          <a:xfrm>
            <a:off x="8791153" y="1152240"/>
            <a:ext cx="1700979" cy="392120"/>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ALPA</a:t>
            </a:r>
          </a:p>
        </p:txBody>
      </p:sp>
      <p:pic>
        <p:nvPicPr>
          <p:cNvPr id="18" name="Picture 17">
            <a:extLst>
              <a:ext uri="{FF2B5EF4-FFF2-40B4-BE49-F238E27FC236}">
                <a16:creationId xmlns:a16="http://schemas.microsoft.com/office/drawing/2014/main" id="{37FBF7C7-BA24-4255-94B3-CDA94489EE1C}"/>
              </a:ext>
            </a:extLst>
          </p:cNvPr>
          <p:cNvPicPr>
            <a:picLocks noChangeAspect="1"/>
          </p:cNvPicPr>
          <p:nvPr/>
        </p:nvPicPr>
        <p:blipFill>
          <a:blip r:embed="rId2"/>
          <a:stretch>
            <a:fillRect/>
          </a:stretch>
        </p:blipFill>
        <p:spPr>
          <a:xfrm>
            <a:off x="8349920" y="1709886"/>
            <a:ext cx="2695870" cy="4737406"/>
          </a:xfrm>
          <a:prstGeom prst="rect">
            <a:avLst/>
          </a:prstGeom>
          <a:effectLst>
            <a:glow rad="101600">
              <a:schemeClr val="accent2">
                <a:satMod val="175000"/>
                <a:alpha val="40000"/>
              </a:schemeClr>
            </a:glow>
          </a:effectLst>
        </p:spPr>
      </p:pic>
      <p:grpSp>
        <p:nvGrpSpPr>
          <p:cNvPr id="13" name="Group 12">
            <a:extLst>
              <a:ext uri="{FF2B5EF4-FFF2-40B4-BE49-F238E27FC236}">
                <a16:creationId xmlns:a16="http://schemas.microsoft.com/office/drawing/2014/main" id="{E39AEEAA-6B43-414A-B148-F41F2BECC421}"/>
              </a:ext>
            </a:extLst>
          </p:cNvPr>
          <p:cNvGrpSpPr/>
          <p:nvPr/>
        </p:nvGrpSpPr>
        <p:grpSpPr>
          <a:xfrm>
            <a:off x="2730838" y="2071823"/>
            <a:ext cx="2319641" cy="2228429"/>
            <a:chOff x="9812954" y="9347200"/>
            <a:chExt cx="1460111" cy="1298489"/>
          </a:xfrm>
        </p:grpSpPr>
        <p:sp>
          <p:nvSpPr>
            <p:cNvPr id="14" name="Shape">
              <a:extLst>
                <a:ext uri="{FF2B5EF4-FFF2-40B4-BE49-F238E27FC236}">
                  <a16:creationId xmlns:a16="http://schemas.microsoft.com/office/drawing/2014/main" id="{C28DDA26-052E-487D-8D25-F68ADD433F7E}"/>
                </a:ext>
              </a:extLst>
            </p:cNvPr>
            <p:cNvSpPr/>
            <p:nvPr/>
          </p:nvSpPr>
          <p:spPr>
            <a:xfrm>
              <a:off x="10248900" y="9347200"/>
              <a:ext cx="1023530" cy="1252001"/>
            </a:xfrm>
            <a:custGeom>
              <a:avLst/>
              <a:gdLst/>
              <a:ahLst/>
              <a:cxnLst>
                <a:cxn ang="0">
                  <a:pos x="wd2" y="hd2"/>
                </a:cxn>
                <a:cxn ang="5400000">
                  <a:pos x="wd2" y="hd2"/>
                </a:cxn>
                <a:cxn ang="10800000">
                  <a:pos x="wd2" y="hd2"/>
                </a:cxn>
                <a:cxn ang="16200000">
                  <a:pos x="wd2" y="hd2"/>
                </a:cxn>
              </a:cxnLst>
              <a:rect l="0" t="0" r="r" b="b"/>
              <a:pathLst>
                <a:path w="21045" h="21148" extrusionOk="0">
                  <a:moveTo>
                    <a:pt x="20798" y="18937"/>
                  </a:moveTo>
                  <a:lnTo>
                    <a:pt x="8202" y="1013"/>
                  </a:lnTo>
                  <a:cubicBezTo>
                    <a:pt x="7857" y="522"/>
                    <a:pt x="7322" y="211"/>
                    <a:pt x="6737" y="76"/>
                  </a:cubicBezTo>
                  <a:cubicBezTo>
                    <a:pt x="5711" y="-160"/>
                    <a:pt x="4525" y="151"/>
                    <a:pt x="3919" y="1013"/>
                  </a:cubicBezTo>
                  <a:lnTo>
                    <a:pt x="3656" y="1389"/>
                  </a:lnTo>
                  <a:cubicBezTo>
                    <a:pt x="4541" y="130"/>
                    <a:pt x="6836" y="383"/>
                    <a:pt x="7285" y="1788"/>
                  </a:cubicBezTo>
                  <a:cubicBezTo>
                    <a:pt x="7285" y="1788"/>
                    <a:pt x="7285" y="1788"/>
                    <a:pt x="7285" y="1788"/>
                  </a:cubicBezTo>
                  <a:lnTo>
                    <a:pt x="12121" y="16886"/>
                  </a:lnTo>
                  <a:lnTo>
                    <a:pt x="0" y="16886"/>
                  </a:lnTo>
                  <a:lnTo>
                    <a:pt x="18772" y="21092"/>
                  </a:lnTo>
                  <a:cubicBezTo>
                    <a:pt x="20318" y="21440"/>
                    <a:pt x="21600" y="20076"/>
                    <a:pt x="20798" y="18937"/>
                  </a:cubicBezTo>
                  <a:close/>
                </a:path>
              </a:pathLst>
            </a:custGeom>
            <a:solidFill>
              <a:srgbClr val="D31145">
                <a:alpha val="30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pPr>
              <a:endParaRPr kumimoji="0" sz="3000" b="0" i="0" u="none" strike="noStrike" kern="0" cap="none" spc="0" normalizeH="0" baseline="0" noProof="0">
                <a:ln>
                  <a:noFill/>
                </a:ln>
                <a:solidFill>
                  <a:prstClr val="black"/>
                </a:solidFill>
                <a:effectLst/>
                <a:uLnTx/>
                <a:uFillTx/>
                <a:latin typeface="Calibri" panose="020F0502020204030204"/>
              </a:endParaRPr>
            </a:p>
          </p:txBody>
        </p:sp>
        <p:sp>
          <p:nvSpPr>
            <p:cNvPr id="16" name="Triangle">
              <a:extLst>
                <a:ext uri="{FF2B5EF4-FFF2-40B4-BE49-F238E27FC236}">
                  <a16:creationId xmlns:a16="http://schemas.microsoft.com/office/drawing/2014/main" id="{B8713330-8073-4D62-9024-DE4178C8184E}"/>
                </a:ext>
              </a:extLst>
            </p:cNvPr>
            <p:cNvSpPr/>
            <p:nvPr/>
          </p:nvSpPr>
          <p:spPr>
            <a:xfrm>
              <a:off x="10655300" y="9397999"/>
              <a:ext cx="406020" cy="70332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21600"/>
                  </a:lnTo>
                  <a:lnTo>
                    <a:pt x="0" y="0"/>
                  </a:lnTo>
                  <a:close/>
                </a:path>
              </a:pathLst>
            </a:custGeom>
            <a:solidFill>
              <a:srgbClr val="004F62"/>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pPr>
              <a:endParaRPr kumimoji="0" sz="3000" b="0" i="0" u="none" strike="noStrike" kern="0" cap="none" spc="0" normalizeH="0" baseline="0" noProof="0">
                <a:ln>
                  <a:noFill/>
                </a:ln>
                <a:solidFill>
                  <a:prstClr val="black"/>
                </a:solidFill>
                <a:effectLst/>
                <a:uLnTx/>
                <a:uFillTx/>
                <a:latin typeface="Calibri" panose="020F0502020204030204"/>
              </a:endParaRPr>
            </a:p>
          </p:txBody>
        </p:sp>
        <p:sp>
          <p:nvSpPr>
            <p:cNvPr id="17" name="Shape">
              <a:extLst>
                <a:ext uri="{FF2B5EF4-FFF2-40B4-BE49-F238E27FC236}">
                  <a16:creationId xmlns:a16="http://schemas.microsoft.com/office/drawing/2014/main" id="{A08C80B0-34D8-49BF-8DF8-1025A26CA57E}"/>
                </a:ext>
              </a:extLst>
            </p:cNvPr>
            <p:cNvSpPr/>
            <p:nvPr/>
          </p:nvSpPr>
          <p:spPr>
            <a:xfrm>
              <a:off x="9836281" y="9829800"/>
              <a:ext cx="1436784" cy="815467"/>
            </a:xfrm>
            <a:custGeom>
              <a:avLst/>
              <a:gdLst/>
              <a:ahLst/>
              <a:cxnLst>
                <a:cxn ang="0">
                  <a:pos x="wd2" y="hd2"/>
                </a:cxn>
                <a:cxn ang="5400000">
                  <a:pos x="wd2" y="hd2"/>
                </a:cxn>
                <a:cxn ang="10800000">
                  <a:pos x="wd2" y="hd2"/>
                </a:cxn>
                <a:cxn ang="16200000">
                  <a:pos x="wd2" y="hd2"/>
                </a:cxn>
              </a:cxnLst>
              <a:rect l="0" t="0" r="r" b="b"/>
              <a:pathLst>
                <a:path w="20940" h="21600" extrusionOk="0">
                  <a:moveTo>
                    <a:pt x="20703" y="16816"/>
                  </a:moveTo>
                  <a:lnTo>
                    <a:pt x="20677" y="16736"/>
                  </a:lnTo>
                  <a:cubicBezTo>
                    <a:pt x="21245" y="18522"/>
                    <a:pt x="20336" y="20661"/>
                    <a:pt x="19242" y="20120"/>
                  </a:cubicBezTo>
                  <a:lnTo>
                    <a:pt x="5936" y="13523"/>
                  </a:lnTo>
                  <a:lnTo>
                    <a:pt x="10232" y="0"/>
                  </a:lnTo>
                  <a:lnTo>
                    <a:pt x="367" y="17772"/>
                  </a:lnTo>
                  <a:cubicBezTo>
                    <a:pt x="-355" y="19070"/>
                    <a:pt x="60" y="21227"/>
                    <a:pt x="992" y="21553"/>
                  </a:cubicBezTo>
                  <a:cubicBezTo>
                    <a:pt x="1085" y="21580"/>
                    <a:pt x="1181" y="21600"/>
                    <a:pt x="1279" y="21600"/>
                  </a:cubicBezTo>
                  <a:lnTo>
                    <a:pt x="19187" y="21600"/>
                  </a:lnTo>
                  <a:cubicBezTo>
                    <a:pt x="19677" y="21600"/>
                    <a:pt x="20099" y="21247"/>
                    <a:pt x="20407" y="20698"/>
                  </a:cubicBezTo>
                  <a:cubicBezTo>
                    <a:pt x="20945" y="19736"/>
                    <a:pt x="21132" y="18169"/>
                    <a:pt x="20703" y="16816"/>
                  </a:cubicBezTo>
                  <a:close/>
                </a:path>
              </a:pathLst>
            </a:custGeom>
            <a:solidFill>
              <a:srgbClr val="D31145"/>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pPr>
              <a:endParaRPr kumimoji="0" sz="3000" b="0" i="0" u="none" strike="noStrike" kern="0" cap="none" spc="0" normalizeH="0" baseline="0" noProof="0">
                <a:ln>
                  <a:noFill/>
                </a:ln>
                <a:solidFill>
                  <a:prstClr val="black"/>
                </a:solidFill>
                <a:effectLst/>
                <a:uLnTx/>
                <a:uFillTx/>
                <a:latin typeface="Calibri" panose="020F0502020204030204"/>
              </a:endParaRPr>
            </a:p>
          </p:txBody>
        </p:sp>
        <p:sp>
          <p:nvSpPr>
            <p:cNvPr id="19" name="Triangle">
              <a:extLst>
                <a:ext uri="{FF2B5EF4-FFF2-40B4-BE49-F238E27FC236}">
                  <a16:creationId xmlns:a16="http://schemas.microsoft.com/office/drawing/2014/main" id="{64A54C3E-6920-4A59-BF54-9E844ED42BFB}"/>
                </a:ext>
              </a:extLst>
            </p:cNvPr>
            <p:cNvSpPr/>
            <p:nvPr/>
          </p:nvSpPr>
          <p:spPr>
            <a:xfrm>
              <a:off x="11061700" y="10109199"/>
              <a:ext cx="206630" cy="35776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21600"/>
                  </a:lnTo>
                  <a:lnTo>
                    <a:pt x="21600" y="21600"/>
                  </a:lnTo>
                  <a:close/>
                </a:path>
              </a:pathLst>
            </a:custGeom>
            <a:solidFill>
              <a:srgbClr val="004F62"/>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pPr>
              <a:endParaRPr kumimoji="0" sz="3000" b="0" i="0" u="none" strike="noStrike" kern="0" cap="none" spc="0" normalizeH="0" baseline="0" noProof="0">
                <a:ln>
                  <a:noFill/>
                </a:ln>
                <a:solidFill>
                  <a:prstClr val="black"/>
                </a:solidFill>
                <a:effectLst/>
                <a:uLnTx/>
                <a:uFillTx/>
                <a:latin typeface="Calibri" panose="020F0502020204030204"/>
              </a:endParaRPr>
            </a:p>
          </p:txBody>
        </p:sp>
        <p:sp>
          <p:nvSpPr>
            <p:cNvPr id="21" name="Shape">
              <a:extLst>
                <a:ext uri="{FF2B5EF4-FFF2-40B4-BE49-F238E27FC236}">
                  <a16:creationId xmlns:a16="http://schemas.microsoft.com/office/drawing/2014/main" id="{E3ABC311-9C6B-41E8-9C1B-170348C480FE}"/>
                </a:ext>
              </a:extLst>
            </p:cNvPr>
            <p:cNvSpPr/>
            <p:nvPr/>
          </p:nvSpPr>
          <p:spPr>
            <a:xfrm>
              <a:off x="9812954" y="9376744"/>
              <a:ext cx="1029369" cy="1268945"/>
            </a:xfrm>
            <a:custGeom>
              <a:avLst/>
              <a:gdLst/>
              <a:ahLst/>
              <a:cxnLst>
                <a:cxn ang="0">
                  <a:pos x="wd2" y="hd2"/>
                </a:cxn>
                <a:cxn ang="5400000">
                  <a:pos x="wd2" y="hd2"/>
                </a:cxn>
                <a:cxn ang="10800000">
                  <a:pos x="wd2" y="hd2"/>
                </a:cxn>
                <a:cxn ang="16200000">
                  <a:pos x="wd2" y="hd2"/>
                </a:cxn>
              </a:cxnLst>
              <a:rect l="0" t="0" r="r" b="b"/>
              <a:pathLst>
                <a:path w="21526" h="21161" extrusionOk="0">
                  <a:moveTo>
                    <a:pt x="1206" y="18778"/>
                  </a:moveTo>
                  <a:lnTo>
                    <a:pt x="15362" y="7590"/>
                  </a:lnTo>
                  <a:lnTo>
                    <a:pt x="21526" y="16104"/>
                  </a:lnTo>
                  <a:lnTo>
                    <a:pt x="16607" y="1198"/>
                  </a:lnTo>
                  <a:cubicBezTo>
                    <a:pt x="16151" y="-189"/>
                    <a:pt x="13813" y="-439"/>
                    <a:pt x="12916" y="804"/>
                  </a:cubicBezTo>
                  <a:lnTo>
                    <a:pt x="338" y="18179"/>
                  </a:lnTo>
                  <a:cubicBezTo>
                    <a:pt x="-13" y="18664"/>
                    <a:pt x="-74" y="19194"/>
                    <a:pt x="77" y="19672"/>
                  </a:cubicBezTo>
                  <a:cubicBezTo>
                    <a:pt x="316" y="20413"/>
                    <a:pt x="1076" y="21028"/>
                    <a:pt x="2104" y="21161"/>
                  </a:cubicBezTo>
                  <a:cubicBezTo>
                    <a:pt x="765" y="20953"/>
                    <a:pt x="170" y="19596"/>
                    <a:pt x="1206" y="18778"/>
                  </a:cubicBezTo>
                  <a:lnTo>
                    <a:pt x="1206" y="18778"/>
                  </a:lnTo>
                  <a:close/>
                </a:path>
              </a:pathLst>
            </a:custGeom>
            <a:solidFill>
              <a:schemeClr val="bg1">
                <a:lumMod val="50000"/>
                <a:alpha val="70000"/>
              </a:scheme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pPr>
              <a:endParaRPr kumimoji="0" sz="3000" b="0" i="0" u="none" strike="noStrike" kern="0" cap="none" spc="0" normalizeH="0" baseline="0" noProof="0">
                <a:ln>
                  <a:noFill/>
                </a:ln>
                <a:solidFill>
                  <a:prstClr val="black"/>
                </a:solidFill>
                <a:effectLst/>
                <a:uLnTx/>
                <a:uFillTx/>
                <a:latin typeface="Calibri" panose="020F0502020204030204"/>
              </a:endParaRPr>
            </a:p>
          </p:txBody>
        </p:sp>
      </p:grpSp>
      <p:sp>
        <p:nvSpPr>
          <p:cNvPr id="22" name="TextBox 21">
            <a:extLst>
              <a:ext uri="{FF2B5EF4-FFF2-40B4-BE49-F238E27FC236}">
                <a16:creationId xmlns:a16="http://schemas.microsoft.com/office/drawing/2014/main" id="{C6469280-AA55-4987-8D7A-8D1AC9CC3C0E}"/>
              </a:ext>
            </a:extLst>
          </p:cNvPr>
          <p:cNvSpPr txBox="1"/>
          <p:nvPr/>
        </p:nvSpPr>
        <p:spPr>
          <a:xfrm>
            <a:off x="705802" y="1987989"/>
            <a:ext cx="2441986" cy="6309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b="1">
                <a:solidFill>
                  <a:srgbClr val="D31145"/>
                </a:solidFill>
                <a:latin typeface="+mj-lt"/>
                <a:cs typeface="Arial" panose="020B0604020202020204" pitchFamily="34" charset="0"/>
              </a:rPr>
              <a:t>Data Driven Business Rule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latin typeface="+mj-lt"/>
                <a:cs typeface="Arial" panose="020B0604020202020204" pitchFamily="34" charset="0"/>
              </a:rPr>
              <a:t>to identify Priority of </a:t>
            </a:r>
            <a:r>
              <a:rPr lang="en-GB" sz="1100" b="1">
                <a:solidFill>
                  <a:srgbClr val="D31145"/>
                </a:solidFill>
                <a:latin typeface="+mj-lt"/>
                <a:cs typeface="Arial" panose="020B0604020202020204" pitchFamily="34" charset="0"/>
              </a:rPr>
              <a:t>Remaining</a:t>
            </a:r>
            <a:r>
              <a:rPr lang="en-GB" sz="1100" b="1">
                <a:latin typeface="+mj-lt"/>
                <a:cs typeface="Arial" panose="020B0604020202020204" pitchFamily="34" charset="0"/>
              </a:rPr>
              <a:t> Cross Sell Triggers</a:t>
            </a:r>
            <a:endParaRPr kumimoji="0" lang="en-US" sz="1100" b="1" i="0" u="none" strike="noStrike" kern="1200" cap="none" spc="0" normalizeH="0" baseline="0" noProof="0" err="1">
              <a:ln>
                <a:noFill/>
              </a:ln>
              <a:effectLst/>
              <a:uLnTx/>
              <a:uFillTx/>
              <a:latin typeface="+mj-lt"/>
              <a:cs typeface="Arial" panose="020B0604020202020204" pitchFamily="34" charset="0"/>
            </a:endParaRPr>
          </a:p>
        </p:txBody>
      </p:sp>
      <p:grpSp>
        <p:nvGrpSpPr>
          <p:cNvPr id="23" name="Group 22">
            <a:extLst>
              <a:ext uri="{FF2B5EF4-FFF2-40B4-BE49-F238E27FC236}">
                <a16:creationId xmlns:a16="http://schemas.microsoft.com/office/drawing/2014/main" id="{EB4C28BE-44B6-4250-B032-848B71529DE9}"/>
              </a:ext>
            </a:extLst>
          </p:cNvPr>
          <p:cNvGrpSpPr/>
          <p:nvPr/>
        </p:nvGrpSpPr>
        <p:grpSpPr>
          <a:xfrm flipH="1">
            <a:off x="844522" y="1873010"/>
            <a:ext cx="2552403" cy="1086319"/>
            <a:chOff x="5592401" y="1085269"/>
            <a:chExt cx="3587464" cy="169812"/>
          </a:xfrm>
        </p:grpSpPr>
        <p:cxnSp>
          <p:nvCxnSpPr>
            <p:cNvPr id="24" name="Straight Connector 23">
              <a:extLst>
                <a:ext uri="{FF2B5EF4-FFF2-40B4-BE49-F238E27FC236}">
                  <a16:creationId xmlns:a16="http://schemas.microsoft.com/office/drawing/2014/main" id="{468A6580-B801-4D47-BFBB-CB22680361A5}"/>
                </a:ext>
              </a:extLst>
            </p:cNvPr>
            <p:cNvCxnSpPr>
              <a:cxnSpLocks/>
            </p:cNvCxnSpPr>
            <p:nvPr/>
          </p:nvCxnSpPr>
          <p:spPr>
            <a:xfrm>
              <a:off x="6096327" y="1085269"/>
              <a:ext cx="3083538" cy="4693"/>
            </a:xfrm>
            <a:prstGeom prst="line">
              <a:avLst/>
            </a:prstGeom>
            <a:ln w="9525">
              <a:solidFill>
                <a:schemeClr val="tx1">
                  <a:lumMod val="50000"/>
                  <a:lumOff val="50000"/>
                </a:schemeClr>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988224D-7150-4B6F-BD7D-CDD7857B786D}"/>
                </a:ext>
              </a:extLst>
            </p:cNvPr>
            <p:cNvCxnSpPr>
              <a:cxnSpLocks/>
            </p:cNvCxnSpPr>
            <p:nvPr/>
          </p:nvCxnSpPr>
          <p:spPr>
            <a:xfrm flipH="1">
              <a:off x="5592401" y="1085681"/>
              <a:ext cx="503926" cy="169400"/>
            </a:xfrm>
            <a:prstGeom prst="line">
              <a:avLst/>
            </a:prstGeom>
            <a:ln w="9525">
              <a:solidFill>
                <a:schemeClr val="tx1">
                  <a:lumMod val="50000"/>
                  <a:lumOff val="50000"/>
                </a:schemeClr>
              </a:solidFill>
              <a:prstDash val="dash"/>
              <a:tailEnd type="ova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66743B62-E85F-480A-B056-02B9A9BBB893}"/>
              </a:ext>
            </a:extLst>
          </p:cNvPr>
          <p:cNvGrpSpPr/>
          <p:nvPr/>
        </p:nvGrpSpPr>
        <p:grpSpPr>
          <a:xfrm rot="10800000" flipH="1">
            <a:off x="4641796" y="2512005"/>
            <a:ext cx="2739536" cy="924311"/>
            <a:chOff x="5173583" y="579505"/>
            <a:chExt cx="4006283" cy="510457"/>
          </a:xfrm>
        </p:grpSpPr>
        <p:cxnSp>
          <p:nvCxnSpPr>
            <p:cNvPr id="27" name="Straight Connector 26">
              <a:extLst>
                <a:ext uri="{FF2B5EF4-FFF2-40B4-BE49-F238E27FC236}">
                  <a16:creationId xmlns:a16="http://schemas.microsoft.com/office/drawing/2014/main" id="{9043BD80-3969-4E84-840C-A6E00F252F5F}"/>
                </a:ext>
              </a:extLst>
            </p:cNvPr>
            <p:cNvCxnSpPr/>
            <p:nvPr/>
          </p:nvCxnSpPr>
          <p:spPr>
            <a:xfrm flipV="1">
              <a:off x="5915025" y="1089962"/>
              <a:ext cx="3264841" cy="0"/>
            </a:xfrm>
            <a:prstGeom prst="line">
              <a:avLst/>
            </a:prstGeom>
            <a:ln w="9525">
              <a:solidFill>
                <a:schemeClr val="tx1">
                  <a:lumMod val="50000"/>
                  <a:lumOff val="50000"/>
                </a:schemeClr>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D348F01-8745-4ACC-9B9D-19FFE6C67590}"/>
                </a:ext>
              </a:extLst>
            </p:cNvPr>
            <p:cNvCxnSpPr>
              <a:cxnSpLocks/>
            </p:cNvCxnSpPr>
            <p:nvPr/>
          </p:nvCxnSpPr>
          <p:spPr>
            <a:xfrm rot="10800000">
              <a:off x="5173583" y="579505"/>
              <a:ext cx="741442" cy="510456"/>
            </a:xfrm>
            <a:prstGeom prst="line">
              <a:avLst/>
            </a:prstGeom>
            <a:ln w="9525">
              <a:solidFill>
                <a:schemeClr val="tx1">
                  <a:lumMod val="50000"/>
                  <a:lumOff val="50000"/>
                </a:schemeClr>
              </a:solidFill>
              <a:prstDash val="dash"/>
              <a:tailEnd type="ova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8D337ECC-C352-4EDB-BAD3-4FD815A197BD}"/>
              </a:ext>
            </a:extLst>
          </p:cNvPr>
          <p:cNvGrpSpPr/>
          <p:nvPr/>
        </p:nvGrpSpPr>
        <p:grpSpPr>
          <a:xfrm flipH="1">
            <a:off x="2018216" y="4232814"/>
            <a:ext cx="2695870" cy="991598"/>
            <a:chOff x="6871269" y="845241"/>
            <a:chExt cx="2308597" cy="244721"/>
          </a:xfrm>
        </p:grpSpPr>
        <p:cxnSp>
          <p:nvCxnSpPr>
            <p:cNvPr id="30" name="Straight Connector 29">
              <a:extLst>
                <a:ext uri="{FF2B5EF4-FFF2-40B4-BE49-F238E27FC236}">
                  <a16:creationId xmlns:a16="http://schemas.microsoft.com/office/drawing/2014/main" id="{CC10EAB2-8475-47D5-AB76-7AB26EFDB12F}"/>
                </a:ext>
              </a:extLst>
            </p:cNvPr>
            <p:cNvCxnSpPr>
              <a:cxnSpLocks/>
            </p:cNvCxnSpPr>
            <p:nvPr/>
          </p:nvCxnSpPr>
          <p:spPr>
            <a:xfrm>
              <a:off x="6871269" y="1089962"/>
              <a:ext cx="2308597" cy="0"/>
            </a:xfrm>
            <a:prstGeom prst="line">
              <a:avLst/>
            </a:prstGeom>
            <a:ln w="9525">
              <a:solidFill>
                <a:schemeClr val="tx1">
                  <a:lumMod val="50000"/>
                  <a:lumOff val="50000"/>
                </a:schemeClr>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4377682-A666-4528-BE96-D7D7C6FC074F}"/>
                </a:ext>
              </a:extLst>
            </p:cNvPr>
            <p:cNvCxnSpPr>
              <a:cxnSpLocks/>
            </p:cNvCxnSpPr>
            <p:nvPr/>
          </p:nvCxnSpPr>
          <p:spPr>
            <a:xfrm flipV="1">
              <a:off x="6871269" y="845241"/>
              <a:ext cx="218277" cy="244720"/>
            </a:xfrm>
            <a:prstGeom prst="line">
              <a:avLst/>
            </a:prstGeom>
            <a:ln w="9525">
              <a:solidFill>
                <a:schemeClr val="tx1">
                  <a:lumMod val="50000"/>
                  <a:lumOff val="50000"/>
                </a:schemeClr>
              </a:solidFill>
              <a:prstDash val="dash"/>
              <a:tailEnd type="oval"/>
            </a:ln>
          </p:spPr>
          <p:style>
            <a:lnRef idx="1">
              <a:schemeClr val="accent1"/>
            </a:lnRef>
            <a:fillRef idx="0">
              <a:schemeClr val="accent1"/>
            </a:fillRef>
            <a:effectRef idx="0">
              <a:schemeClr val="accent1"/>
            </a:effectRef>
            <a:fontRef idx="minor">
              <a:schemeClr val="tx1"/>
            </a:fontRef>
          </p:style>
        </p:cxnSp>
      </p:grpSp>
      <p:sp>
        <p:nvSpPr>
          <p:cNvPr id="32" name="TextBox 31">
            <a:extLst>
              <a:ext uri="{FF2B5EF4-FFF2-40B4-BE49-F238E27FC236}">
                <a16:creationId xmlns:a16="http://schemas.microsoft.com/office/drawing/2014/main" id="{CFCE9DA0-6262-4313-82FE-8B757DE6222C}"/>
              </a:ext>
            </a:extLst>
          </p:cNvPr>
          <p:cNvSpPr txBox="1"/>
          <p:nvPr/>
        </p:nvSpPr>
        <p:spPr>
          <a:xfrm>
            <a:off x="1612037" y="4609257"/>
            <a:ext cx="3536087" cy="461665"/>
          </a:xfrm>
          <a:prstGeom prst="rect">
            <a:avLst/>
          </a:prstGeom>
          <a:noFill/>
        </p:spPr>
        <p:txBody>
          <a:bodyPr wrap="square" rtlCol="0">
            <a:spAutoFit/>
          </a:bodyPr>
          <a:lstStyle/>
          <a:p>
            <a:pPr marR="0" lvl="0" algn="ctr" defTabSz="914400" rtl="0" eaLnBrk="1" fontAlgn="auto" latinLnBrk="0" hangingPunct="1">
              <a:lnSpc>
                <a:spcPct val="100000"/>
              </a:lnSpc>
              <a:spcBef>
                <a:spcPts val="0"/>
              </a:spcBef>
              <a:spcAft>
                <a:spcPts val="0"/>
              </a:spcAft>
              <a:buClrTx/>
              <a:buSzTx/>
              <a:tabLst/>
              <a:defRPr/>
            </a:pPr>
            <a:r>
              <a:rPr kumimoji="0" lang="en-GB" sz="1300" b="1" i="0" u="none" strike="noStrike" kern="1200" cap="none" spc="0" normalizeH="0" baseline="0" noProof="0">
                <a:ln>
                  <a:noFill/>
                </a:ln>
                <a:solidFill>
                  <a:srgbClr val="D31145"/>
                </a:solidFill>
                <a:effectLst/>
                <a:uLnTx/>
                <a:uFillTx/>
                <a:latin typeface="+mj-lt"/>
                <a:ea typeface="+mn-ea"/>
                <a:cs typeface="Arial" panose="020B0604020202020204" pitchFamily="34" charset="0"/>
              </a:rPr>
              <a:t>Recommender Model </a:t>
            </a:r>
          </a:p>
          <a:p>
            <a:pPr marR="0" lvl="0" algn="ctr" defTabSz="914400" rtl="0" eaLnBrk="1" fontAlgn="auto" latinLnBrk="0" hangingPunct="1">
              <a:lnSpc>
                <a:spcPct val="100000"/>
              </a:lnSpc>
              <a:spcBef>
                <a:spcPts val="0"/>
              </a:spcBef>
              <a:spcAft>
                <a:spcPts val="0"/>
              </a:spcAft>
              <a:buClrTx/>
              <a:buSzTx/>
              <a:tabLst/>
              <a:defRPr/>
            </a:pPr>
            <a:r>
              <a:rPr kumimoji="0" lang="en-GB" sz="1100" b="1" i="0" u="none" strike="noStrike" kern="1200" cap="none" spc="0" normalizeH="0" baseline="0" noProof="0">
                <a:ln>
                  <a:noFill/>
                </a:ln>
                <a:effectLst/>
                <a:uLnTx/>
                <a:uFillTx/>
                <a:latin typeface="+mj-lt"/>
                <a:ea typeface="+mn-ea"/>
                <a:cs typeface="Arial" panose="020B0604020202020204" pitchFamily="34" charset="0"/>
              </a:rPr>
              <a:t>on Cross Sell Trigger Priority</a:t>
            </a:r>
            <a:endParaRPr kumimoji="0" lang="en-US" sz="1100" b="1" i="0" u="none" strike="noStrike" kern="1200" cap="none" spc="0" normalizeH="0" baseline="0" noProof="0" err="1">
              <a:ln>
                <a:noFill/>
              </a:ln>
              <a:effectLst/>
              <a:uLnTx/>
              <a:uFillTx/>
              <a:latin typeface="+mj-lt"/>
              <a:ea typeface="+mn-ea"/>
              <a:cs typeface="Arial" panose="020B0604020202020204" pitchFamily="34" charset="0"/>
            </a:endParaRPr>
          </a:p>
        </p:txBody>
      </p:sp>
      <p:sp>
        <p:nvSpPr>
          <p:cNvPr id="33" name="TextBox 32">
            <a:extLst>
              <a:ext uri="{FF2B5EF4-FFF2-40B4-BE49-F238E27FC236}">
                <a16:creationId xmlns:a16="http://schemas.microsoft.com/office/drawing/2014/main" id="{9672F7CE-4C04-48B3-B828-FAD0ABBDF3E6}"/>
              </a:ext>
            </a:extLst>
          </p:cNvPr>
          <p:cNvSpPr txBox="1"/>
          <p:nvPr/>
        </p:nvSpPr>
        <p:spPr>
          <a:xfrm>
            <a:off x="5030194" y="2600094"/>
            <a:ext cx="2421064" cy="80021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b="1">
                <a:solidFill>
                  <a:srgbClr val="D31145"/>
                </a:solidFill>
                <a:latin typeface="+mj-lt"/>
                <a:cs typeface="Arial" panose="020B0604020202020204" pitchFamily="34" charset="0"/>
              </a:rPr>
              <a:t>Data Driven Business Rule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latin typeface="+mj-lt"/>
                <a:cs typeface="Arial" panose="020B0604020202020204" pitchFamily="34" charset="0"/>
              </a:rPr>
              <a:t>to identify </a:t>
            </a:r>
            <a:r>
              <a:rPr lang="en-GB" sz="1100" b="1">
                <a:solidFill>
                  <a:srgbClr val="D31145"/>
                </a:solidFill>
                <a:latin typeface="+mj-lt"/>
                <a:cs typeface="Arial" panose="020B0604020202020204" pitchFamily="34" charset="0"/>
              </a:rPr>
              <a:t>Next Action</a:t>
            </a:r>
            <a:r>
              <a:rPr lang="en-GB" sz="1100" b="1">
                <a:latin typeface="+mj-lt"/>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latin typeface="+mj-lt"/>
                <a:cs typeface="Arial" panose="020B0604020202020204" pitchFamily="34" charset="0"/>
              </a:rPr>
              <a:t>i.e. download My AIA app, complete FHC</a:t>
            </a:r>
            <a:endParaRPr kumimoji="0" lang="en-US" sz="1100" b="1" i="0" u="none" strike="noStrike" kern="1200" cap="none" spc="0" normalizeH="0" baseline="0" noProof="0" err="1">
              <a:ln>
                <a:noFill/>
              </a:ln>
              <a:effectLst/>
              <a:uLnTx/>
              <a:uFillTx/>
              <a:latin typeface="+mj-lt"/>
              <a:cs typeface="Arial" panose="020B0604020202020204" pitchFamily="34" charset="0"/>
            </a:endParaRPr>
          </a:p>
        </p:txBody>
      </p:sp>
      <p:pic>
        <p:nvPicPr>
          <p:cNvPr id="34" name="Graphic 33" descr="Network">
            <a:extLst>
              <a:ext uri="{FF2B5EF4-FFF2-40B4-BE49-F238E27FC236}">
                <a16:creationId xmlns:a16="http://schemas.microsoft.com/office/drawing/2014/main" id="{171E25D8-DC70-44D6-8024-0F0F34326F7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48504" y="3903988"/>
            <a:ext cx="328826" cy="328826"/>
          </a:xfrm>
          <a:prstGeom prst="rect">
            <a:avLst/>
          </a:prstGeom>
        </p:spPr>
      </p:pic>
      <p:pic>
        <p:nvPicPr>
          <p:cNvPr id="35" name="Graphic 34" descr="Arrow circle">
            <a:extLst>
              <a:ext uri="{FF2B5EF4-FFF2-40B4-BE49-F238E27FC236}">
                <a16:creationId xmlns:a16="http://schemas.microsoft.com/office/drawing/2014/main" id="{85477FC0-55C5-48C8-9A15-CF976798C8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03229" y="3494978"/>
            <a:ext cx="383106" cy="383106"/>
          </a:xfrm>
          <a:prstGeom prst="rect">
            <a:avLst/>
          </a:prstGeom>
        </p:spPr>
      </p:pic>
      <p:pic>
        <p:nvPicPr>
          <p:cNvPr id="36" name="Graphic 35" descr="Traffic light">
            <a:extLst>
              <a:ext uri="{FF2B5EF4-FFF2-40B4-BE49-F238E27FC236}">
                <a16:creationId xmlns:a16="http://schemas.microsoft.com/office/drawing/2014/main" id="{58B87CAD-374D-4EA4-8310-2D92D464487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91774" y="2662364"/>
            <a:ext cx="301652" cy="301652"/>
          </a:xfrm>
          <a:prstGeom prst="rect">
            <a:avLst/>
          </a:prstGeom>
        </p:spPr>
      </p:pic>
      <p:sp>
        <p:nvSpPr>
          <p:cNvPr id="37" name="Oval 36">
            <a:extLst>
              <a:ext uri="{FF2B5EF4-FFF2-40B4-BE49-F238E27FC236}">
                <a16:creationId xmlns:a16="http://schemas.microsoft.com/office/drawing/2014/main" id="{08CABC18-865E-469D-A3CC-FFCF04F72DC4}"/>
              </a:ext>
            </a:extLst>
          </p:cNvPr>
          <p:cNvSpPr/>
          <p:nvPr/>
        </p:nvSpPr>
        <p:spPr>
          <a:xfrm>
            <a:off x="2102143" y="4609257"/>
            <a:ext cx="290457" cy="264288"/>
          </a:xfrm>
          <a:prstGeom prst="ellips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effectLst>
                  <a:outerShdw blurRad="38100" dist="38100" dir="2700000" algn="tl">
                    <a:srgbClr val="000000">
                      <a:alpha val="43137"/>
                    </a:srgbClr>
                  </a:outerShdw>
                </a:effectLst>
              </a:rPr>
              <a:t>1</a:t>
            </a:r>
            <a:endParaRPr lang="en-HK" sz="1300" b="1">
              <a:effectLst>
                <a:outerShdw blurRad="38100" dist="38100" dir="2700000" algn="tl">
                  <a:srgbClr val="000000">
                    <a:alpha val="43137"/>
                  </a:srgbClr>
                </a:outerShdw>
              </a:effectLst>
            </a:endParaRPr>
          </a:p>
        </p:txBody>
      </p:sp>
      <p:sp>
        <p:nvSpPr>
          <p:cNvPr id="38" name="Oval 37">
            <a:extLst>
              <a:ext uri="{FF2B5EF4-FFF2-40B4-BE49-F238E27FC236}">
                <a16:creationId xmlns:a16="http://schemas.microsoft.com/office/drawing/2014/main" id="{463FE6B3-D269-421A-B143-E8249E6E6555}"/>
              </a:ext>
            </a:extLst>
          </p:cNvPr>
          <p:cNvSpPr/>
          <p:nvPr/>
        </p:nvSpPr>
        <p:spPr>
          <a:xfrm>
            <a:off x="417083" y="1986958"/>
            <a:ext cx="290457" cy="264288"/>
          </a:xfrm>
          <a:prstGeom prst="ellips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dirty="0">
                <a:effectLst>
                  <a:outerShdw blurRad="38100" dist="38100" dir="2700000" algn="tl">
                    <a:srgbClr val="000000">
                      <a:alpha val="43137"/>
                    </a:srgbClr>
                  </a:outerShdw>
                </a:effectLst>
              </a:rPr>
              <a:t>2</a:t>
            </a:r>
            <a:endParaRPr lang="en-HK" sz="1300" b="1" dirty="0">
              <a:effectLst>
                <a:outerShdw blurRad="38100" dist="38100" dir="2700000" algn="tl">
                  <a:srgbClr val="000000">
                    <a:alpha val="43137"/>
                  </a:srgbClr>
                </a:outerShdw>
              </a:effectLst>
            </a:endParaRPr>
          </a:p>
        </p:txBody>
      </p:sp>
      <p:sp>
        <p:nvSpPr>
          <p:cNvPr id="39" name="Oval 38">
            <a:extLst>
              <a:ext uri="{FF2B5EF4-FFF2-40B4-BE49-F238E27FC236}">
                <a16:creationId xmlns:a16="http://schemas.microsoft.com/office/drawing/2014/main" id="{9FDA8D02-3E2F-4E4C-BCC0-257EC63D0416}"/>
              </a:ext>
            </a:extLst>
          </p:cNvPr>
          <p:cNvSpPr/>
          <p:nvPr/>
        </p:nvSpPr>
        <p:spPr>
          <a:xfrm>
            <a:off x="4786335" y="2570205"/>
            <a:ext cx="290457" cy="264288"/>
          </a:xfrm>
          <a:prstGeom prst="ellips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effectLst>
                  <a:outerShdw blurRad="38100" dist="38100" dir="2700000" algn="tl">
                    <a:srgbClr val="000000">
                      <a:alpha val="43137"/>
                    </a:srgbClr>
                  </a:outerShdw>
                </a:effectLst>
              </a:rPr>
              <a:t>3</a:t>
            </a:r>
            <a:endParaRPr lang="en-HK" sz="1300" b="1">
              <a:effectLst>
                <a:outerShdw blurRad="38100" dist="38100" dir="2700000" algn="tl">
                  <a:srgbClr val="000000">
                    <a:alpha val="43137"/>
                  </a:srgbClr>
                </a:outerShdw>
              </a:effectLst>
            </a:endParaRPr>
          </a:p>
        </p:txBody>
      </p:sp>
      <p:sp>
        <p:nvSpPr>
          <p:cNvPr id="6" name="Arrow: Striped Right 5">
            <a:extLst>
              <a:ext uri="{FF2B5EF4-FFF2-40B4-BE49-F238E27FC236}">
                <a16:creationId xmlns:a16="http://schemas.microsoft.com/office/drawing/2014/main" id="{AB18DE26-71FB-4EF0-B886-D0676B28FA00}"/>
              </a:ext>
            </a:extLst>
          </p:cNvPr>
          <p:cNvSpPr/>
          <p:nvPr/>
        </p:nvSpPr>
        <p:spPr>
          <a:xfrm>
            <a:off x="7181971" y="3568940"/>
            <a:ext cx="739342" cy="618287"/>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2" name="Picture 1">
            <a:extLst>
              <a:ext uri="{FF2B5EF4-FFF2-40B4-BE49-F238E27FC236}">
                <a16:creationId xmlns:a16="http://schemas.microsoft.com/office/drawing/2014/main" id="{247DF748-291A-4176-85F2-2F960868D70F}"/>
              </a:ext>
            </a:extLst>
          </p:cNvPr>
          <p:cNvPicPr>
            <a:picLocks noChangeAspect="1"/>
          </p:cNvPicPr>
          <p:nvPr/>
        </p:nvPicPr>
        <p:blipFill>
          <a:blip r:embed="rId9"/>
          <a:stretch>
            <a:fillRect/>
          </a:stretch>
        </p:blipFill>
        <p:spPr>
          <a:xfrm>
            <a:off x="8369012" y="4187227"/>
            <a:ext cx="2695870" cy="3611774"/>
          </a:xfrm>
          <a:prstGeom prst="rect">
            <a:avLst/>
          </a:prstGeom>
          <a:effectLst>
            <a:glow rad="63500">
              <a:schemeClr val="accent2">
                <a:satMod val="175000"/>
                <a:alpha val="40000"/>
              </a:schemeClr>
            </a:glow>
          </a:effectLst>
        </p:spPr>
      </p:pic>
      <p:sp>
        <p:nvSpPr>
          <p:cNvPr id="41" name="Rectangle: Rounded Corners 40">
            <a:extLst>
              <a:ext uri="{FF2B5EF4-FFF2-40B4-BE49-F238E27FC236}">
                <a16:creationId xmlns:a16="http://schemas.microsoft.com/office/drawing/2014/main" id="{F8B9BC82-1F10-41BB-8CE8-486DE3548A01}"/>
              </a:ext>
            </a:extLst>
          </p:cNvPr>
          <p:cNvSpPr/>
          <p:nvPr/>
        </p:nvSpPr>
        <p:spPr>
          <a:xfrm>
            <a:off x="8449768" y="5499404"/>
            <a:ext cx="2366471" cy="231681"/>
          </a:xfrm>
          <a:prstGeom prst="roundRect">
            <a:avLst/>
          </a:prstGeom>
          <a:noFill/>
          <a:ln w="28575">
            <a:solidFill>
              <a:srgbClr val="42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5728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p:cTn id="12" dur="500" fill="hold"/>
                                        <p:tgtEl>
                                          <p:spTgt spid="22"/>
                                        </p:tgtEl>
                                        <p:attrNameLst>
                                          <p:attrName>ppt_w</p:attrName>
                                        </p:attrNameLst>
                                      </p:cBhvr>
                                      <p:tavLst>
                                        <p:tav tm="0">
                                          <p:val>
                                            <p:fltVal val="0"/>
                                          </p:val>
                                        </p:tav>
                                        <p:tav tm="100000">
                                          <p:val>
                                            <p:strVal val="#ppt_w"/>
                                          </p:val>
                                        </p:tav>
                                      </p:tavLst>
                                    </p:anim>
                                    <p:anim calcmode="lin" valueType="num">
                                      <p:cBhvr>
                                        <p:cTn id="13" dur="500" fill="hold"/>
                                        <p:tgtEl>
                                          <p:spTgt spid="22"/>
                                        </p:tgtEl>
                                        <p:attrNameLst>
                                          <p:attrName>ppt_h</p:attrName>
                                        </p:attrNameLst>
                                      </p:cBhvr>
                                      <p:tavLst>
                                        <p:tav tm="0">
                                          <p:val>
                                            <p:fltVal val="0"/>
                                          </p:val>
                                        </p:tav>
                                        <p:tav tm="100000">
                                          <p:val>
                                            <p:strVal val="#ppt_h"/>
                                          </p:val>
                                        </p:tav>
                                      </p:tavLst>
                                    </p:anim>
                                    <p:animEffect transition="in" filter="fade">
                                      <p:cBhvr>
                                        <p:cTn id="14" dur="500"/>
                                        <p:tgtEl>
                                          <p:spTgt spid="22"/>
                                        </p:tgtEl>
                                      </p:cBhvr>
                                    </p:animEffect>
                                  </p:childTnLst>
                                </p:cTn>
                              </p:par>
                              <p:par>
                                <p:cTn id="15" presetID="53" presetClass="entr" presetSubtype="16" fill="hold" nodeType="withEffect">
                                  <p:stCondLst>
                                    <p:cond delay="0"/>
                                  </p:stCondLst>
                                  <p:childTnLst>
                                    <p:set>
                                      <p:cBhvr>
                                        <p:cTn id="16" dur="1" fill="hold">
                                          <p:stCondLst>
                                            <p:cond delay="0"/>
                                          </p:stCondLst>
                                        </p:cTn>
                                        <p:tgtEl>
                                          <p:spTgt spid="23"/>
                                        </p:tgtEl>
                                        <p:attrNameLst>
                                          <p:attrName>style.visibility</p:attrName>
                                        </p:attrNameLst>
                                      </p:cBhvr>
                                      <p:to>
                                        <p:strVal val="visible"/>
                                      </p:to>
                                    </p:set>
                                    <p:anim calcmode="lin" valueType="num">
                                      <p:cBhvr>
                                        <p:cTn id="17" dur="500" fill="hold"/>
                                        <p:tgtEl>
                                          <p:spTgt spid="23"/>
                                        </p:tgtEl>
                                        <p:attrNameLst>
                                          <p:attrName>ppt_w</p:attrName>
                                        </p:attrNameLst>
                                      </p:cBhvr>
                                      <p:tavLst>
                                        <p:tav tm="0">
                                          <p:val>
                                            <p:fltVal val="0"/>
                                          </p:val>
                                        </p:tav>
                                        <p:tav tm="100000">
                                          <p:val>
                                            <p:strVal val="#ppt_w"/>
                                          </p:val>
                                        </p:tav>
                                      </p:tavLst>
                                    </p:anim>
                                    <p:anim calcmode="lin" valueType="num">
                                      <p:cBhvr>
                                        <p:cTn id="18" dur="500" fill="hold"/>
                                        <p:tgtEl>
                                          <p:spTgt spid="23"/>
                                        </p:tgtEl>
                                        <p:attrNameLst>
                                          <p:attrName>ppt_h</p:attrName>
                                        </p:attrNameLst>
                                      </p:cBhvr>
                                      <p:tavLst>
                                        <p:tav tm="0">
                                          <p:val>
                                            <p:fltVal val="0"/>
                                          </p:val>
                                        </p:tav>
                                        <p:tav tm="100000">
                                          <p:val>
                                            <p:strVal val="#ppt_h"/>
                                          </p:val>
                                        </p:tav>
                                      </p:tavLst>
                                    </p:anim>
                                    <p:animEffect transition="in" filter="fade">
                                      <p:cBhvr>
                                        <p:cTn id="19" dur="500"/>
                                        <p:tgtEl>
                                          <p:spTgt spid="23"/>
                                        </p:tgtEl>
                                      </p:cBhvr>
                                    </p:animEffect>
                                  </p:childTnLst>
                                </p:cTn>
                              </p:par>
                              <p:par>
                                <p:cTn id="20" presetID="53" presetClass="entr" presetSubtype="16" fill="hold" nodeType="withEffect">
                                  <p:stCondLst>
                                    <p:cond delay="0"/>
                                  </p:stCondLst>
                                  <p:childTnLst>
                                    <p:set>
                                      <p:cBhvr>
                                        <p:cTn id="21" dur="1" fill="hold">
                                          <p:stCondLst>
                                            <p:cond delay="0"/>
                                          </p:stCondLst>
                                        </p:cTn>
                                        <p:tgtEl>
                                          <p:spTgt spid="26"/>
                                        </p:tgtEl>
                                        <p:attrNameLst>
                                          <p:attrName>style.visibility</p:attrName>
                                        </p:attrNameLst>
                                      </p:cBhvr>
                                      <p:to>
                                        <p:strVal val="visible"/>
                                      </p:to>
                                    </p:set>
                                    <p:anim calcmode="lin" valueType="num">
                                      <p:cBhvr>
                                        <p:cTn id="22" dur="500" fill="hold"/>
                                        <p:tgtEl>
                                          <p:spTgt spid="26"/>
                                        </p:tgtEl>
                                        <p:attrNameLst>
                                          <p:attrName>ppt_w</p:attrName>
                                        </p:attrNameLst>
                                      </p:cBhvr>
                                      <p:tavLst>
                                        <p:tav tm="0">
                                          <p:val>
                                            <p:fltVal val="0"/>
                                          </p:val>
                                        </p:tav>
                                        <p:tav tm="100000">
                                          <p:val>
                                            <p:strVal val="#ppt_w"/>
                                          </p:val>
                                        </p:tav>
                                      </p:tavLst>
                                    </p:anim>
                                    <p:anim calcmode="lin" valueType="num">
                                      <p:cBhvr>
                                        <p:cTn id="23" dur="500" fill="hold"/>
                                        <p:tgtEl>
                                          <p:spTgt spid="26"/>
                                        </p:tgtEl>
                                        <p:attrNameLst>
                                          <p:attrName>ppt_h</p:attrName>
                                        </p:attrNameLst>
                                      </p:cBhvr>
                                      <p:tavLst>
                                        <p:tav tm="0">
                                          <p:val>
                                            <p:fltVal val="0"/>
                                          </p:val>
                                        </p:tav>
                                        <p:tav tm="100000">
                                          <p:val>
                                            <p:strVal val="#ppt_h"/>
                                          </p:val>
                                        </p:tav>
                                      </p:tavLst>
                                    </p:anim>
                                    <p:animEffect transition="in" filter="fade">
                                      <p:cBhvr>
                                        <p:cTn id="24" dur="500"/>
                                        <p:tgtEl>
                                          <p:spTgt spid="26"/>
                                        </p:tgtEl>
                                      </p:cBhvr>
                                    </p:animEffect>
                                  </p:childTnLst>
                                </p:cTn>
                              </p:par>
                              <p:par>
                                <p:cTn id="25" presetID="53" presetClass="entr" presetSubtype="16" fill="hold" nodeType="withEffect">
                                  <p:stCondLst>
                                    <p:cond delay="0"/>
                                  </p:stCondLst>
                                  <p:childTnLst>
                                    <p:set>
                                      <p:cBhvr>
                                        <p:cTn id="26" dur="1" fill="hold">
                                          <p:stCondLst>
                                            <p:cond delay="0"/>
                                          </p:stCondLst>
                                        </p:cTn>
                                        <p:tgtEl>
                                          <p:spTgt spid="29"/>
                                        </p:tgtEl>
                                        <p:attrNameLst>
                                          <p:attrName>style.visibility</p:attrName>
                                        </p:attrNameLst>
                                      </p:cBhvr>
                                      <p:to>
                                        <p:strVal val="visible"/>
                                      </p:to>
                                    </p:set>
                                    <p:anim calcmode="lin" valueType="num">
                                      <p:cBhvr>
                                        <p:cTn id="27" dur="500" fill="hold"/>
                                        <p:tgtEl>
                                          <p:spTgt spid="29"/>
                                        </p:tgtEl>
                                        <p:attrNameLst>
                                          <p:attrName>ppt_w</p:attrName>
                                        </p:attrNameLst>
                                      </p:cBhvr>
                                      <p:tavLst>
                                        <p:tav tm="0">
                                          <p:val>
                                            <p:fltVal val="0"/>
                                          </p:val>
                                        </p:tav>
                                        <p:tav tm="100000">
                                          <p:val>
                                            <p:strVal val="#ppt_w"/>
                                          </p:val>
                                        </p:tav>
                                      </p:tavLst>
                                    </p:anim>
                                    <p:anim calcmode="lin" valueType="num">
                                      <p:cBhvr>
                                        <p:cTn id="28" dur="500" fill="hold"/>
                                        <p:tgtEl>
                                          <p:spTgt spid="29"/>
                                        </p:tgtEl>
                                        <p:attrNameLst>
                                          <p:attrName>ppt_h</p:attrName>
                                        </p:attrNameLst>
                                      </p:cBhvr>
                                      <p:tavLst>
                                        <p:tav tm="0">
                                          <p:val>
                                            <p:fltVal val="0"/>
                                          </p:val>
                                        </p:tav>
                                        <p:tav tm="100000">
                                          <p:val>
                                            <p:strVal val="#ppt_h"/>
                                          </p:val>
                                        </p:tav>
                                      </p:tavLst>
                                    </p:anim>
                                    <p:animEffect transition="in" filter="fade">
                                      <p:cBhvr>
                                        <p:cTn id="29" dur="500"/>
                                        <p:tgtEl>
                                          <p:spTgt spid="29"/>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32"/>
                                        </p:tgtEl>
                                        <p:attrNameLst>
                                          <p:attrName>style.visibility</p:attrName>
                                        </p:attrNameLst>
                                      </p:cBhvr>
                                      <p:to>
                                        <p:strVal val="visible"/>
                                      </p:to>
                                    </p:set>
                                    <p:anim calcmode="lin" valueType="num">
                                      <p:cBhvr>
                                        <p:cTn id="32" dur="500" fill="hold"/>
                                        <p:tgtEl>
                                          <p:spTgt spid="32"/>
                                        </p:tgtEl>
                                        <p:attrNameLst>
                                          <p:attrName>ppt_w</p:attrName>
                                        </p:attrNameLst>
                                      </p:cBhvr>
                                      <p:tavLst>
                                        <p:tav tm="0">
                                          <p:val>
                                            <p:fltVal val="0"/>
                                          </p:val>
                                        </p:tav>
                                        <p:tav tm="100000">
                                          <p:val>
                                            <p:strVal val="#ppt_w"/>
                                          </p:val>
                                        </p:tav>
                                      </p:tavLst>
                                    </p:anim>
                                    <p:anim calcmode="lin" valueType="num">
                                      <p:cBhvr>
                                        <p:cTn id="33" dur="500" fill="hold"/>
                                        <p:tgtEl>
                                          <p:spTgt spid="32"/>
                                        </p:tgtEl>
                                        <p:attrNameLst>
                                          <p:attrName>ppt_h</p:attrName>
                                        </p:attrNameLst>
                                      </p:cBhvr>
                                      <p:tavLst>
                                        <p:tav tm="0">
                                          <p:val>
                                            <p:fltVal val="0"/>
                                          </p:val>
                                        </p:tav>
                                        <p:tav tm="100000">
                                          <p:val>
                                            <p:strVal val="#ppt_h"/>
                                          </p:val>
                                        </p:tav>
                                      </p:tavLst>
                                    </p:anim>
                                    <p:animEffect transition="in" filter="fade">
                                      <p:cBhvr>
                                        <p:cTn id="34" dur="500"/>
                                        <p:tgtEl>
                                          <p:spTgt spid="32"/>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anim calcmode="lin" valueType="num">
                                      <p:cBhvr>
                                        <p:cTn id="37" dur="500" fill="hold"/>
                                        <p:tgtEl>
                                          <p:spTgt spid="33"/>
                                        </p:tgtEl>
                                        <p:attrNameLst>
                                          <p:attrName>ppt_w</p:attrName>
                                        </p:attrNameLst>
                                      </p:cBhvr>
                                      <p:tavLst>
                                        <p:tav tm="0">
                                          <p:val>
                                            <p:fltVal val="0"/>
                                          </p:val>
                                        </p:tav>
                                        <p:tav tm="100000">
                                          <p:val>
                                            <p:strVal val="#ppt_w"/>
                                          </p:val>
                                        </p:tav>
                                      </p:tavLst>
                                    </p:anim>
                                    <p:anim calcmode="lin" valueType="num">
                                      <p:cBhvr>
                                        <p:cTn id="38" dur="500" fill="hold"/>
                                        <p:tgtEl>
                                          <p:spTgt spid="33"/>
                                        </p:tgtEl>
                                        <p:attrNameLst>
                                          <p:attrName>ppt_h</p:attrName>
                                        </p:attrNameLst>
                                      </p:cBhvr>
                                      <p:tavLst>
                                        <p:tav tm="0">
                                          <p:val>
                                            <p:fltVal val="0"/>
                                          </p:val>
                                        </p:tav>
                                        <p:tav tm="100000">
                                          <p:val>
                                            <p:strVal val="#ppt_h"/>
                                          </p:val>
                                        </p:tav>
                                      </p:tavLst>
                                    </p:anim>
                                    <p:animEffect transition="in" filter="fade">
                                      <p:cBhvr>
                                        <p:cTn id="39" dur="500"/>
                                        <p:tgtEl>
                                          <p:spTgt spid="33"/>
                                        </p:tgtEl>
                                      </p:cBhvr>
                                    </p:animEffect>
                                  </p:childTnLst>
                                </p:cTn>
                              </p:par>
                              <p:par>
                                <p:cTn id="40" presetID="53" presetClass="entr" presetSubtype="16" fill="hold" nodeType="withEffect">
                                  <p:stCondLst>
                                    <p:cond delay="0"/>
                                  </p:stCondLst>
                                  <p:childTnLst>
                                    <p:set>
                                      <p:cBhvr>
                                        <p:cTn id="41" dur="1" fill="hold">
                                          <p:stCondLst>
                                            <p:cond delay="0"/>
                                          </p:stCondLst>
                                        </p:cTn>
                                        <p:tgtEl>
                                          <p:spTgt spid="34"/>
                                        </p:tgtEl>
                                        <p:attrNameLst>
                                          <p:attrName>style.visibility</p:attrName>
                                        </p:attrNameLst>
                                      </p:cBhvr>
                                      <p:to>
                                        <p:strVal val="visible"/>
                                      </p:to>
                                    </p:set>
                                    <p:anim calcmode="lin" valueType="num">
                                      <p:cBhvr>
                                        <p:cTn id="42" dur="500" fill="hold"/>
                                        <p:tgtEl>
                                          <p:spTgt spid="34"/>
                                        </p:tgtEl>
                                        <p:attrNameLst>
                                          <p:attrName>ppt_w</p:attrName>
                                        </p:attrNameLst>
                                      </p:cBhvr>
                                      <p:tavLst>
                                        <p:tav tm="0">
                                          <p:val>
                                            <p:fltVal val="0"/>
                                          </p:val>
                                        </p:tav>
                                        <p:tav tm="100000">
                                          <p:val>
                                            <p:strVal val="#ppt_w"/>
                                          </p:val>
                                        </p:tav>
                                      </p:tavLst>
                                    </p:anim>
                                    <p:anim calcmode="lin" valueType="num">
                                      <p:cBhvr>
                                        <p:cTn id="43" dur="500" fill="hold"/>
                                        <p:tgtEl>
                                          <p:spTgt spid="34"/>
                                        </p:tgtEl>
                                        <p:attrNameLst>
                                          <p:attrName>ppt_h</p:attrName>
                                        </p:attrNameLst>
                                      </p:cBhvr>
                                      <p:tavLst>
                                        <p:tav tm="0">
                                          <p:val>
                                            <p:fltVal val="0"/>
                                          </p:val>
                                        </p:tav>
                                        <p:tav tm="100000">
                                          <p:val>
                                            <p:strVal val="#ppt_h"/>
                                          </p:val>
                                        </p:tav>
                                      </p:tavLst>
                                    </p:anim>
                                    <p:animEffect transition="in" filter="fade">
                                      <p:cBhvr>
                                        <p:cTn id="44" dur="500"/>
                                        <p:tgtEl>
                                          <p:spTgt spid="34"/>
                                        </p:tgtEl>
                                      </p:cBhvr>
                                    </p:animEffect>
                                  </p:childTnLst>
                                </p:cTn>
                              </p:par>
                              <p:par>
                                <p:cTn id="45" presetID="53" presetClass="entr" presetSubtype="16" fill="hold" nodeType="withEffect">
                                  <p:stCondLst>
                                    <p:cond delay="0"/>
                                  </p:stCondLst>
                                  <p:childTnLst>
                                    <p:set>
                                      <p:cBhvr>
                                        <p:cTn id="46" dur="1" fill="hold">
                                          <p:stCondLst>
                                            <p:cond delay="0"/>
                                          </p:stCondLst>
                                        </p:cTn>
                                        <p:tgtEl>
                                          <p:spTgt spid="35"/>
                                        </p:tgtEl>
                                        <p:attrNameLst>
                                          <p:attrName>style.visibility</p:attrName>
                                        </p:attrNameLst>
                                      </p:cBhvr>
                                      <p:to>
                                        <p:strVal val="visible"/>
                                      </p:to>
                                    </p:set>
                                    <p:anim calcmode="lin" valueType="num">
                                      <p:cBhvr>
                                        <p:cTn id="47" dur="500" fill="hold"/>
                                        <p:tgtEl>
                                          <p:spTgt spid="35"/>
                                        </p:tgtEl>
                                        <p:attrNameLst>
                                          <p:attrName>ppt_w</p:attrName>
                                        </p:attrNameLst>
                                      </p:cBhvr>
                                      <p:tavLst>
                                        <p:tav tm="0">
                                          <p:val>
                                            <p:fltVal val="0"/>
                                          </p:val>
                                        </p:tav>
                                        <p:tav tm="100000">
                                          <p:val>
                                            <p:strVal val="#ppt_w"/>
                                          </p:val>
                                        </p:tav>
                                      </p:tavLst>
                                    </p:anim>
                                    <p:anim calcmode="lin" valueType="num">
                                      <p:cBhvr>
                                        <p:cTn id="48" dur="500" fill="hold"/>
                                        <p:tgtEl>
                                          <p:spTgt spid="35"/>
                                        </p:tgtEl>
                                        <p:attrNameLst>
                                          <p:attrName>ppt_h</p:attrName>
                                        </p:attrNameLst>
                                      </p:cBhvr>
                                      <p:tavLst>
                                        <p:tav tm="0">
                                          <p:val>
                                            <p:fltVal val="0"/>
                                          </p:val>
                                        </p:tav>
                                        <p:tav tm="100000">
                                          <p:val>
                                            <p:strVal val="#ppt_h"/>
                                          </p:val>
                                        </p:tav>
                                      </p:tavLst>
                                    </p:anim>
                                    <p:animEffect transition="in" filter="fade">
                                      <p:cBhvr>
                                        <p:cTn id="49" dur="500"/>
                                        <p:tgtEl>
                                          <p:spTgt spid="35"/>
                                        </p:tgtEl>
                                      </p:cBhvr>
                                    </p:animEffect>
                                  </p:childTnLst>
                                </p:cTn>
                              </p:par>
                              <p:par>
                                <p:cTn id="50" presetID="53" presetClass="entr" presetSubtype="16" fill="hold" nodeType="withEffect">
                                  <p:stCondLst>
                                    <p:cond delay="0"/>
                                  </p:stCondLst>
                                  <p:childTnLst>
                                    <p:set>
                                      <p:cBhvr>
                                        <p:cTn id="51" dur="1" fill="hold">
                                          <p:stCondLst>
                                            <p:cond delay="0"/>
                                          </p:stCondLst>
                                        </p:cTn>
                                        <p:tgtEl>
                                          <p:spTgt spid="36"/>
                                        </p:tgtEl>
                                        <p:attrNameLst>
                                          <p:attrName>style.visibility</p:attrName>
                                        </p:attrNameLst>
                                      </p:cBhvr>
                                      <p:to>
                                        <p:strVal val="visible"/>
                                      </p:to>
                                    </p:set>
                                    <p:anim calcmode="lin" valueType="num">
                                      <p:cBhvr>
                                        <p:cTn id="52" dur="500" fill="hold"/>
                                        <p:tgtEl>
                                          <p:spTgt spid="36"/>
                                        </p:tgtEl>
                                        <p:attrNameLst>
                                          <p:attrName>ppt_w</p:attrName>
                                        </p:attrNameLst>
                                      </p:cBhvr>
                                      <p:tavLst>
                                        <p:tav tm="0">
                                          <p:val>
                                            <p:fltVal val="0"/>
                                          </p:val>
                                        </p:tav>
                                        <p:tav tm="100000">
                                          <p:val>
                                            <p:strVal val="#ppt_w"/>
                                          </p:val>
                                        </p:tav>
                                      </p:tavLst>
                                    </p:anim>
                                    <p:anim calcmode="lin" valueType="num">
                                      <p:cBhvr>
                                        <p:cTn id="53" dur="500" fill="hold"/>
                                        <p:tgtEl>
                                          <p:spTgt spid="36"/>
                                        </p:tgtEl>
                                        <p:attrNameLst>
                                          <p:attrName>ppt_h</p:attrName>
                                        </p:attrNameLst>
                                      </p:cBhvr>
                                      <p:tavLst>
                                        <p:tav tm="0">
                                          <p:val>
                                            <p:fltVal val="0"/>
                                          </p:val>
                                        </p:tav>
                                        <p:tav tm="100000">
                                          <p:val>
                                            <p:strVal val="#ppt_h"/>
                                          </p:val>
                                        </p:tav>
                                      </p:tavLst>
                                    </p:anim>
                                    <p:animEffect transition="in" filter="fade">
                                      <p:cBhvr>
                                        <p:cTn id="54" dur="500"/>
                                        <p:tgtEl>
                                          <p:spTgt spid="36"/>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37"/>
                                        </p:tgtEl>
                                        <p:attrNameLst>
                                          <p:attrName>style.visibility</p:attrName>
                                        </p:attrNameLst>
                                      </p:cBhvr>
                                      <p:to>
                                        <p:strVal val="visible"/>
                                      </p:to>
                                    </p:set>
                                    <p:anim calcmode="lin" valueType="num">
                                      <p:cBhvr>
                                        <p:cTn id="57" dur="500" fill="hold"/>
                                        <p:tgtEl>
                                          <p:spTgt spid="37"/>
                                        </p:tgtEl>
                                        <p:attrNameLst>
                                          <p:attrName>ppt_w</p:attrName>
                                        </p:attrNameLst>
                                      </p:cBhvr>
                                      <p:tavLst>
                                        <p:tav tm="0">
                                          <p:val>
                                            <p:fltVal val="0"/>
                                          </p:val>
                                        </p:tav>
                                        <p:tav tm="100000">
                                          <p:val>
                                            <p:strVal val="#ppt_w"/>
                                          </p:val>
                                        </p:tav>
                                      </p:tavLst>
                                    </p:anim>
                                    <p:anim calcmode="lin" valueType="num">
                                      <p:cBhvr>
                                        <p:cTn id="58" dur="500" fill="hold"/>
                                        <p:tgtEl>
                                          <p:spTgt spid="37"/>
                                        </p:tgtEl>
                                        <p:attrNameLst>
                                          <p:attrName>ppt_h</p:attrName>
                                        </p:attrNameLst>
                                      </p:cBhvr>
                                      <p:tavLst>
                                        <p:tav tm="0">
                                          <p:val>
                                            <p:fltVal val="0"/>
                                          </p:val>
                                        </p:tav>
                                        <p:tav tm="100000">
                                          <p:val>
                                            <p:strVal val="#ppt_h"/>
                                          </p:val>
                                        </p:tav>
                                      </p:tavLst>
                                    </p:anim>
                                    <p:animEffect transition="in" filter="fade">
                                      <p:cBhvr>
                                        <p:cTn id="59" dur="500"/>
                                        <p:tgtEl>
                                          <p:spTgt spid="37"/>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38"/>
                                        </p:tgtEl>
                                        <p:attrNameLst>
                                          <p:attrName>style.visibility</p:attrName>
                                        </p:attrNameLst>
                                      </p:cBhvr>
                                      <p:to>
                                        <p:strVal val="visible"/>
                                      </p:to>
                                    </p:set>
                                    <p:anim calcmode="lin" valueType="num">
                                      <p:cBhvr>
                                        <p:cTn id="62" dur="500" fill="hold"/>
                                        <p:tgtEl>
                                          <p:spTgt spid="38"/>
                                        </p:tgtEl>
                                        <p:attrNameLst>
                                          <p:attrName>ppt_w</p:attrName>
                                        </p:attrNameLst>
                                      </p:cBhvr>
                                      <p:tavLst>
                                        <p:tav tm="0">
                                          <p:val>
                                            <p:fltVal val="0"/>
                                          </p:val>
                                        </p:tav>
                                        <p:tav tm="100000">
                                          <p:val>
                                            <p:strVal val="#ppt_w"/>
                                          </p:val>
                                        </p:tav>
                                      </p:tavLst>
                                    </p:anim>
                                    <p:anim calcmode="lin" valueType="num">
                                      <p:cBhvr>
                                        <p:cTn id="63" dur="500" fill="hold"/>
                                        <p:tgtEl>
                                          <p:spTgt spid="38"/>
                                        </p:tgtEl>
                                        <p:attrNameLst>
                                          <p:attrName>ppt_h</p:attrName>
                                        </p:attrNameLst>
                                      </p:cBhvr>
                                      <p:tavLst>
                                        <p:tav tm="0">
                                          <p:val>
                                            <p:fltVal val="0"/>
                                          </p:val>
                                        </p:tav>
                                        <p:tav tm="100000">
                                          <p:val>
                                            <p:strVal val="#ppt_h"/>
                                          </p:val>
                                        </p:tav>
                                      </p:tavLst>
                                    </p:anim>
                                    <p:animEffect transition="in" filter="fade">
                                      <p:cBhvr>
                                        <p:cTn id="64" dur="500"/>
                                        <p:tgtEl>
                                          <p:spTgt spid="38"/>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39"/>
                                        </p:tgtEl>
                                        <p:attrNameLst>
                                          <p:attrName>style.visibility</p:attrName>
                                        </p:attrNameLst>
                                      </p:cBhvr>
                                      <p:to>
                                        <p:strVal val="visible"/>
                                      </p:to>
                                    </p:set>
                                    <p:anim calcmode="lin" valueType="num">
                                      <p:cBhvr>
                                        <p:cTn id="67" dur="500" fill="hold"/>
                                        <p:tgtEl>
                                          <p:spTgt spid="39"/>
                                        </p:tgtEl>
                                        <p:attrNameLst>
                                          <p:attrName>ppt_w</p:attrName>
                                        </p:attrNameLst>
                                      </p:cBhvr>
                                      <p:tavLst>
                                        <p:tav tm="0">
                                          <p:val>
                                            <p:fltVal val="0"/>
                                          </p:val>
                                        </p:tav>
                                        <p:tav tm="100000">
                                          <p:val>
                                            <p:strVal val="#ppt_w"/>
                                          </p:val>
                                        </p:tav>
                                      </p:tavLst>
                                    </p:anim>
                                    <p:anim calcmode="lin" valueType="num">
                                      <p:cBhvr>
                                        <p:cTn id="68" dur="500" fill="hold"/>
                                        <p:tgtEl>
                                          <p:spTgt spid="39"/>
                                        </p:tgtEl>
                                        <p:attrNameLst>
                                          <p:attrName>ppt_h</p:attrName>
                                        </p:attrNameLst>
                                      </p:cBhvr>
                                      <p:tavLst>
                                        <p:tav tm="0">
                                          <p:val>
                                            <p:fltVal val="0"/>
                                          </p:val>
                                        </p:tav>
                                        <p:tav tm="100000">
                                          <p:val>
                                            <p:strVal val="#ppt_h"/>
                                          </p:val>
                                        </p:tav>
                                      </p:tavLst>
                                    </p:anim>
                                    <p:animEffect transition="in" filter="fade">
                                      <p:cBhvr>
                                        <p:cTn id="69" dur="500"/>
                                        <p:tgtEl>
                                          <p:spTgt spid="39"/>
                                        </p:tgtEl>
                                      </p:cBhvr>
                                    </p:animEffect>
                                  </p:childTnLst>
                                </p:cTn>
                              </p:par>
                            </p:childTnLst>
                          </p:cTn>
                        </p:par>
                      </p:childTnLst>
                    </p:cTn>
                  </p:par>
                  <p:par>
                    <p:cTn id="70" fill="hold">
                      <p:stCondLst>
                        <p:cond delay="indefinite"/>
                      </p:stCondLst>
                      <p:childTnLst>
                        <p:par>
                          <p:cTn id="71" fill="hold">
                            <p:stCondLst>
                              <p:cond delay="0"/>
                            </p:stCondLst>
                            <p:childTnLst>
                              <p:par>
                                <p:cTn id="72" presetID="53" presetClass="entr" presetSubtype="16" fill="hold" grpId="0" nodeType="clickEffect">
                                  <p:stCondLst>
                                    <p:cond delay="0"/>
                                  </p:stCondLst>
                                  <p:childTnLst>
                                    <p:set>
                                      <p:cBhvr>
                                        <p:cTn id="73" dur="1" fill="hold">
                                          <p:stCondLst>
                                            <p:cond delay="0"/>
                                          </p:stCondLst>
                                        </p:cTn>
                                        <p:tgtEl>
                                          <p:spTgt spid="6"/>
                                        </p:tgtEl>
                                        <p:attrNameLst>
                                          <p:attrName>style.visibility</p:attrName>
                                        </p:attrNameLst>
                                      </p:cBhvr>
                                      <p:to>
                                        <p:strVal val="visible"/>
                                      </p:to>
                                    </p:set>
                                    <p:anim calcmode="lin" valueType="num">
                                      <p:cBhvr>
                                        <p:cTn id="74" dur="500" fill="hold"/>
                                        <p:tgtEl>
                                          <p:spTgt spid="6"/>
                                        </p:tgtEl>
                                        <p:attrNameLst>
                                          <p:attrName>ppt_w</p:attrName>
                                        </p:attrNameLst>
                                      </p:cBhvr>
                                      <p:tavLst>
                                        <p:tav tm="0">
                                          <p:val>
                                            <p:fltVal val="0"/>
                                          </p:val>
                                        </p:tav>
                                        <p:tav tm="100000">
                                          <p:val>
                                            <p:strVal val="#ppt_w"/>
                                          </p:val>
                                        </p:tav>
                                      </p:tavLst>
                                    </p:anim>
                                    <p:anim calcmode="lin" valueType="num">
                                      <p:cBhvr>
                                        <p:cTn id="75" dur="500" fill="hold"/>
                                        <p:tgtEl>
                                          <p:spTgt spid="6"/>
                                        </p:tgtEl>
                                        <p:attrNameLst>
                                          <p:attrName>ppt_h</p:attrName>
                                        </p:attrNameLst>
                                      </p:cBhvr>
                                      <p:tavLst>
                                        <p:tav tm="0">
                                          <p:val>
                                            <p:fltVal val="0"/>
                                          </p:val>
                                        </p:tav>
                                        <p:tav tm="100000">
                                          <p:val>
                                            <p:strVal val="#ppt_h"/>
                                          </p:val>
                                        </p:tav>
                                      </p:tavLst>
                                    </p:anim>
                                    <p:animEffect transition="in" filter="fade">
                                      <p:cBhvr>
                                        <p:cTn id="76" dur="500"/>
                                        <p:tgtEl>
                                          <p:spTgt spid="6"/>
                                        </p:tgtEl>
                                      </p:cBhvr>
                                    </p:animEffect>
                                  </p:childTnLst>
                                </p:cTn>
                              </p:par>
                            </p:childTnLst>
                          </p:cTn>
                        </p:par>
                      </p:childTnLst>
                    </p:cTn>
                  </p:par>
                  <p:par>
                    <p:cTn id="77" fill="hold">
                      <p:stCondLst>
                        <p:cond delay="indefinite"/>
                      </p:stCondLst>
                      <p:childTnLst>
                        <p:par>
                          <p:cTn id="78" fill="hold">
                            <p:stCondLst>
                              <p:cond delay="0"/>
                            </p:stCondLst>
                            <p:childTnLst>
                              <p:par>
                                <p:cTn id="79" presetID="53" presetClass="entr" presetSubtype="16" fill="hold" grpId="0" nodeType="clickEffect">
                                  <p:stCondLst>
                                    <p:cond delay="0"/>
                                  </p:stCondLst>
                                  <p:childTnLst>
                                    <p:set>
                                      <p:cBhvr>
                                        <p:cTn id="80" dur="1" fill="hold">
                                          <p:stCondLst>
                                            <p:cond delay="0"/>
                                          </p:stCondLst>
                                        </p:cTn>
                                        <p:tgtEl>
                                          <p:spTgt spid="9"/>
                                        </p:tgtEl>
                                        <p:attrNameLst>
                                          <p:attrName>style.visibility</p:attrName>
                                        </p:attrNameLst>
                                      </p:cBhvr>
                                      <p:to>
                                        <p:strVal val="visible"/>
                                      </p:to>
                                    </p:set>
                                    <p:anim calcmode="lin" valueType="num">
                                      <p:cBhvr>
                                        <p:cTn id="81" dur="500" fill="hold"/>
                                        <p:tgtEl>
                                          <p:spTgt spid="9"/>
                                        </p:tgtEl>
                                        <p:attrNameLst>
                                          <p:attrName>ppt_w</p:attrName>
                                        </p:attrNameLst>
                                      </p:cBhvr>
                                      <p:tavLst>
                                        <p:tav tm="0">
                                          <p:val>
                                            <p:fltVal val="0"/>
                                          </p:val>
                                        </p:tav>
                                        <p:tav tm="100000">
                                          <p:val>
                                            <p:strVal val="#ppt_w"/>
                                          </p:val>
                                        </p:tav>
                                      </p:tavLst>
                                    </p:anim>
                                    <p:anim calcmode="lin" valueType="num">
                                      <p:cBhvr>
                                        <p:cTn id="82" dur="500" fill="hold"/>
                                        <p:tgtEl>
                                          <p:spTgt spid="9"/>
                                        </p:tgtEl>
                                        <p:attrNameLst>
                                          <p:attrName>ppt_h</p:attrName>
                                        </p:attrNameLst>
                                      </p:cBhvr>
                                      <p:tavLst>
                                        <p:tav tm="0">
                                          <p:val>
                                            <p:fltVal val="0"/>
                                          </p:val>
                                        </p:tav>
                                        <p:tav tm="100000">
                                          <p:val>
                                            <p:strVal val="#ppt_h"/>
                                          </p:val>
                                        </p:tav>
                                      </p:tavLst>
                                    </p:anim>
                                    <p:animEffect transition="in" filter="fade">
                                      <p:cBhvr>
                                        <p:cTn id="83" dur="500"/>
                                        <p:tgtEl>
                                          <p:spTgt spid="9"/>
                                        </p:tgtEl>
                                      </p:cBhvr>
                                    </p:animEffect>
                                  </p:childTnLst>
                                </p:cTn>
                              </p:par>
                              <p:par>
                                <p:cTn id="84" presetID="53" presetClass="entr" presetSubtype="16" fill="hold" nodeType="withEffect">
                                  <p:stCondLst>
                                    <p:cond delay="0"/>
                                  </p:stCondLst>
                                  <p:childTnLst>
                                    <p:set>
                                      <p:cBhvr>
                                        <p:cTn id="85" dur="1" fill="hold">
                                          <p:stCondLst>
                                            <p:cond delay="0"/>
                                          </p:stCondLst>
                                        </p:cTn>
                                        <p:tgtEl>
                                          <p:spTgt spid="18"/>
                                        </p:tgtEl>
                                        <p:attrNameLst>
                                          <p:attrName>style.visibility</p:attrName>
                                        </p:attrNameLst>
                                      </p:cBhvr>
                                      <p:to>
                                        <p:strVal val="visible"/>
                                      </p:to>
                                    </p:set>
                                    <p:anim calcmode="lin" valueType="num">
                                      <p:cBhvr>
                                        <p:cTn id="86" dur="500" fill="hold"/>
                                        <p:tgtEl>
                                          <p:spTgt spid="18"/>
                                        </p:tgtEl>
                                        <p:attrNameLst>
                                          <p:attrName>ppt_w</p:attrName>
                                        </p:attrNameLst>
                                      </p:cBhvr>
                                      <p:tavLst>
                                        <p:tav tm="0">
                                          <p:val>
                                            <p:fltVal val="0"/>
                                          </p:val>
                                        </p:tav>
                                        <p:tav tm="100000">
                                          <p:val>
                                            <p:strVal val="#ppt_w"/>
                                          </p:val>
                                        </p:tav>
                                      </p:tavLst>
                                    </p:anim>
                                    <p:anim calcmode="lin" valueType="num">
                                      <p:cBhvr>
                                        <p:cTn id="87" dur="500" fill="hold"/>
                                        <p:tgtEl>
                                          <p:spTgt spid="18"/>
                                        </p:tgtEl>
                                        <p:attrNameLst>
                                          <p:attrName>ppt_h</p:attrName>
                                        </p:attrNameLst>
                                      </p:cBhvr>
                                      <p:tavLst>
                                        <p:tav tm="0">
                                          <p:val>
                                            <p:fltVal val="0"/>
                                          </p:val>
                                        </p:tav>
                                        <p:tav tm="100000">
                                          <p:val>
                                            <p:strVal val="#ppt_h"/>
                                          </p:val>
                                        </p:tav>
                                      </p:tavLst>
                                    </p:anim>
                                    <p:animEffect transition="in" filter="fade">
                                      <p:cBhvr>
                                        <p:cTn id="88" dur="500"/>
                                        <p:tgtEl>
                                          <p:spTgt spid="18"/>
                                        </p:tgtEl>
                                      </p:cBhvr>
                                    </p:animEffect>
                                  </p:childTnLst>
                                </p:cTn>
                              </p:par>
                            </p:childTnLst>
                          </p:cTn>
                        </p:par>
                        <p:par>
                          <p:cTn id="89" fill="hold">
                            <p:stCondLst>
                              <p:cond delay="500"/>
                            </p:stCondLst>
                            <p:childTnLst>
                              <p:par>
                                <p:cTn id="90" presetID="53" presetClass="entr" presetSubtype="16" fill="hold" nodeType="afterEffect">
                                  <p:stCondLst>
                                    <p:cond delay="0"/>
                                  </p:stCondLst>
                                  <p:childTnLst>
                                    <p:set>
                                      <p:cBhvr>
                                        <p:cTn id="91" dur="1" fill="hold">
                                          <p:stCondLst>
                                            <p:cond delay="0"/>
                                          </p:stCondLst>
                                        </p:cTn>
                                        <p:tgtEl>
                                          <p:spTgt spid="2"/>
                                        </p:tgtEl>
                                        <p:attrNameLst>
                                          <p:attrName>style.visibility</p:attrName>
                                        </p:attrNameLst>
                                      </p:cBhvr>
                                      <p:to>
                                        <p:strVal val="visible"/>
                                      </p:to>
                                    </p:set>
                                    <p:anim calcmode="lin" valueType="num">
                                      <p:cBhvr>
                                        <p:cTn id="92" dur="500" fill="hold"/>
                                        <p:tgtEl>
                                          <p:spTgt spid="2"/>
                                        </p:tgtEl>
                                        <p:attrNameLst>
                                          <p:attrName>ppt_w</p:attrName>
                                        </p:attrNameLst>
                                      </p:cBhvr>
                                      <p:tavLst>
                                        <p:tav tm="0">
                                          <p:val>
                                            <p:fltVal val="0"/>
                                          </p:val>
                                        </p:tav>
                                        <p:tav tm="100000">
                                          <p:val>
                                            <p:strVal val="#ppt_w"/>
                                          </p:val>
                                        </p:tav>
                                      </p:tavLst>
                                    </p:anim>
                                    <p:anim calcmode="lin" valueType="num">
                                      <p:cBhvr>
                                        <p:cTn id="93" dur="500" fill="hold"/>
                                        <p:tgtEl>
                                          <p:spTgt spid="2"/>
                                        </p:tgtEl>
                                        <p:attrNameLst>
                                          <p:attrName>ppt_h</p:attrName>
                                        </p:attrNameLst>
                                      </p:cBhvr>
                                      <p:tavLst>
                                        <p:tav tm="0">
                                          <p:val>
                                            <p:fltVal val="0"/>
                                          </p:val>
                                        </p:tav>
                                        <p:tav tm="100000">
                                          <p:val>
                                            <p:strVal val="#ppt_h"/>
                                          </p:val>
                                        </p:tav>
                                      </p:tavLst>
                                    </p:anim>
                                    <p:animEffect transition="in" filter="fade">
                                      <p:cBhvr>
                                        <p:cTn id="94" dur="500"/>
                                        <p:tgtEl>
                                          <p:spTgt spid="2"/>
                                        </p:tgtEl>
                                      </p:cBhvr>
                                    </p:animEffect>
                                  </p:childTnLst>
                                </p:cTn>
                              </p:par>
                            </p:childTnLst>
                          </p:cTn>
                        </p:par>
                        <p:par>
                          <p:cTn id="95" fill="hold">
                            <p:stCondLst>
                              <p:cond delay="1000"/>
                            </p:stCondLst>
                            <p:childTnLst>
                              <p:par>
                                <p:cTn id="96" presetID="53" presetClass="entr" presetSubtype="16" fill="hold" grpId="0" nodeType="afterEffect">
                                  <p:stCondLst>
                                    <p:cond delay="0"/>
                                  </p:stCondLst>
                                  <p:childTnLst>
                                    <p:set>
                                      <p:cBhvr>
                                        <p:cTn id="97" dur="1" fill="hold">
                                          <p:stCondLst>
                                            <p:cond delay="0"/>
                                          </p:stCondLst>
                                        </p:cTn>
                                        <p:tgtEl>
                                          <p:spTgt spid="41"/>
                                        </p:tgtEl>
                                        <p:attrNameLst>
                                          <p:attrName>style.visibility</p:attrName>
                                        </p:attrNameLst>
                                      </p:cBhvr>
                                      <p:to>
                                        <p:strVal val="visible"/>
                                      </p:to>
                                    </p:set>
                                    <p:anim calcmode="lin" valueType="num">
                                      <p:cBhvr>
                                        <p:cTn id="98" dur="500" fill="hold"/>
                                        <p:tgtEl>
                                          <p:spTgt spid="41"/>
                                        </p:tgtEl>
                                        <p:attrNameLst>
                                          <p:attrName>ppt_w</p:attrName>
                                        </p:attrNameLst>
                                      </p:cBhvr>
                                      <p:tavLst>
                                        <p:tav tm="0">
                                          <p:val>
                                            <p:fltVal val="0"/>
                                          </p:val>
                                        </p:tav>
                                        <p:tav tm="100000">
                                          <p:val>
                                            <p:strVal val="#ppt_w"/>
                                          </p:val>
                                        </p:tav>
                                      </p:tavLst>
                                    </p:anim>
                                    <p:anim calcmode="lin" valueType="num">
                                      <p:cBhvr>
                                        <p:cTn id="99" dur="500" fill="hold"/>
                                        <p:tgtEl>
                                          <p:spTgt spid="41"/>
                                        </p:tgtEl>
                                        <p:attrNameLst>
                                          <p:attrName>ppt_h</p:attrName>
                                        </p:attrNameLst>
                                      </p:cBhvr>
                                      <p:tavLst>
                                        <p:tav tm="0">
                                          <p:val>
                                            <p:fltVal val="0"/>
                                          </p:val>
                                        </p:tav>
                                        <p:tav tm="100000">
                                          <p:val>
                                            <p:strVal val="#ppt_h"/>
                                          </p:val>
                                        </p:tav>
                                      </p:tavLst>
                                    </p:anim>
                                    <p:animEffect transition="in" filter="fade">
                                      <p:cBhvr>
                                        <p:cTn id="100"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2" grpId="0"/>
      <p:bldP spid="32" grpId="0"/>
      <p:bldP spid="33" grpId="0"/>
      <p:bldP spid="37" grpId="0" animBg="1"/>
      <p:bldP spid="38" grpId="0" animBg="1"/>
      <p:bldP spid="39" grpId="0" animBg="1"/>
      <p:bldP spid="6" grpId="0" animBg="1"/>
      <p:bldP spid="4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1009B402-231E-4745-9073-7F96BE837BED}"/>
              </a:ext>
            </a:extLst>
          </p:cNvPr>
          <p:cNvSpPr txBox="1"/>
          <p:nvPr/>
        </p:nvSpPr>
        <p:spPr>
          <a:xfrm>
            <a:off x="946371" y="669783"/>
            <a:ext cx="10124081" cy="707886"/>
          </a:xfrm>
          <a:prstGeom prst="rect">
            <a:avLst/>
          </a:prstGeom>
          <a:noFill/>
        </p:spPr>
        <p:txBody>
          <a:bodyPr wrap="square" rtlCol="0">
            <a:spAutoFit/>
          </a:bodyPr>
          <a:lstStyle/>
          <a:p>
            <a:r>
              <a:rPr lang="en" b="1" dirty="0">
                <a:latin typeface="+mj-lt"/>
                <a:ea typeface="Fira Sans Extra Condensed Medium"/>
                <a:cs typeface="Fira Sans Extra Condensed Medium"/>
                <a:sym typeface="Fira Sans Extra Condensed Medium"/>
              </a:rPr>
              <a:t>Hybrid of Model + Business Rules</a:t>
            </a:r>
            <a:r>
              <a:rPr lang="en-GB" dirty="0">
                <a:latin typeface="+mj-lt"/>
                <a:cs typeface="Arial" panose="020B0604020202020204" pitchFamily="34" charset="0"/>
              </a:rPr>
              <a:t> bringing</a:t>
            </a:r>
            <a:r>
              <a:rPr lang="en-GB" dirty="0">
                <a:latin typeface="Arial" panose="020B0604020202020204" pitchFamily="34" charset="0"/>
                <a:cs typeface="Arial" panose="020B0604020202020204" pitchFamily="34" charset="0"/>
              </a:rPr>
              <a:t> </a:t>
            </a:r>
            <a:r>
              <a:rPr lang="en-GB" b="1" dirty="0">
                <a:solidFill>
                  <a:srgbClr val="D31145"/>
                </a:solidFill>
                <a:latin typeface="Arial" panose="020B0604020202020204" pitchFamily="34" charset="0"/>
                <a:cs typeface="Arial" panose="020B0604020202020204" pitchFamily="34" charset="0"/>
              </a:rPr>
              <a:t>highest uplift </a:t>
            </a:r>
            <a:r>
              <a:rPr lang="en-GB" dirty="0">
                <a:latin typeface="Arial" panose="020B0604020202020204" pitchFamily="34" charset="0"/>
                <a:cs typeface="Arial" panose="020B0604020202020204" pitchFamily="34" charset="0"/>
              </a:rPr>
              <a:t>in terms of repurchase rate (</a:t>
            </a:r>
            <a:r>
              <a:rPr lang="en-GB" sz="2000" b="1" dirty="0">
                <a:solidFill>
                  <a:srgbClr val="D31145"/>
                </a:solidFill>
                <a:latin typeface="Arial" panose="020B0604020202020204" pitchFamily="34" charset="0"/>
                <a:cs typeface="Arial" panose="020B0604020202020204" pitchFamily="34" charset="0"/>
              </a:rPr>
              <a:t>2.8x</a:t>
            </a:r>
            <a:r>
              <a:rPr lang="en-GB" dirty="0">
                <a:latin typeface="Arial" panose="020B0604020202020204" pitchFamily="34" charset="0"/>
                <a:cs typeface="Arial" panose="020B0604020202020204" pitchFamily="34" charset="0"/>
              </a:rPr>
              <a:t>) &amp; average repurchase ANP (</a:t>
            </a:r>
            <a:r>
              <a:rPr lang="en-GB" sz="2000" b="1" dirty="0">
                <a:solidFill>
                  <a:srgbClr val="D31145"/>
                </a:solidFill>
                <a:latin typeface="Arial" panose="020B0604020202020204" pitchFamily="34" charset="0"/>
                <a:cs typeface="Arial" panose="020B0604020202020204" pitchFamily="34" charset="0"/>
              </a:rPr>
              <a:t>1.7x</a:t>
            </a:r>
            <a:r>
              <a:rPr lang="en-GB" dirty="0">
                <a:latin typeface="Arial" panose="020B0604020202020204" pitchFamily="34" charset="0"/>
                <a:cs typeface="Arial" panose="020B0604020202020204" pitchFamily="34" charset="0"/>
              </a:rPr>
              <a:t>) per quarter</a:t>
            </a:r>
            <a:endParaRPr lang="en-HK" dirty="0">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1EC1F820-17C2-4884-9EC9-849CA65E6CB2}"/>
              </a:ext>
            </a:extLst>
          </p:cNvPr>
          <p:cNvSpPr txBox="1"/>
          <p:nvPr/>
        </p:nvSpPr>
        <p:spPr>
          <a:xfrm>
            <a:off x="4074588" y="6117496"/>
            <a:ext cx="5607295" cy="553998"/>
          </a:xfrm>
          <a:prstGeom prst="rect">
            <a:avLst/>
          </a:prstGeom>
          <a:noFill/>
        </p:spPr>
        <p:txBody>
          <a:bodyPr wrap="square" rtlCol="0">
            <a:spAutoFit/>
          </a:bodyPr>
          <a:lstStyle/>
          <a:p>
            <a:r>
              <a:rPr lang="en-US" sz="1000" i="1" u="sng" dirty="0">
                <a:latin typeface="Arial" panose="020B0604020202020204" pitchFamily="34" charset="0"/>
                <a:cs typeface="Arial" panose="020B0604020202020204" pitchFamily="34" charset="0"/>
              </a:rPr>
              <a:t>Notes: </a:t>
            </a:r>
          </a:p>
          <a:p>
            <a:pPr marL="228600" indent="-228600">
              <a:buAutoNum type="arabicParenR"/>
            </a:pPr>
            <a:r>
              <a:rPr lang="en-US" sz="1000" i="1" dirty="0">
                <a:latin typeface="Arial" panose="020B0604020202020204" pitchFamily="34" charset="0"/>
                <a:cs typeface="Arial" panose="020B0604020202020204" pitchFamily="34" charset="0"/>
              </a:rPr>
              <a:t>Uplift is identified by benchmarking against customers without Cross Sell Trigger flag</a:t>
            </a:r>
          </a:p>
          <a:p>
            <a:pPr marL="228600" indent="-228600">
              <a:buAutoNum type="arabicParenR"/>
            </a:pPr>
            <a:r>
              <a:rPr lang="en-US" sz="1000" i="1" dirty="0">
                <a:latin typeface="Arial" panose="020B0604020202020204" pitchFamily="34" charset="0"/>
                <a:cs typeface="Arial" panose="020B0604020202020204" pitchFamily="34" charset="0"/>
              </a:rPr>
              <a:t>Above is out-of-time validation based on Dec20 snapshot data versus Q1’21 repurchase </a:t>
            </a:r>
          </a:p>
        </p:txBody>
      </p:sp>
      <p:sp>
        <p:nvSpPr>
          <p:cNvPr id="25" name="Google Shape;154;p17">
            <a:extLst>
              <a:ext uri="{FF2B5EF4-FFF2-40B4-BE49-F238E27FC236}">
                <a16:creationId xmlns:a16="http://schemas.microsoft.com/office/drawing/2014/main" id="{62D11A98-033D-4D27-A6D2-1EA483F6704C}"/>
              </a:ext>
            </a:extLst>
          </p:cNvPr>
          <p:cNvSpPr txBox="1"/>
          <p:nvPr/>
        </p:nvSpPr>
        <p:spPr>
          <a:xfrm>
            <a:off x="689191" y="286831"/>
            <a:ext cx="10381261" cy="378086"/>
          </a:xfrm>
          <a:prstGeom prst="rect">
            <a:avLst/>
          </a:prstGeom>
          <a:solidFill>
            <a:srgbClr val="D31145"/>
          </a:solidFill>
          <a:ln>
            <a:noFill/>
          </a:ln>
          <a:effectLst>
            <a:outerShdw blurRad="50800" dist="38100" dir="2700000" algn="tl" rotWithShape="0">
              <a:prstClr val="black">
                <a:alpha val="40000"/>
              </a:prstClr>
            </a:outerShdw>
          </a:effectLst>
        </p:spPr>
        <p:txBody>
          <a:bodyPr spcFirstLastPara="1" wrap="square" lIns="121900" tIns="121900" rIns="121900" bIns="121900" anchor="ctr" anchorCtr="0">
            <a:noAutofit/>
          </a:bodyPr>
          <a:lstStyle/>
          <a:p>
            <a:pPr algn="ctr"/>
            <a:r>
              <a:rPr lang="en" sz="2000" b="1" dirty="0">
                <a:solidFill>
                  <a:schemeClr val="bg1"/>
                </a:solidFill>
                <a:latin typeface="Fira Sans Extra Condensed Medium"/>
                <a:ea typeface="Fira Sans Extra Condensed Medium"/>
                <a:cs typeface="Fira Sans Extra Condensed Medium"/>
                <a:sym typeface="Fira Sans Extra Condensed Medium"/>
              </a:rPr>
              <a:t>Business Impacts: Hybrid Model + Business Rules</a:t>
            </a:r>
            <a:endParaRPr sz="2000" b="1" dirty="0">
              <a:solidFill>
                <a:schemeClr val="bg1"/>
              </a:solidFill>
              <a:latin typeface="Fira Sans Extra Condensed Medium"/>
              <a:ea typeface="Fira Sans Extra Condensed Medium"/>
              <a:cs typeface="Fira Sans Extra Condensed Medium"/>
              <a:sym typeface="Fira Sans Extra Condensed Medium"/>
            </a:endParaRPr>
          </a:p>
        </p:txBody>
      </p:sp>
      <p:sp>
        <p:nvSpPr>
          <p:cNvPr id="15" name="Oval 14">
            <a:extLst>
              <a:ext uri="{FF2B5EF4-FFF2-40B4-BE49-F238E27FC236}">
                <a16:creationId xmlns:a16="http://schemas.microsoft.com/office/drawing/2014/main" id="{C61021DB-B767-47F3-9B04-3A97F183E99A}"/>
              </a:ext>
            </a:extLst>
          </p:cNvPr>
          <p:cNvSpPr/>
          <p:nvPr/>
        </p:nvSpPr>
        <p:spPr>
          <a:xfrm>
            <a:off x="946371" y="2716411"/>
            <a:ext cx="290457" cy="264288"/>
          </a:xfrm>
          <a:prstGeom prst="ellips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effectLst>
                  <a:outerShdw blurRad="38100" dist="38100" dir="2700000" algn="tl">
                    <a:srgbClr val="000000">
                      <a:alpha val="43137"/>
                    </a:srgbClr>
                  </a:outerShdw>
                </a:effectLst>
              </a:rPr>
              <a:t>1</a:t>
            </a:r>
            <a:endParaRPr lang="en-HK" sz="1300" b="1">
              <a:effectLst>
                <a:outerShdw blurRad="38100" dist="38100" dir="2700000" algn="tl">
                  <a:srgbClr val="000000">
                    <a:alpha val="43137"/>
                  </a:srgbClr>
                </a:outerShdw>
              </a:effectLst>
            </a:endParaRPr>
          </a:p>
        </p:txBody>
      </p:sp>
      <p:sp>
        <p:nvSpPr>
          <p:cNvPr id="7" name="Plus Sign 6">
            <a:extLst>
              <a:ext uri="{FF2B5EF4-FFF2-40B4-BE49-F238E27FC236}">
                <a16:creationId xmlns:a16="http://schemas.microsoft.com/office/drawing/2014/main" id="{C339116E-BABF-4E03-8897-2FB367FDEA25}"/>
              </a:ext>
            </a:extLst>
          </p:cNvPr>
          <p:cNvSpPr/>
          <p:nvPr/>
        </p:nvSpPr>
        <p:spPr>
          <a:xfrm>
            <a:off x="1291354" y="2732783"/>
            <a:ext cx="268941" cy="247916"/>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18" name="Oval 17">
            <a:extLst>
              <a:ext uri="{FF2B5EF4-FFF2-40B4-BE49-F238E27FC236}">
                <a16:creationId xmlns:a16="http://schemas.microsoft.com/office/drawing/2014/main" id="{C2CCE895-7B83-43D4-9FE6-B0A2F36F588A}"/>
              </a:ext>
            </a:extLst>
          </p:cNvPr>
          <p:cNvSpPr/>
          <p:nvPr/>
        </p:nvSpPr>
        <p:spPr>
          <a:xfrm>
            <a:off x="1614821" y="2732783"/>
            <a:ext cx="290457" cy="264288"/>
          </a:xfrm>
          <a:prstGeom prst="ellips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dirty="0">
                <a:effectLst>
                  <a:outerShdw blurRad="38100" dist="38100" dir="2700000" algn="tl">
                    <a:srgbClr val="000000">
                      <a:alpha val="43137"/>
                    </a:srgbClr>
                  </a:outerShdw>
                </a:effectLst>
              </a:rPr>
              <a:t>2</a:t>
            </a:r>
            <a:endParaRPr lang="en-HK" sz="1300" b="1" dirty="0">
              <a:effectLst>
                <a:outerShdw blurRad="38100" dist="38100" dir="2700000" algn="tl">
                  <a:srgbClr val="000000">
                    <a:alpha val="43137"/>
                  </a:srgbClr>
                </a:outerShdw>
              </a:effectLst>
            </a:endParaRPr>
          </a:p>
        </p:txBody>
      </p:sp>
      <p:sp>
        <p:nvSpPr>
          <p:cNvPr id="19" name="Oval 18">
            <a:extLst>
              <a:ext uri="{FF2B5EF4-FFF2-40B4-BE49-F238E27FC236}">
                <a16:creationId xmlns:a16="http://schemas.microsoft.com/office/drawing/2014/main" id="{A48FC535-1BF9-48D4-9FA9-9437C6BA7A0F}"/>
              </a:ext>
            </a:extLst>
          </p:cNvPr>
          <p:cNvSpPr/>
          <p:nvPr/>
        </p:nvSpPr>
        <p:spPr>
          <a:xfrm>
            <a:off x="1593305" y="3288363"/>
            <a:ext cx="290457" cy="264288"/>
          </a:xfrm>
          <a:prstGeom prst="ellips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dirty="0">
                <a:effectLst>
                  <a:outerShdw blurRad="38100" dist="38100" dir="2700000" algn="tl">
                    <a:srgbClr val="000000">
                      <a:alpha val="43137"/>
                    </a:srgbClr>
                  </a:outerShdw>
                </a:effectLst>
              </a:rPr>
              <a:t>1</a:t>
            </a:r>
            <a:endParaRPr lang="en-HK" sz="1300" b="1" dirty="0">
              <a:effectLst>
                <a:outerShdw blurRad="38100" dist="38100" dir="2700000" algn="tl">
                  <a:srgbClr val="000000">
                    <a:alpha val="43137"/>
                  </a:srgbClr>
                </a:outerShdw>
              </a:effectLst>
            </a:endParaRPr>
          </a:p>
        </p:txBody>
      </p:sp>
      <p:sp>
        <p:nvSpPr>
          <p:cNvPr id="20" name="Oval 19">
            <a:extLst>
              <a:ext uri="{FF2B5EF4-FFF2-40B4-BE49-F238E27FC236}">
                <a16:creationId xmlns:a16="http://schemas.microsoft.com/office/drawing/2014/main" id="{EF5D11DC-561D-4146-936B-DDE229523560}"/>
              </a:ext>
            </a:extLst>
          </p:cNvPr>
          <p:cNvSpPr/>
          <p:nvPr/>
        </p:nvSpPr>
        <p:spPr>
          <a:xfrm>
            <a:off x="1593304" y="3772178"/>
            <a:ext cx="290457" cy="264288"/>
          </a:xfrm>
          <a:prstGeom prst="ellips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dirty="0">
                <a:effectLst>
                  <a:outerShdw blurRad="38100" dist="38100" dir="2700000" algn="tl">
                    <a:srgbClr val="000000">
                      <a:alpha val="43137"/>
                    </a:srgbClr>
                  </a:outerShdw>
                </a:effectLst>
              </a:rPr>
              <a:t>2</a:t>
            </a:r>
            <a:endParaRPr lang="en-HK" sz="1300" b="1" dirty="0">
              <a:effectLst>
                <a:outerShdw blurRad="38100" dist="38100" dir="2700000" algn="tl">
                  <a:srgbClr val="000000">
                    <a:alpha val="43137"/>
                  </a:srgbClr>
                </a:outerShdw>
              </a:effectLst>
            </a:endParaRPr>
          </a:p>
        </p:txBody>
      </p:sp>
      <p:sp>
        <p:nvSpPr>
          <p:cNvPr id="24" name="Oval 23">
            <a:extLst>
              <a:ext uri="{FF2B5EF4-FFF2-40B4-BE49-F238E27FC236}">
                <a16:creationId xmlns:a16="http://schemas.microsoft.com/office/drawing/2014/main" id="{05857D43-1484-4A0D-8606-E0FDD1958F8C}"/>
              </a:ext>
            </a:extLst>
          </p:cNvPr>
          <p:cNvSpPr/>
          <p:nvPr/>
        </p:nvSpPr>
        <p:spPr>
          <a:xfrm>
            <a:off x="1614820" y="4703989"/>
            <a:ext cx="290457" cy="264288"/>
          </a:xfrm>
          <a:prstGeom prst="ellips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dirty="0">
                <a:effectLst>
                  <a:outerShdw blurRad="38100" dist="38100" dir="2700000" algn="tl">
                    <a:srgbClr val="000000">
                      <a:alpha val="43137"/>
                    </a:srgbClr>
                  </a:outerShdw>
                </a:effectLst>
              </a:rPr>
              <a:t>3</a:t>
            </a:r>
            <a:endParaRPr lang="en-HK" sz="1300" b="1" dirty="0">
              <a:effectLst>
                <a:outerShdw blurRad="38100" dist="38100" dir="2700000" algn="tl">
                  <a:srgbClr val="000000">
                    <a:alpha val="43137"/>
                  </a:srgbClr>
                </a:outerShdw>
              </a:effectLst>
            </a:endParaRPr>
          </a:p>
        </p:txBody>
      </p:sp>
      <p:sp>
        <p:nvSpPr>
          <p:cNvPr id="26" name="Rectangle 25">
            <a:extLst>
              <a:ext uri="{FF2B5EF4-FFF2-40B4-BE49-F238E27FC236}">
                <a16:creationId xmlns:a16="http://schemas.microsoft.com/office/drawing/2014/main" id="{B2593192-2571-4184-A336-AF1034E4C863}"/>
              </a:ext>
            </a:extLst>
          </p:cNvPr>
          <p:cNvSpPr/>
          <p:nvPr/>
        </p:nvSpPr>
        <p:spPr>
          <a:xfrm>
            <a:off x="2048159" y="5201299"/>
            <a:ext cx="8269049" cy="252828"/>
          </a:xfrm>
          <a:prstGeom prst="rect">
            <a:avLst/>
          </a:prstGeom>
          <a:noFill/>
          <a:ln w="28575">
            <a:solidFill>
              <a:srgbClr val="D311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cxnSp>
        <p:nvCxnSpPr>
          <p:cNvPr id="10" name="Straight Connector 9">
            <a:extLst>
              <a:ext uri="{FF2B5EF4-FFF2-40B4-BE49-F238E27FC236}">
                <a16:creationId xmlns:a16="http://schemas.microsoft.com/office/drawing/2014/main" id="{9C291AAF-92C5-4824-AB2E-33A0989BAEAE}"/>
              </a:ext>
            </a:extLst>
          </p:cNvPr>
          <p:cNvCxnSpPr/>
          <p:nvPr/>
        </p:nvCxnSpPr>
        <p:spPr>
          <a:xfrm>
            <a:off x="2035109" y="4617928"/>
            <a:ext cx="8282099" cy="0"/>
          </a:xfrm>
          <a:prstGeom prst="line">
            <a:avLst/>
          </a:prstGeom>
          <a:ln w="44450" cmpd="dbl">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aphicFrame>
        <p:nvGraphicFramePr>
          <p:cNvPr id="12" name="Object 11">
            <a:extLst>
              <a:ext uri="{FF2B5EF4-FFF2-40B4-BE49-F238E27FC236}">
                <a16:creationId xmlns:a16="http://schemas.microsoft.com/office/drawing/2014/main" id="{04F63995-8025-42DC-A642-26AE7B96394B}"/>
              </a:ext>
            </a:extLst>
          </p:cNvPr>
          <p:cNvGraphicFramePr>
            <a:graphicFrameLocks noChangeAspect="1"/>
          </p:cNvGraphicFramePr>
          <p:nvPr>
            <p:extLst>
              <p:ext uri="{D42A27DB-BD31-4B8C-83A1-F6EECF244321}">
                <p14:modId xmlns:p14="http://schemas.microsoft.com/office/powerpoint/2010/main" val="2691448097"/>
              </p:ext>
            </p:extLst>
          </p:nvPr>
        </p:nvGraphicFramePr>
        <p:xfrm>
          <a:off x="2035108" y="1403873"/>
          <a:ext cx="8282099" cy="4553122"/>
        </p:xfrm>
        <a:graphic>
          <a:graphicData uri="http://schemas.openxmlformats.org/presentationml/2006/ole">
            <mc:AlternateContent xmlns:mc="http://schemas.openxmlformats.org/markup-compatibility/2006">
              <mc:Choice xmlns:v="urn:schemas-microsoft-com:vml" Requires="v">
                <p:oleObj spid="_x0000_s248954" name="Worksheet" r:id="rId3" imgW="6141791" imgH="3375842" progId="Excel.Sheet.12">
                  <p:embed/>
                </p:oleObj>
              </mc:Choice>
              <mc:Fallback>
                <p:oleObj name="Worksheet" r:id="rId3" imgW="6141791" imgH="3375842" progId="Excel.Sheet.12">
                  <p:embed/>
                  <p:pic>
                    <p:nvPicPr>
                      <p:cNvPr id="0" name=""/>
                      <p:cNvPicPr/>
                      <p:nvPr/>
                    </p:nvPicPr>
                    <p:blipFill>
                      <a:blip r:embed="rId4"/>
                      <a:stretch>
                        <a:fillRect/>
                      </a:stretch>
                    </p:blipFill>
                    <p:spPr>
                      <a:xfrm>
                        <a:off x="2035108" y="1403873"/>
                        <a:ext cx="8282099" cy="4553122"/>
                      </a:xfrm>
                      <a:prstGeom prst="rect">
                        <a:avLst/>
                      </a:prstGeom>
                    </p:spPr>
                  </p:pic>
                </p:oleObj>
              </mc:Fallback>
            </mc:AlternateContent>
          </a:graphicData>
        </a:graphic>
      </p:graphicFrame>
    </p:spTree>
    <p:extLst>
      <p:ext uri="{BB962C8B-B14F-4D97-AF65-F5344CB8AC3E}">
        <p14:creationId xmlns:p14="http://schemas.microsoft.com/office/powerpoint/2010/main" val="29984175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154;p17">
            <a:extLst>
              <a:ext uri="{FF2B5EF4-FFF2-40B4-BE49-F238E27FC236}">
                <a16:creationId xmlns:a16="http://schemas.microsoft.com/office/drawing/2014/main" id="{9B841323-F250-4F72-9C7E-B93AE586F876}"/>
              </a:ext>
            </a:extLst>
          </p:cNvPr>
          <p:cNvSpPr txBox="1"/>
          <p:nvPr/>
        </p:nvSpPr>
        <p:spPr>
          <a:xfrm>
            <a:off x="946373" y="242542"/>
            <a:ext cx="3184564" cy="392159"/>
          </a:xfrm>
          <a:prstGeom prst="rect">
            <a:avLst/>
          </a:prstGeom>
          <a:solidFill>
            <a:srgbClr val="D31145"/>
          </a:solidFill>
          <a:ln>
            <a:noFill/>
          </a:ln>
          <a:effectLst>
            <a:outerShdw blurRad="50800" dist="38100" dir="2700000" algn="tl" rotWithShape="0">
              <a:prstClr val="black">
                <a:alpha val="40000"/>
              </a:prstClr>
            </a:outerShdw>
          </a:effectLst>
        </p:spPr>
        <p:txBody>
          <a:bodyPr spcFirstLastPara="1" wrap="square" lIns="121900" tIns="121900" rIns="121900" bIns="121900" anchor="ctr" anchorCtr="0">
            <a:noAutofit/>
          </a:bodyPr>
          <a:lstStyle/>
          <a:p>
            <a:pPr algn="ctr"/>
            <a:r>
              <a:rPr lang="en" b="1" dirty="0">
                <a:solidFill>
                  <a:schemeClr val="bg1"/>
                </a:solidFill>
                <a:latin typeface="Fira Sans Extra Condensed Medium"/>
                <a:ea typeface="Fira Sans Extra Condensed Medium"/>
                <a:cs typeface="Fira Sans Extra Condensed Medium"/>
                <a:sym typeface="Fira Sans Extra Condensed Medium"/>
              </a:rPr>
              <a:t>B</a:t>
            </a:r>
            <a:r>
              <a:rPr lang="en-HK" b="1" dirty="0">
                <a:solidFill>
                  <a:schemeClr val="bg1"/>
                </a:solidFill>
                <a:latin typeface="Fira Sans Extra Condensed Medium"/>
                <a:ea typeface="Fira Sans Extra Condensed Medium"/>
                <a:cs typeface="Fira Sans Extra Condensed Medium"/>
                <a:sym typeface="Fira Sans Extra Condensed Medium"/>
              </a:rPr>
              <a:t>u</a:t>
            </a:r>
            <a:r>
              <a:rPr lang="en" b="1" dirty="0">
                <a:solidFill>
                  <a:schemeClr val="bg1"/>
                </a:solidFill>
                <a:latin typeface="Fira Sans Extra Condensed Medium"/>
                <a:ea typeface="Fira Sans Extra Condensed Medium"/>
                <a:cs typeface="Fira Sans Extra Condensed Medium"/>
                <a:sym typeface="Fira Sans Extra Condensed Medium"/>
              </a:rPr>
              <a:t>siness Rules: Priorities </a:t>
            </a:r>
            <a:endParaRPr b="1" dirty="0">
              <a:solidFill>
                <a:schemeClr val="bg1"/>
              </a:solidFill>
              <a:latin typeface="Fira Sans Extra Condensed Medium"/>
              <a:ea typeface="Fira Sans Extra Condensed Medium"/>
              <a:cs typeface="Fira Sans Extra Condensed Medium"/>
              <a:sym typeface="Fira Sans Extra Condensed Medium"/>
            </a:endParaRPr>
          </a:p>
        </p:txBody>
      </p:sp>
      <p:sp>
        <p:nvSpPr>
          <p:cNvPr id="4" name="TextBox 3">
            <a:extLst>
              <a:ext uri="{FF2B5EF4-FFF2-40B4-BE49-F238E27FC236}">
                <a16:creationId xmlns:a16="http://schemas.microsoft.com/office/drawing/2014/main" id="{FABA1FEA-B8FB-4E34-9371-CBE98D380A6C}"/>
              </a:ext>
            </a:extLst>
          </p:cNvPr>
          <p:cNvSpPr txBox="1"/>
          <p:nvPr/>
        </p:nvSpPr>
        <p:spPr>
          <a:xfrm>
            <a:off x="946371" y="757038"/>
            <a:ext cx="10124081" cy="646331"/>
          </a:xfrm>
          <a:prstGeom prst="rect">
            <a:avLst/>
          </a:prstGeom>
          <a:noFill/>
        </p:spPr>
        <p:txBody>
          <a:bodyPr wrap="square" rtlCol="0">
            <a:spAutoFit/>
          </a:bodyPr>
          <a:lstStyle/>
          <a:p>
            <a:r>
              <a:rPr lang="en-GB">
                <a:latin typeface="Arial" panose="020B0604020202020204" pitchFamily="34" charset="0"/>
                <a:cs typeface="Arial" panose="020B0604020202020204" pitchFamily="34" charset="0"/>
              </a:rPr>
              <a:t>Priorities set based on business rules by referring to repurchase rate &amp; average repurchase ANP post respective cross sell triggers</a:t>
            </a:r>
            <a:endParaRPr lang="en-HK" err="1">
              <a:latin typeface="Arial" panose="020B0604020202020204" pitchFamily="34" charset="0"/>
              <a:cs typeface="Arial" panose="020B0604020202020204" pitchFamily="34" charset="0"/>
            </a:endParaRPr>
          </a:p>
        </p:txBody>
      </p:sp>
      <p:graphicFrame>
        <p:nvGraphicFramePr>
          <p:cNvPr id="6" name="Object 5">
            <a:extLst>
              <a:ext uri="{FF2B5EF4-FFF2-40B4-BE49-F238E27FC236}">
                <a16:creationId xmlns:a16="http://schemas.microsoft.com/office/drawing/2014/main" id="{619D75AB-03BD-4D7D-95C4-E0D07D4C2A4F}"/>
              </a:ext>
            </a:extLst>
          </p:cNvPr>
          <p:cNvGraphicFramePr>
            <a:graphicFrameLocks noChangeAspect="1"/>
          </p:cNvGraphicFramePr>
          <p:nvPr>
            <p:extLst>
              <p:ext uri="{D42A27DB-BD31-4B8C-83A1-F6EECF244321}">
                <p14:modId xmlns:p14="http://schemas.microsoft.com/office/powerpoint/2010/main" val="1527862691"/>
              </p:ext>
            </p:extLst>
          </p:nvPr>
        </p:nvGraphicFramePr>
        <p:xfrm>
          <a:off x="1205648" y="1646348"/>
          <a:ext cx="9337967" cy="3323683"/>
        </p:xfrm>
        <a:graphic>
          <a:graphicData uri="http://schemas.openxmlformats.org/presentationml/2006/ole">
            <mc:AlternateContent xmlns:mc="http://schemas.openxmlformats.org/markup-compatibility/2006">
              <mc:Choice xmlns:v="urn:schemas-microsoft-com:vml" Requires="v">
                <p:oleObj spid="_x0000_s247946" name="Worksheet" r:id="rId3" imgW="6743594" imgH="2400229" progId="Excel.Sheet.12">
                  <p:embed/>
                </p:oleObj>
              </mc:Choice>
              <mc:Fallback>
                <p:oleObj name="Worksheet" r:id="rId3" imgW="6743594" imgH="2400229" progId="Excel.Sheet.12">
                  <p:embed/>
                  <p:pic>
                    <p:nvPicPr>
                      <p:cNvPr id="6" name="Object 5">
                        <a:extLst>
                          <a:ext uri="{FF2B5EF4-FFF2-40B4-BE49-F238E27FC236}">
                            <a16:creationId xmlns:a16="http://schemas.microsoft.com/office/drawing/2014/main" id="{619D75AB-03BD-4D7D-95C4-E0D07D4C2A4F}"/>
                          </a:ext>
                        </a:extLst>
                      </p:cNvPr>
                      <p:cNvPicPr/>
                      <p:nvPr/>
                    </p:nvPicPr>
                    <p:blipFill>
                      <a:blip r:embed="rId4"/>
                      <a:stretch>
                        <a:fillRect/>
                      </a:stretch>
                    </p:blipFill>
                    <p:spPr>
                      <a:xfrm>
                        <a:off x="1205648" y="1646348"/>
                        <a:ext cx="9337967" cy="3323683"/>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B44CF34A-32B3-4BA5-9D78-2FC99D605BB5}"/>
              </a:ext>
            </a:extLst>
          </p:cNvPr>
          <p:cNvSpPr txBox="1"/>
          <p:nvPr/>
        </p:nvSpPr>
        <p:spPr>
          <a:xfrm>
            <a:off x="1205648" y="5211652"/>
            <a:ext cx="7949110"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 Priorities are validated with Dec20 data versus Q1’21 repurchase </a:t>
            </a:r>
            <a:r>
              <a:rPr lang="en-US" sz="1200" i="1">
                <a:latin typeface="Arial" panose="020B0604020202020204" pitchFamily="34" charset="0"/>
                <a:cs typeface="Arial" panose="020B0604020202020204" pitchFamily="34" charset="0"/>
              </a:rPr>
              <a:t>(as presented above)</a:t>
            </a:r>
            <a:r>
              <a:rPr lang="en-US" sz="120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42174401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154;p17">
            <a:extLst>
              <a:ext uri="{FF2B5EF4-FFF2-40B4-BE49-F238E27FC236}">
                <a16:creationId xmlns:a16="http://schemas.microsoft.com/office/drawing/2014/main" id="{956AF1FC-41A1-4DC9-BC8C-9057BAA93525}"/>
              </a:ext>
            </a:extLst>
          </p:cNvPr>
          <p:cNvSpPr txBox="1"/>
          <p:nvPr/>
        </p:nvSpPr>
        <p:spPr>
          <a:xfrm>
            <a:off x="946373" y="242542"/>
            <a:ext cx="3184564" cy="392159"/>
          </a:xfrm>
          <a:prstGeom prst="rect">
            <a:avLst/>
          </a:prstGeom>
          <a:solidFill>
            <a:srgbClr val="D31145"/>
          </a:solidFill>
          <a:ln>
            <a:noFill/>
          </a:ln>
          <a:effectLst>
            <a:outerShdw blurRad="50800" dist="38100" dir="2700000" algn="tl" rotWithShape="0">
              <a:prstClr val="black">
                <a:alpha val="40000"/>
              </a:prstClr>
            </a:outerShdw>
          </a:effectLst>
        </p:spPr>
        <p:txBody>
          <a:bodyPr spcFirstLastPara="1" wrap="square" lIns="121900" tIns="121900" rIns="121900" bIns="121900" anchor="ctr" anchorCtr="0">
            <a:noAutofit/>
          </a:bodyPr>
          <a:lstStyle/>
          <a:p>
            <a:pPr algn="ctr"/>
            <a:r>
              <a:rPr lang="en" b="1">
                <a:solidFill>
                  <a:schemeClr val="bg1"/>
                </a:solidFill>
                <a:latin typeface="Fira Sans Extra Condensed Medium"/>
                <a:ea typeface="Fira Sans Extra Condensed Medium"/>
                <a:cs typeface="Fira Sans Extra Condensed Medium"/>
                <a:sym typeface="Fira Sans Extra Condensed Medium"/>
              </a:rPr>
              <a:t>B</a:t>
            </a:r>
            <a:r>
              <a:rPr lang="en-HK" b="1">
                <a:solidFill>
                  <a:schemeClr val="bg1"/>
                </a:solidFill>
                <a:latin typeface="Fira Sans Extra Condensed Medium"/>
                <a:ea typeface="Fira Sans Extra Condensed Medium"/>
                <a:cs typeface="Fira Sans Extra Condensed Medium"/>
                <a:sym typeface="Fira Sans Extra Condensed Medium"/>
              </a:rPr>
              <a:t>u</a:t>
            </a:r>
            <a:r>
              <a:rPr lang="en" b="1">
                <a:solidFill>
                  <a:schemeClr val="bg1"/>
                </a:solidFill>
                <a:latin typeface="Fira Sans Extra Condensed Medium"/>
                <a:ea typeface="Fira Sans Extra Condensed Medium"/>
                <a:cs typeface="Fira Sans Extra Condensed Medium"/>
                <a:sym typeface="Fira Sans Extra Condensed Medium"/>
              </a:rPr>
              <a:t>siness Rules: Actions</a:t>
            </a:r>
            <a:endParaRPr b="1">
              <a:solidFill>
                <a:schemeClr val="bg1"/>
              </a:solidFill>
              <a:latin typeface="Fira Sans Extra Condensed Medium"/>
              <a:ea typeface="Fira Sans Extra Condensed Medium"/>
              <a:cs typeface="Fira Sans Extra Condensed Medium"/>
              <a:sym typeface="Fira Sans Extra Condensed Medium"/>
            </a:endParaRPr>
          </a:p>
        </p:txBody>
      </p:sp>
      <p:graphicFrame>
        <p:nvGraphicFramePr>
          <p:cNvPr id="4" name="Table 5">
            <a:extLst>
              <a:ext uri="{FF2B5EF4-FFF2-40B4-BE49-F238E27FC236}">
                <a16:creationId xmlns:a16="http://schemas.microsoft.com/office/drawing/2014/main" id="{2DE7C44E-B427-404A-AEA4-3A5F63F52619}"/>
              </a:ext>
            </a:extLst>
          </p:cNvPr>
          <p:cNvGraphicFramePr>
            <a:graphicFrameLocks noGrp="1"/>
          </p:cNvGraphicFramePr>
          <p:nvPr>
            <p:extLst>
              <p:ext uri="{D42A27DB-BD31-4B8C-83A1-F6EECF244321}">
                <p14:modId xmlns:p14="http://schemas.microsoft.com/office/powerpoint/2010/main" val="3403305190"/>
              </p:ext>
            </p:extLst>
          </p:nvPr>
        </p:nvGraphicFramePr>
        <p:xfrm>
          <a:off x="1655481" y="1466826"/>
          <a:ext cx="8327616" cy="4314917"/>
        </p:xfrm>
        <a:graphic>
          <a:graphicData uri="http://schemas.openxmlformats.org/drawingml/2006/table">
            <a:tbl>
              <a:tblPr firstRow="1" bandRow="1">
                <a:tableStyleId>{7DF18680-E054-41AD-8BC1-D1AEF772440D}</a:tableStyleId>
              </a:tblPr>
              <a:tblGrid>
                <a:gridCol w="2775872">
                  <a:extLst>
                    <a:ext uri="{9D8B030D-6E8A-4147-A177-3AD203B41FA5}">
                      <a16:colId xmlns:a16="http://schemas.microsoft.com/office/drawing/2014/main" val="1036427313"/>
                    </a:ext>
                  </a:extLst>
                </a:gridCol>
                <a:gridCol w="2775872">
                  <a:extLst>
                    <a:ext uri="{9D8B030D-6E8A-4147-A177-3AD203B41FA5}">
                      <a16:colId xmlns:a16="http://schemas.microsoft.com/office/drawing/2014/main" val="3998524231"/>
                    </a:ext>
                  </a:extLst>
                </a:gridCol>
                <a:gridCol w="2775872">
                  <a:extLst>
                    <a:ext uri="{9D8B030D-6E8A-4147-A177-3AD203B41FA5}">
                      <a16:colId xmlns:a16="http://schemas.microsoft.com/office/drawing/2014/main" val="3198290169"/>
                    </a:ext>
                  </a:extLst>
                </a:gridCol>
              </a:tblGrid>
              <a:tr h="466305">
                <a:tc>
                  <a:txBody>
                    <a:bodyPr/>
                    <a:lstStyle/>
                    <a:p>
                      <a:pPr algn="l" fontAlgn="t"/>
                      <a:r>
                        <a:rPr lang="en-HK" sz="1500" b="1" i="0" u="none" strike="noStrike">
                          <a:solidFill>
                            <a:schemeClr val="bg1"/>
                          </a:solidFill>
                          <a:effectLst/>
                          <a:latin typeface="+mj-lt"/>
                        </a:rPr>
                        <a:t>Items</a:t>
                      </a:r>
                    </a:p>
                  </a:txBody>
                  <a:tcPr marL="7620" marR="7620" marT="7620" marB="0" anchor="ctr">
                    <a:solidFill>
                      <a:schemeClr val="accent5">
                        <a:lumMod val="75000"/>
                      </a:schemeClr>
                    </a:solidFill>
                  </a:tcPr>
                </a:tc>
                <a:tc>
                  <a:txBody>
                    <a:bodyPr/>
                    <a:lstStyle/>
                    <a:p>
                      <a:pPr algn="ctr" fontAlgn="t"/>
                      <a:r>
                        <a:rPr lang="en-HK" sz="1500" b="1" i="0" u="none" strike="noStrike">
                          <a:solidFill>
                            <a:schemeClr val="bg1"/>
                          </a:solidFill>
                          <a:effectLst/>
                          <a:latin typeface="+mj-lt"/>
                        </a:rPr>
                        <a:t>Download My AIA App</a:t>
                      </a:r>
                    </a:p>
                  </a:txBody>
                  <a:tcPr marL="7620" marR="7620" marT="7620" marB="0" anchor="ctr">
                    <a:solidFill>
                      <a:schemeClr val="accent5">
                        <a:lumMod val="75000"/>
                      </a:schemeClr>
                    </a:solidFill>
                  </a:tcPr>
                </a:tc>
                <a:tc>
                  <a:txBody>
                    <a:bodyPr/>
                    <a:lstStyle/>
                    <a:p>
                      <a:pPr algn="ctr" fontAlgn="t"/>
                      <a:r>
                        <a:rPr lang="en-HK" sz="1500" b="1" i="0" u="none" strike="noStrike">
                          <a:solidFill>
                            <a:schemeClr val="bg1"/>
                          </a:solidFill>
                          <a:effectLst/>
                          <a:latin typeface="+mj-lt"/>
                        </a:rPr>
                        <a:t>Complete FHC</a:t>
                      </a:r>
                    </a:p>
                  </a:txBody>
                  <a:tcPr marL="7620" marR="7620" marT="7620" marB="0" anchor="ctr">
                    <a:solidFill>
                      <a:schemeClr val="accent5">
                        <a:lumMod val="75000"/>
                      </a:schemeClr>
                    </a:solidFill>
                  </a:tcPr>
                </a:tc>
                <a:extLst>
                  <a:ext uri="{0D108BD9-81ED-4DB2-BD59-A6C34878D82A}">
                    <a16:rowId xmlns:a16="http://schemas.microsoft.com/office/drawing/2014/main" val="1886355440"/>
                  </a:ext>
                </a:extLst>
              </a:tr>
              <a:tr h="584477">
                <a:tc>
                  <a:txBody>
                    <a:bodyPr/>
                    <a:lstStyle/>
                    <a:p>
                      <a:pPr algn="l" fontAlgn="t"/>
                      <a:r>
                        <a:rPr lang="en-HK" sz="1500" b="0" i="0" u="none" strike="noStrike">
                          <a:solidFill>
                            <a:srgbClr val="000000"/>
                          </a:solidFill>
                          <a:effectLst/>
                          <a:latin typeface="+mj-lt"/>
                        </a:rPr>
                        <a:t>Life Stage</a:t>
                      </a:r>
                    </a:p>
                  </a:txBody>
                  <a:tcPr marL="7620" marR="7620" marT="7620" marB="0" anchor="ctr"/>
                </a:tc>
                <a:tc gridSpan="2">
                  <a:txBody>
                    <a:bodyPr/>
                    <a:lstStyle/>
                    <a:p>
                      <a:pPr algn="ctr" fontAlgn="t"/>
                      <a:r>
                        <a:rPr lang="en-HK" sz="1500" b="0" i="0" u="none" strike="noStrike">
                          <a:solidFill>
                            <a:srgbClr val="000000"/>
                          </a:solidFill>
                          <a:effectLst/>
                          <a:latin typeface="+mj-lt"/>
                        </a:rPr>
                        <a:t>Nest Builder &amp; Established Family</a:t>
                      </a:r>
                    </a:p>
                  </a:txBody>
                  <a:tcPr marL="7620" marR="7620" marT="7620" marB="0" anchor="ctr"/>
                </a:tc>
                <a:tc hMerge="1">
                  <a:txBody>
                    <a:bodyPr/>
                    <a:lstStyle/>
                    <a:p>
                      <a:pPr algn="ctr" fontAlgn="t"/>
                      <a:endParaRPr lang="en-HK" sz="1500" b="0" i="0" u="none" strike="noStrike">
                        <a:solidFill>
                          <a:srgbClr val="000000"/>
                        </a:solidFill>
                        <a:effectLst/>
                        <a:latin typeface="+mj-lt"/>
                      </a:endParaRPr>
                    </a:p>
                  </a:txBody>
                  <a:tcPr marL="7620" marR="7620" marT="7620" marB="0" anchor="ctr"/>
                </a:tc>
                <a:extLst>
                  <a:ext uri="{0D108BD9-81ED-4DB2-BD59-A6C34878D82A}">
                    <a16:rowId xmlns:a16="http://schemas.microsoft.com/office/drawing/2014/main" val="1506596173"/>
                  </a:ext>
                </a:extLst>
              </a:tr>
              <a:tr h="466305">
                <a:tc>
                  <a:txBody>
                    <a:bodyPr/>
                    <a:lstStyle/>
                    <a:p>
                      <a:pPr algn="l" fontAlgn="t"/>
                      <a:r>
                        <a:rPr lang="en-HK" sz="1500" b="0" i="0" u="none" strike="noStrike">
                          <a:solidFill>
                            <a:srgbClr val="000000"/>
                          </a:solidFill>
                          <a:effectLst/>
                          <a:latin typeface="+mj-lt"/>
                        </a:rPr>
                        <a:t>Tenure</a:t>
                      </a:r>
                    </a:p>
                  </a:txBody>
                  <a:tcPr marL="7620" marR="7620" marT="7620" marB="0" anchor="ctr"/>
                </a:tc>
                <a:tc>
                  <a:txBody>
                    <a:bodyPr/>
                    <a:lstStyle/>
                    <a:p>
                      <a:pPr algn="ctr" fontAlgn="t"/>
                      <a:r>
                        <a:rPr lang="en-HK" sz="1500" b="0" i="0" u="none" strike="noStrike" dirty="0">
                          <a:solidFill>
                            <a:srgbClr val="000000"/>
                          </a:solidFill>
                          <a:effectLst/>
                          <a:latin typeface="+mj-lt"/>
                        </a:rPr>
                        <a:t>≤ 2 Years</a:t>
                      </a:r>
                    </a:p>
                  </a:txBody>
                  <a:tcPr marL="7620" marR="7620" marT="7620" marB="0" anchor="ctr"/>
                </a:tc>
                <a:tc>
                  <a:txBody>
                    <a:bodyPr/>
                    <a:lstStyle/>
                    <a:p>
                      <a:pPr algn="ctr" fontAlgn="t"/>
                      <a:r>
                        <a:rPr lang="en-HK" sz="1500" b="0" i="0" u="none" strike="noStrike">
                          <a:solidFill>
                            <a:srgbClr val="000000"/>
                          </a:solidFill>
                          <a:effectLst/>
                          <a:latin typeface="+mj-lt"/>
                        </a:rPr>
                        <a:t> -</a:t>
                      </a:r>
                    </a:p>
                  </a:txBody>
                  <a:tcPr marL="7620" marR="7620" marT="7620" marB="0" anchor="ctr"/>
                </a:tc>
                <a:extLst>
                  <a:ext uri="{0D108BD9-81ED-4DB2-BD59-A6C34878D82A}">
                    <a16:rowId xmlns:a16="http://schemas.microsoft.com/office/drawing/2014/main" val="1551391019"/>
                  </a:ext>
                </a:extLst>
              </a:tr>
              <a:tr h="466305">
                <a:tc>
                  <a:txBody>
                    <a:bodyPr/>
                    <a:lstStyle/>
                    <a:p>
                      <a:pPr algn="l" fontAlgn="t"/>
                      <a:r>
                        <a:rPr lang="en-HK" sz="1500" b="0" i="0" u="none" strike="noStrike">
                          <a:solidFill>
                            <a:srgbClr val="000000"/>
                          </a:solidFill>
                          <a:effectLst/>
                          <a:latin typeface="+mj-lt"/>
                        </a:rPr>
                        <a:t>Recency</a:t>
                      </a:r>
                    </a:p>
                  </a:txBody>
                  <a:tcPr marL="7620" marR="7620" marT="7620" marB="0" anchor="ctr"/>
                </a:tc>
                <a:tc>
                  <a:txBody>
                    <a:bodyPr/>
                    <a:lstStyle/>
                    <a:p>
                      <a:pPr algn="ctr" fontAlgn="t"/>
                      <a:r>
                        <a:rPr lang="en-HK" sz="1500" b="0" i="0" u="none" strike="noStrike" dirty="0">
                          <a:solidFill>
                            <a:srgbClr val="000000"/>
                          </a:solidFill>
                          <a:effectLst/>
                          <a:latin typeface="+mj-lt"/>
                        </a:rPr>
                        <a:t>≤ 3 Years</a:t>
                      </a:r>
                    </a:p>
                  </a:txBody>
                  <a:tcPr marL="7620" marR="7620" marT="7620" marB="0" anchor="ctr"/>
                </a:tc>
                <a:tc>
                  <a:txBody>
                    <a:bodyPr/>
                    <a:lstStyle/>
                    <a:p>
                      <a:pPr algn="ctr" fontAlgn="t"/>
                      <a:r>
                        <a:rPr lang="en-HK" sz="1500" b="0" i="0" u="none" strike="noStrike">
                          <a:solidFill>
                            <a:srgbClr val="000000"/>
                          </a:solidFill>
                          <a:effectLst/>
                          <a:latin typeface="+mj-lt"/>
                        </a:rPr>
                        <a:t>≤ 10 Years</a:t>
                      </a:r>
                    </a:p>
                  </a:txBody>
                  <a:tcPr marL="7620" marR="7620" marT="7620" marB="0" anchor="ctr"/>
                </a:tc>
                <a:extLst>
                  <a:ext uri="{0D108BD9-81ED-4DB2-BD59-A6C34878D82A}">
                    <a16:rowId xmlns:a16="http://schemas.microsoft.com/office/drawing/2014/main" val="3699787294"/>
                  </a:ext>
                </a:extLst>
              </a:tr>
              <a:tr h="466305">
                <a:tc>
                  <a:txBody>
                    <a:bodyPr/>
                    <a:lstStyle/>
                    <a:p>
                      <a:pPr algn="l" fontAlgn="t"/>
                      <a:r>
                        <a:rPr lang="en-HK" sz="1500" b="0" i="0" u="none" strike="noStrike">
                          <a:solidFill>
                            <a:srgbClr val="000000"/>
                          </a:solidFill>
                          <a:effectLst/>
                          <a:latin typeface="+mj-lt"/>
                        </a:rPr>
                        <a:t>Vitality</a:t>
                      </a:r>
                    </a:p>
                  </a:txBody>
                  <a:tcPr marL="7620" marR="7620" marT="7620" marB="0" anchor="ctr"/>
                </a:tc>
                <a:tc gridSpan="2">
                  <a:txBody>
                    <a:bodyPr/>
                    <a:lstStyle/>
                    <a:p>
                      <a:pPr algn="ctr" fontAlgn="t"/>
                      <a:r>
                        <a:rPr lang="en-HK" sz="1500" b="0" i="0" u="none" strike="noStrike" dirty="0">
                          <a:solidFill>
                            <a:srgbClr val="000000"/>
                          </a:solidFill>
                          <a:effectLst/>
                          <a:latin typeface="+mj-lt"/>
                        </a:rPr>
                        <a:t>Yes</a:t>
                      </a:r>
                    </a:p>
                  </a:txBody>
                  <a:tcPr marL="7620" marR="7620" marT="7620" marB="0" anchor="ctr"/>
                </a:tc>
                <a:tc hMerge="1">
                  <a:txBody>
                    <a:bodyPr/>
                    <a:lstStyle/>
                    <a:p>
                      <a:pPr algn="ctr" fontAlgn="t"/>
                      <a:endParaRPr lang="en-HK" sz="1500" b="0" i="0" u="none" strike="noStrike">
                        <a:solidFill>
                          <a:srgbClr val="000000"/>
                        </a:solidFill>
                        <a:effectLst/>
                        <a:latin typeface="+mj-lt"/>
                      </a:endParaRPr>
                    </a:p>
                  </a:txBody>
                  <a:tcPr marL="7620" marR="7620" marT="7620" marB="0" anchor="ctr"/>
                </a:tc>
                <a:extLst>
                  <a:ext uri="{0D108BD9-81ED-4DB2-BD59-A6C34878D82A}">
                    <a16:rowId xmlns:a16="http://schemas.microsoft.com/office/drawing/2014/main" val="266781297"/>
                  </a:ext>
                </a:extLst>
              </a:tr>
              <a:tr h="466305">
                <a:tc>
                  <a:txBody>
                    <a:bodyPr/>
                    <a:lstStyle/>
                    <a:p>
                      <a:pPr algn="l" fontAlgn="t"/>
                      <a:r>
                        <a:rPr lang="en-HK" sz="1500" b="0" i="0" u="none" strike="noStrike">
                          <a:solidFill>
                            <a:srgbClr val="000000"/>
                          </a:solidFill>
                          <a:effectLst/>
                          <a:latin typeface="+mj-lt"/>
                        </a:rPr>
                        <a:t>Total ANP</a:t>
                      </a:r>
                    </a:p>
                  </a:txBody>
                  <a:tcPr marL="7620" marR="7620" marT="7620" marB="0" anchor="ctr"/>
                </a:tc>
                <a:tc gridSpan="2">
                  <a:txBody>
                    <a:bodyPr/>
                    <a:lstStyle/>
                    <a:p>
                      <a:pPr algn="ctr" fontAlgn="t"/>
                      <a:r>
                        <a:rPr lang="en-HK" sz="1500" b="0" i="0" u="none" strike="noStrike">
                          <a:solidFill>
                            <a:srgbClr val="000000"/>
                          </a:solidFill>
                          <a:effectLst/>
                          <a:latin typeface="+mj-lt"/>
                        </a:rPr>
                        <a:t>RM8k+</a:t>
                      </a:r>
                    </a:p>
                  </a:txBody>
                  <a:tcPr marL="7620" marR="7620" marT="7620" marB="0" anchor="ctr"/>
                </a:tc>
                <a:tc hMerge="1">
                  <a:txBody>
                    <a:bodyPr/>
                    <a:lstStyle/>
                    <a:p>
                      <a:pPr algn="ctr" fontAlgn="t"/>
                      <a:endParaRPr lang="en-HK" sz="1500" b="0" i="0" u="none" strike="noStrike">
                        <a:solidFill>
                          <a:srgbClr val="000000"/>
                        </a:solidFill>
                        <a:effectLst/>
                        <a:latin typeface="+mj-lt"/>
                      </a:endParaRPr>
                    </a:p>
                  </a:txBody>
                  <a:tcPr marL="7620" marR="7620" marT="7620" marB="0" anchor="ctr"/>
                </a:tc>
                <a:extLst>
                  <a:ext uri="{0D108BD9-81ED-4DB2-BD59-A6C34878D82A}">
                    <a16:rowId xmlns:a16="http://schemas.microsoft.com/office/drawing/2014/main" val="421996403"/>
                  </a:ext>
                </a:extLst>
              </a:tr>
              <a:tr h="466305">
                <a:tc>
                  <a:txBody>
                    <a:bodyPr/>
                    <a:lstStyle/>
                    <a:p>
                      <a:pPr algn="l" fontAlgn="t"/>
                      <a:r>
                        <a:rPr lang="en-HK" sz="1500" b="0" i="0" u="none" strike="noStrike">
                          <a:solidFill>
                            <a:srgbClr val="000000"/>
                          </a:solidFill>
                          <a:effectLst/>
                          <a:latin typeface="+mj-lt"/>
                        </a:rPr>
                        <a:t>Life Coverage</a:t>
                      </a:r>
                    </a:p>
                  </a:txBody>
                  <a:tcPr marL="7620" marR="7620" marT="7620" marB="0" anchor="ctr"/>
                </a:tc>
                <a:tc>
                  <a:txBody>
                    <a:bodyPr/>
                    <a:lstStyle/>
                    <a:p>
                      <a:pPr algn="ctr" fontAlgn="t"/>
                      <a:r>
                        <a:rPr lang="en-HK" sz="1500" b="0" i="0" u="none" strike="noStrike">
                          <a:solidFill>
                            <a:srgbClr val="000000"/>
                          </a:solidFill>
                          <a:effectLst/>
                          <a:latin typeface="+mj-lt"/>
                        </a:rPr>
                        <a:t>RM300k+</a:t>
                      </a:r>
                    </a:p>
                  </a:txBody>
                  <a:tcPr marL="7620" marR="7620" marT="7620" marB="0" anchor="ctr"/>
                </a:tc>
                <a:tc>
                  <a:txBody>
                    <a:bodyPr/>
                    <a:lstStyle/>
                    <a:p>
                      <a:pPr algn="ctr" fontAlgn="t"/>
                      <a:r>
                        <a:rPr lang="en-HK" sz="1500" b="0" i="0" u="none" strike="noStrike">
                          <a:solidFill>
                            <a:srgbClr val="000000"/>
                          </a:solidFill>
                          <a:effectLst/>
                          <a:latin typeface="+mj-lt"/>
                        </a:rPr>
                        <a:t>RM500k+</a:t>
                      </a:r>
                    </a:p>
                  </a:txBody>
                  <a:tcPr marL="7620" marR="7620" marT="7620" marB="0" anchor="ctr"/>
                </a:tc>
                <a:extLst>
                  <a:ext uri="{0D108BD9-81ED-4DB2-BD59-A6C34878D82A}">
                    <a16:rowId xmlns:a16="http://schemas.microsoft.com/office/drawing/2014/main" val="487950346"/>
                  </a:ext>
                </a:extLst>
              </a:tr>
              <a:tr h="466305">
                <a:tc>
                  <a:txBody>
                    <a:bodyPr/>
                    <a:lstStyle/>
                    <a:p>
                      <a:pPr algn="l" fontAlgn="t"/>
                      <a:r>
                        <a:rPr lang="en-HK" sz="1500" b="0" i="0" u="none" strike="noStrike">
                          <a:solidFill>
                            <a:srgbClr val="000000"/>
                          </a:solidFill>
                          <a:effectLst/>
                          <a:latin typeface="+mj-lt"/>
                        </a:rPr>
                        <a:t>CI Coverage</a:t>
                      </a:r>
                    </a:p>
                  </a:txBody>
                  <a:tcPr marL="7620" marR="7620" marT="7620" marB="0" anchor="ctr"/>
                </a:tc>
                <a:tc gridSpan="2">
                  <a:txBody>
                    <a:bodyPr/>
                    <a:lstStyle/>
                    <a:p>
                      <a:pPr algn="ctr" fontAlgn="t"/>
                      <a:r>
                        <a:rPr lang="en-HK" sz="1500" b="0" i="0" u="none" strike="noStrike">
                          <a:solidFill>
                            <a:srgbClr val="000000"/>
                          </a:solidFill>
                          <a:effectLst/>
                          <a:latin typeface="+mj-lt"/>
                        </a:rPr>
                        <a:t>RM300k+</a:t>
                      </a:r>
                    </a:p>
                  </a:txBody>
                  <a:tcPr marL="7620" marR="7620" marT="7620" marB="0" anchor="ctr"/>
                </a:tc>
                <a:tc hMerge="1">
                  <a:txBody>
                    <a:bodyPr/>
                    <a:lstStyle/>
                    <a:p>
                      <a:pPr algn="ctr" fontAlgn="t"/>
                      <a:endParaRPr lang="en-HK" sz="1500" b="0" i="0" u="none" strike="noStrike">
                        <a:solidFill>
                          <a:srgbClr val="000000"/>
                        </a:solidFill>
                        <a:effectLst/>
                        <a:latin typeface="+mj-lt"/>
                      </a:endParaRPr>
                    </a:p>
                  </a:txBody>
                  <a:tcPr marL="7620" marR="7620" marT="7620" marB="0" anchor="ctr"/>
                </a:tc>
                <a:extLst>
                  <a:ext uri="{0D108BD9-81ED-4DB2-BD59-A6C34878D82A}">
                    <a16:rowId xmlns:a16="http://schemas.microsoft.com/office/drawing/2014/main" val="3190013359"/>
                  </a:ext>
                </a:extLst>
              </a:tr>
              <a:tr h="466305">
                <a:tc>
                  <a:txBody>
                    <a:bodyPr/>
                    <a:lstStyle/>
                    <a:p>
                      <a:pPr algn="l" fontAlgn="t"/>
                      <a:r>
                        <a:rPr lang="en-HK" sz="1500" b="0" i="0" u="none" strike="noStrike">
                          <a:solidFill>
                            <a:srgbClr val="000000"/>
                          </a:solidFill>
                          <a:effectLst/>
                          <a:latin typeface="+mj-lt"/>
                        </a:rPr>
                        <a:t>Medical Annual Limit</a:t>
                      </a:r>
                    </a:p>
                  </a:txBody>
                  <a:tcPr marL="7620" marR="7620" marT="7620" marB="0" anchor="ctr"/>
                </a:tc>
                <a:tc gridSpan="2">
                  <a:txBody>
                    <a:bodyPr/>
                    <a:lstStyle/>
                    <a:p>
                      <a:pPr algn="ctr" fontAlgn="t"/>
                      <a:r>
                        <a:rPr lang="en-HK" sz="1500" b="0" i="0" u="none" strike="noStrike" dirty="0">
                          <a:solidFill>
                            <a:srgbClr val="000000"/>
                          </a:solidFill>
                          <a:effectLst/>
                          <a:latin typeface="+mj-lt"/>
                        </a:rPr>
                        <a:t>RM1m+</a:t>
                      </a:r>
                    </a:p>
                  </a:txBody>
                  <a:tcPr marL="7620" marR="7620" marT="7620" marB="0" anchor="ctr"/>
                </a:tc>
                <a:tc hMerge="1">
                  <a:txBody>
                    <a:bodyPr/>
                    <a:lstStyle/>
                    <a:p>
                      <a:pPr algn="ctr" fontAlgn="t"/>
                      <a:endParaRPr lang="en-HK" sz="1500" b="0" i="0" u="none" strike="noStrike">
                        <a:solidFill>
                          <a:srgbClr val="000000"/>
                        </a:solidFill>
                        <a:effectLst/>
                        <a:latin typeface="+mj-lt"/>
                      </a:endParaRPr>
                    </a:p>
                  </a:txBody>
                  <a:tcPr marL="7620" marR="7620" marT="7620" marB="0" anchor="ctr"/>
                </a:tc>
                <a:extLst>
                  <a:ext uri="{0D108BD9-81ED-4DB2-BD59-A6C34878D82A}">
                    <a16:rowId xmlns:a16="http://schemas.microsoft.com/office/drawing/2014/main" val="1429925495"/>
                  </a:ext>
                </a:extLst>
              </a:tr>
            </a:tbl>
          </a:graphicData>
        </a:graphic>
      </p:graphicFrame>
      <p:sp>
        <p:nvSpPr>
          <p:cNvPr id="6" name="TextBox 5">
            <a:extLst>
              <a:ext uri="{FF2B5EF4-FFF2-40B4-BE49-F238E27FC236}">
                <a16:creationId xmlns:a16="http://schemas.microsoft.com/office/drawing/2014/main" id="{F1B744F3-5ABB-435D-90D7-F4E760F4AE84}"/>
              </a:ext>
            </a:extLst>
          </p:cNvPr>
          <p:cNvSpPr txBox="1"/>
          <p:nvPr/>
        </p:nvSpPr>
        <p:spPr>
          <a:xfrm>
            <a:off x="2710927" y="5887657"/>
            <a:ext cx="6196255" cy="369332"/>
          </a:xfrm>
          <a:prstGeom prst="rect">
            <a:avLst/>
          </a:prstGeom>
          <a:solidFill>
            <a:schemeClr val="accent4">
              <a:lumMod val="20000"/>
              <a:lumOff val="80000"/>
            </a:schemeClr>
          </a:solidFill>
          <a:effectLst>
            <a:outerShdw blurRad="50800" dist="38100" dir="2700000" algn="tl" rotWithShape="0">
              <a:prstClr val="black">
                <a:alpha val="40000"/>
              </a:prstClr>
            </a:outerShdw>
          </a:effectLst>
        </p:spPr>
        <p:txBody>
          <a:bodyPr wrap="square" rtlCol="0">
            <a:spAutoFit/>
          </a:bodyPr>
          <a:lstStyle/>
          <a:p>
            <a:pPr algn="ctr"/>
            <a:r>
              <a:rPr lang="en-GB" dirty="0">
                <a:latin typeface="Arial" panose="020B0604020202020204" pitchFamily="34" charset="0"/>
                <a:cs typeface="Arial" panose="020B0604020202020204" pitchFamily="34" charset="0"/>
              </a:rPr>
              <a:t>Flag if customers with </a:t>
            </a:r>
            <a:r>
              <a:rPr lang="en-GB" b="1" dirty="0">
                <a:solidFill>
                  <a:srgbClr val="D31145"/>
                </a:solidFill>
                <a:latin typeface="Arial" panose="020B0604020202020204" pitchFamily="34" charset="0"/>
                <a:cs typeface="Arial" panose="020B0604020202020204" pitchFamily="34" charset="0"/>
              </a:rPr>
              <a:t>either 3</a:t>
            </a:r>
            <a:r>
              <a:rPr lang="en-GB" dirty="0">
                <a:latin typeface="Arial" panose="020B0604020202020204" pitchFamily="34" charset="0"/>
                <a:cs typeface="Arial" panose="020B0604020202020204" pitchFamily="34" charset="0"/>
              </a:rPr>
              <a:t> of the criteria stated above</a:t>
            </a:r>
            <a:endParaRPr lang="en-HK"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52A10B3C-5EFC-4157-9482-D3487DFB262E}"/>
              </a:ext>
            </a:extLst>
          </p:cNvPr>
          <p:cNvSpPr txBox="1"/>
          <p:nvPr/>
        </p:nvSpPr>
        <p:spPr>
          <a:xfrm>
            <a:off x="1033959" y="714581"/>
            <a:ext cx="10124081" cy="646331"/>
          </a:xfrm>
          <a:prstGeom prst="rect">
            <a:avLst/>
          </a:prstGeom>
          <a:noFill/>
        </p:spPr>
        <p:txBody>
          <a:bodyPr wrap="square" rtlCol="0">
            <a:spAutoFit/>
          </a:bodyPr>
          <a:lstStyle/>
          <a:p>
            <a:r>
              <a:rPr lang="en-GB">
                <a:latin typeface="Arial" panose="020B0604020202020204" pitchFamily="34" charset="0"/>
                <a:cs typeface="Arial" panose="020B0604020202020204" pitchFamily="34" charset="0"/>
              </a:rPr>
              <a:t>Recommend the actions based on business rules by referring to repurchase rate &amp; average repurchase ANP post respective actions</a:t>
            </a:r>
            <a:endParaRPr lang="en-HK" err="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833323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4F5AE9A-FFF3-4D09-BEE8-78A160A6D341}"/>
              </a:ext>
            </a:extLst>
          </p:cNvPr>
          <p:cNvSpPr>
            <a:spLocks noGrp="1"/>
          </p:cNvSpPr>
          <p:nvPr>
            <p:ph type="body" sz="quarter" idx="10"/>
          </p:nvPr>
        </p:nvSpPr>
        <p:spPr>
          <a:xfrm>
            <a:off x="228000" y="2492378"/>
            <a:ext cx="5868000" cy="755621"/>
          </a:xfrm>
        </p:spPr>
        <p:txBody>
          <a:bodyPr/>
          <a:lstStyle/>
          <a:p>
            <a:r>
              <a:rPr lang="en-GB" sz="2800" b="1" dirty="0">
                <a:latin typeface="Verdana" panose="020B0604030504040204" pitchFamily="34" charset="0"/>
                <a:ea typeface="Verdana" panose="020B0604030504040204" pitchFamily="34" charset="0"/>
              </a:rPr>
              <a:t>Appendices</a:t>
            </a:r>
            <a:endParaRPr lang="en-HK" sz="2800" b="1" dirty="0">
              <a:effectLst>
                <a:outerShdw blurRad="38100" dist="38100" dir="2700000" algn="tl">
                  <a:srgbClr val="000000">
                    <a:alpha val="43137"/>
                  </a:srgbClr>
                </a:outerShdw>
              </a:effectLst>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720193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CCA239-19C6-0C4F-80FC-A5944218347C}"/>
              </a:ext>
            </a:extLst>
          </p:cNvPr>
          <p:cNvSpPr>
            <a:spLocks noGrp="1"/>
          </p:cNvSpPr>
          <p:nvPr>
            <p:ph type="body" sz="quarter" idx="10"/>
          </p:nvPr>
        </p:nvSpPr>
        <p:spPr>
          <a:xfrm>
            <a:off x="359998" y="1980000"/>
            <a:ext cx="9225066" cy="1800000"/>
          </a:xfrm>
        </p:spPr>
        <p:txBody>
          <a:bodyPr/>
          <a:lstStyle/>
          <a:p>
            <a:r>
              <a:rPr lang="en-US" sz="3500" b="1">
                <a:latin typeface="Verdana" panose="020B0604030504040204" pitchFamily="34" charset="0"/>
                <a:ea typeface="Verdana" panose="020B0604030504040204" pitchFamily="34" charset="0"/>
              </a:rPr>
              <a:t>Model Results</a:t>
            </a:r>
            <a:endParaRPr lang="en-US" sz="280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8548812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160;p17">
            <a:extLst>
              <a:ext uri="{FF2B5EF4-FFF2-40B4-BE49-F238E27FC236}">
                <a16:creationId xmlns:a16="http://schemas.microsoft.com/office/drawing/2014/main" id="{993C389A-E2C5-4FC1-807D-48A4CA61DA01}"/>
              </a:ext>
            </a:extLst>
          </p:cNvPr>
          <p:cNvSpPr txBox="1"/>
          <p:nvPr/>
        </p:nvSpPr>
        <p:spPr>
          <a:xfrm>
            <a:off x="248590" y="67102"/>
            <a:ext cx="11627852" cy="487600"/>
          </a:xfrm>
          <a:prstGeom prst="rect">
            <a:avLst/>
          </a:prstGeom>
          <a:solidFill>
            <a:srgbClr val="D31145"/>
          </a:solidFill>
          <a:ln>
            <a:noFill/>
          </a:ln>
          <a:effectLst>
            <a:outerShdw blurRad="50800" dist="38100" dir="2700000" algn="tl" rotWithShape="0">
              <a:prstClr val="black">
                <a:alpha val="40000"/>
              </a:prstClr>
            </a:outerShdw>
          </a:effectLst>
        </p:spPr>
        <p:txBody>
          <a:bodyPr spcFirstLastPara="1" wrap="square" lIns="121900" tIns="121900" rIns="121900" bIns="121900" anchor="ctr" anchorCtr="0">
            <a:noAutofit/>
          </a:bodyPr>
          <a:lstStyle/>
          <a:p>
            <a:pPr algn="ctr"/>
            <a:r>
              <a:rPr lang="en-US" sz="2000" b="1" dirty="0">
                <a:solidFill>
                  <a:schemeClr val="bg1"/>
                </a:solidFill>
                <a:latin typeface="Fira Sans Extra Condensed Medium"/>
                <a:ea typeface="Fira Sans Extra Condensed Medium"/>
                <a:cs typeface="Fira Sans Extra Condensed Medium"/>
              </a:rPr>
              <a:t>Repurchase Rate by Respective Cross Sell Triggers</a:t>
            </a:r>
            <a:endParaRPr lang="en" sz="2000" b="1" dirty="0">
              <a:solidFill>
                <a:schemeClr val="bg1"/>
              </a:solidFill>
              <a:latin typeface="Fira Sans Extra Condensed Medium"/>
              <a:ea typeface="Fira Sans Extra Condensed Medium"/>
              <a:cs typeface="Fira Sans Extra Condensed Medium"/>
            </a:endParaRPr>
          </a:p>
        </p:txBody>
      </p:sp>
      <p:pic>
        <p:nvPicPr>
          <p:cNvPr id="2" name="Picture 1">
            <a:extLst>
              <a:ext uri="{FF2B5EF4-FFF2-40B4-BE49-F238E27FC236}">
                <a16:creationId xmlns:a16="http://schemas.microsoft.com/office/drawing/2014/main" id="{7C9BE328-80CF-4AD0-881D-C8F3F3FDC5AB}"/>
              </a:ext>
            </a:extLst>
          </p:cNvPr>
          <p:cNvPicPr>
            <a:picLocks noChangeAspect="1"/>
          </p:cNvPicPr>
          <p:nvPr/>
        </p:nvPicPr>
        <p:blipFill>
          <a:blip r:embed="rId2"/>
          <a:stretch>
            <a:fillRect/>
          </a:stretch>
        </p:blipFill>
        <p:spPr>
          <a:xfrm>
            <a:off x="2916712" y="1175821"/>
            <a:ext cx="6358576" cy="450635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096366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50F1B6-B185-4FF0-8780-6DEA35B58499}"/>
              </a:ext>
            </a:extLst>
          </p:cNvPr>
          <p:cNvPicPr>
            <a:picLocks noChangeAspect="1"/>
          </p:cNvPicPr>
          <p:nvPr/>
        </p:nvPicPr>
        <p:blipFill>
          <a:blip r:embed="rId2"/>
          <a:stretch>
            <a:fillRect/>
          </a:stretch>
        </p:blipFill>
        <p:spPr>
          <a:xfrm>
            <a:off x="4099586" y="3022899"/>
            <a:ext cx="7818093" cy="3835101"/>
          </a:xfrm>
          <a:prstGeom prst="rect">
            <a:avLst/>
          </a:prstGeom>
          <a:effectLst>
            <a:outerShdw blurRad="50800" dist="38100" dir="2700000" algn="tl" rotWithShape="0">
              <a:prstClr val="black">
                <a:alpha val="40000"/>
              </a:prstClr>
            </a:outerShdw>
          </a:effectLst>
        </p:spPr>
      </p:pic>
      <p:sp>
        <p:nvSpPr>
          <p:cNvPr id="4" name="Google Shape;160;p17">
            <a:extLst>
              <a:ext uri="{FF2B5EF4-FFF2-40B4-BE49-F238E27FC236}">
                <a16:creationId xmlns:a16="http://schemas.microsoft.com/office/drawing/2014/main" id="{DFD8380F-B8D9-472B-928B-67BB0DB0495B}"/>
              </a:ext>
            </a:extLst>
          </p:cNvPr>
          <p:cNvSpPr txBox="1"/>
          <p:nvPr/>
        </p:nvSpPr>
        <p:spPr>
          <a:xfrm>
            <a:off x="228600" y="95869"/>
            <a:ext cx="11554931" cy="487600"/>
          </a:xfrm>
          <a:prstGeom prst="rect">
            <a:avLst/>
          </a:prstGeom>
          <a:solidFill>
            <a:srgbClr val="D31145"/>
          </a:solidFill>
          <a:ln>
            <a:noFill/>
          </a:ln>
          <a:effectLst>
            <a:outerShdw blurRad="50800" dist="38100" dir="2700000" algn="tl" rotWithShape="0">
              <a:prstClr val="black">
                <a:alpha val="40000"/>
              </a:prstClr>
            </a:outerShdw>
          </a:effectLst>
        </p:spPr>
        <p:txBody>
          <a:bodyPr spcFirstLastPara="1" wrap="square" lIns="121900" tIns="121900" rIns="121900" bIns="121900" anchor="ctr" anchorCtr="0">
            <a:noAutofit/>
          </a:bodyPr>
          <a:lstStyle/>
          <a:p>
            <a:pPr algn="ctr"/>
            <a:r>
              <a:rPr lang="en-US" sz="2000" b="1" dirty="0">
                <a:solidFill>
                  <a:schemeClr val="bg1"/>
                </a:solidFill>
                <a:latin typeface="Fira Sans Extra Condensed Medium"/>
                <a:ea typeface="Fira Sans Extra Condensed Medium"/>
                <a:cs typeface="Fira Sans Extra Condensed Medium"/>
              </a:rPr>
              <a:t>Repurchase ANP for Respective Cross Sell Triggers</a:t>
            </a:r>
            <a:endParaRPr lang="en" sz="2000" b="1" dirty="0">
              <a:solidFill>
                <a:schemeClr val="bg1"/>
              </a:solidFill>
              <a:latin typeface="Fira Sans Extra Condensed Medium"/>
              <a:ea typeface="Fira Sans Extra Condensed Medium"/>
              <a:cs typeface="Fira Sans Extra Condensed Medium"/>
            </a:endParaRPr>
          </a:p>
        </p:txBody>
      </p:sp>
      <p:pic>
        <p:nvPicPr>
          <p:cNvPr id="2" name="Picture 1">
            <a:extLst>
              <a:ext uri="{FF2B5EF4-FFF2-40B4-BE49-F238E27FC236}">
                <a16:creationId xmlns:a16="http://schemas.microsoft.com/office/drawing/2014/main" id="{59DDFE86-3574-4871-9F7F-197D6FC6034E}"/>
              </a:ext>
            </a:extLst>
          </p:cNvPr>
          <p:cNvPicPr>
            <a:picLocks noChangeAspect="1"/>
          </p:cNvPicPr>
          <p:nvPr/>
        </p:nvPicPr>
        <p:blipFill>
          <a:blip r:embed="rId3"/>
          <a:stretch>
            <a:fillRect/>
          </a:stretch>
        </p:blipFill>
        <p:spPr>
          <a:xfrm>
            <a:off x="228600" y="778010"/>
            <a:ext cx="6430384" cy="268679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7343909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60;p17">
            <a:extLst>
              <a:ext uri="{FF2B5EF4-FFF2-40B4-BE49-F238E27FC236}">
                <a16:creationId xmlns:a16="http://schemas.microsoft.com/office/drawing/2014/main" id="{238FFA67-25E8-4095-B2C4-98402D2875B0}"/>
              </a:ext>
            </a:extLst>
          </p:cNvPr>
          <p:cNvSpPr txBox="1"/>
          <p:nvPr/>
        </p:nvSpPr>
        <p:spPr>
          <a:xfrm>
            <a:off x="284829" y="79019"/>
            <a:ext cx="11645402" cy="487600"/>
          </a:xfrm>
          <a:prstGeom prst="rect">
            <a:avLst/>
          </a:prstGeom>
          <a:solidFill>
            <a:srgbClr val="D31145"/>
          </a:solidFill>
          <a:ln>
            <a:noFill/>
          </a:ln>
          <a:effectLst>
            <a:outerShdw blurRad="50800" dist="38100" dir="2700000" algn="tl" rotWithShape="0">
              <a:prstClr val="black">
                <a:alpha val="40000"/>
              </a:prstClr>
            </a:outerShdw>
          </a:effectLst>
        </p:spPr>
        <p:txBody>
          <a:bodyPr spcFirstLastPara="1" wrap="square" lIns="121900" tIns="121900" rIns="121900" bIns="121900" anchor="ctr" anchorCtr="0">
            <a:noAutofit/>
          </a:bodyPr>
          <a:lstStyle/>
          <a:p>
            <a:pPr algn="ctr"/>
            <a:r>
              <a:rPr lang="en-US" sz="2000" b="1" dirty="0">
                <a:solidFill>
                  <a:schemeClr val="bg1"/>
                </a:solidFill>
                <a:latin typeface="Fira Sans Extra Condensed Medium"/>
                <a:ea typeface="Fira Sans Extra Condensed Medium"/>
                <a:cs typeface="Fira Sans Extra Condensed Medium"/>
              </a:rPr>
              <a:t>Ranking of Respective Cross Sell Triggers</a:t>
            </a:r>
            <a:endParaRPr lang="en" sz="2000" b="1" dirty="0">
              <a:solidFill>
                <a:schemeClr val="bg1"/>
              </a:solidFill>
              <a:latin typeface="Fira Sans Extra Condensed Medium"/>
              <a:ea typeface="Fira Sans Extra Condensed Medium"/>
              <a:cs typeface="Fira Sans Extra Condensed Medium"/>
            </a:endParaRPr>
          </a:p>
        </p:txBody>
      </p:sp>
      <p:pic>
        <p:nvPicPr>
          <p:cNvPr id="3" name="Picture 2">
            <a:extLst>
              <a:ext uri="{FF2B5EF4-FFF2-40B4-BE49-F238E27FC236}">
                <a16:creationId xmlns:a16="http://schemas.microsoft.com/office/drawing/2014/main" id="{66B9BFE6-BCE5-40D3-B637-F55946409520}"/>
              </a:ext>
            </a:extLst>
          </p:cNvPr>
          <p:cNvPicPr>
            <a:picLocks noChangeAspect="1"/>
          </p:cNvPicPr>
          <p:nvPr/>
        </p:nvPicPr>
        <p:blipFill>
          <a:blip r:embed="rId2"/>
          <a:stretch>
            <a:fillRect/>
          </a:stretch>
        </p:blipFill>
        <p:spPr>
          <a:xfrm>
            <a:off x="1114059" y="1086559"/>
            <a:ext cx="7687119" cy="5661183"/>
          </a:xfrm>
          <a:prstGeom prst="rect">
            <a:avLst/>
          </a:prstGeom>
          <a:effectLst>
            <a:outerShdw blurRad="50800" dist="38100" dir="2700000" algn="tl" rotWithShape="0">
              <a:prstClr val="black">
                <a:alpha val="40000"/>
              </a:prstClr>
            </a:outerShdw>
          </a:effectLst>
        </p:spPr>
      </p:pic>
      <p:sp>
        <p:nvSpPr>
          <p:cNvPr id="4" name="TextBox 3">
            <a:extLst>
              <a:ext uri="{FF2B5EF4-FFF2-40B4-BE49-F238E27FC236}">
                <a16:creationId xmlns:a16="http://schemas.microsoft.com/office/drawing/2014/main" id="{6BEF2535-80DC-4F54-9E7D-6474475C9B1B}"/>
              </a:ext>
            </a:extLst>
          </p:cNvPr>
          <p:cNvSpPr txBox="1"/>
          <p:nvPr/>
        </p:nvSpPr>
        <p:spPr>
          <a:xfrm>
            <a:off x="3307166" y="641923"/>
            <a:ext cx="3300904" cy="369332"/>
          </a:xfrm>
          <a:prstGeom prst="rect">
            <a:avLst/>
          </a:prstGeom>
          <a:noFill/>
        </p:spPr>
        <p:txBody>
          <a:bodyPr wrap="none" rtlCol="0">
            <a:spAutoFit/>
          </a:bodyPr>
          <a:lstStyle/>
          <a:p>
            <a:r>
              <a:rPr lang="en-US">
                <a:latin typeface="Arial" panose="020B0604020202020204" pitchFamily="34" charset="0"/>
                <a:cs typeface="Arial" panose="020B0604020202020204" pitchFamily="34" charset="0"/>
              </a:rPr>
              <a:t>Flags Ranking Distribution (%)</a:t>
            </a:r>
          </a:p>
        </p:txBody>
      </p:sp>
      <p:pic>
        <p:nvPicPr>
          <p:cNvPr id="5" name="Picture 4">
            <a:extLst>
              <a:ext uri="{FF2B5EF4-FFF2-40B4-BE49-F238E27FC236}">
                <a16:creationId xmlns:a16="http://schemas.microsoft.com/office/drawing/2014/main" id="{BC9BD08F-7978-4DC9-A76A-FAA996F3672A}"/>
              </a:ext>
            </a:extLst>
          </p:cNvPr>
          <p:cNvPicPr>
            <a:picLocks noChangeAspect="1"/>
          </p:cNvPicPr>
          <p:nvPr/>
        </p:nvPicPr>
        <p:blipFill>
          <a:blip r:embed="rId3"/>
          <a:stretch>
            <a:fillRect/>
          </a:stretch>
        </p:blipFill>
        <p:spPr>
          <a:xfrm>
            <a:off x="9203637" y="2500312"/>
            <a:ext cx="1819275" cy="1857375"/>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679C8004-F208-4ED0-A7CC-8DB2F9D904D4}"/>
              </a:ext>
            </a:extLst>
          </p:cNvPr>
          <p:cNvSpPr txBox="1"/>
          <p:nvPr/>
        </p:nvSpPr>
        <p:spPr>
          <a:xfrm rot="16200000">
            <a:off x="497760" y="2714152"/>
            <a:ext cx="681597" cy="253916"/>
          </a:xfrm>
          <a:prstGeom prst="rect">
            <a:avLst/>
          </a:prstGeom>
          <a:noFill/>
        </p:spPr>
        <p:txBody>
          <a:bodyPr wrap="none" rtlCol="0">
            <a:spAutoFit/>
          </a:bodyPr>
          <a:lstStyle/>
          <a:p>
            <a:r>
              <a:rPr lang="en-US" sz="1050">
                <a:latin typeface="Arial" panose="020B0604020202020204" pitchFamily="34" charset="0"/>
                <a:cs typeface="Arial" panose="020B0604020202020204" pitchFamily="34" charset="0"/>
              </a:rPr>
              <a:t>Ranking</a:t>
            </a:r>
          </a:p>
        </p:txBody>
      </p:sp>
    </p:spTree>
    <p:extLst>
      <p:ext uri="{BB962C8B-B14F-4D97-AF65-F5344CB8AC3E}">
        <p14:creationId xmlns:p14="http://schemas.microsoft.com/office/powerpoint/2010/main" val="35067706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CEEB4C43-F563-4188-9F8E-E4BC778CED92}"/>
              </a:ext>
            </a:extLst>
          </p:cNvPr>
          <p:cNvSpPr txBox="1"/>
          <p:nvPr/>
        </p:nvSpPr>
        <p:spPr>
          <a:xfrm>
            <a:off x="705853" y="5292762"/>
            <a:ext cx="10588864" cy="561839"/>
          </a:xfrm>
          <a:prstGeom prst="rect">
            <a:avLst/>
          </a:prstGeom>
          <a:noFill/>
          <a:ln>
            <a:solidFill>
              <a:schemeClr val="tx1">
                <a:lumMod val="75000"/>
              </a:schemeClr>
            </a:solidFill>
          </a:ln>
        </p:spPr>
        <p:txBody>
          <a:bodyPr wrap="square" rtlCol="0">
            <a:spAutoFit/>
          </a:bodyPr>
          <a:lstStyle/>
          <a:p>
            <a:endParaRPr lang="en-HK" dirty="0" err="1">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A0C16055-48EF-4F63-8CC6-7DF82062C437}"/>
              </a:ext>
            </a:extLst>
          </p:cNvPr>
          <p:cNvSpPr txBox="1"/>
          <p:nvPr/>
        </p:nvSpPr>
        <p:spPr>
          <a:xfrm>
            <a:off x="9093893" y="2975619"/>
            <a:ext cx="2288995" cy="323165"/>
          </a:xfrm>
          <a:prstGeom prst="rect">
            <a:avLst/>
          </a:prstGeom>
          <a:noFill/>
        </p:spPr>
        <p:txBody>
          <a:bodyPr wrap="square" rtlCol="0">
            <a:spAutoFit/>
          </a:bodyPr>
          <a:lstStyle/>
          <a:p>
            <a:r>
              <a:rPr lang="en-GB" sz="1500" b="1" dirty="0">
                <a:latin typeface="Arial" panose="020B0604020202020204" pitchFamily="34" charset="0"/>
                <a:cs typeface="Arial" panose="020B0604020202020204" pitchFamily="34" charset="0"/>
              </a:rPr>
              <a:t>NDCG   = 0.9041</a:t>
            </a:r>
            <a:endParaRPr lang="en-HK" sz="1500" b="1" dirty="0" err="1">
              <a:latin typeface="Arial" panose="020B0604020202020204" pitchFamily="34" charset="0"/>
              <a:cs typeface="Arial" panose="020B0604020202020204" pitchFamily="34" charset="0"/>
            </a:endParaRPr>
          </a:p>
        </p:txBody>
      </p:sp>
      <p:sp>
        <p:nvSpPr>
          <p:cNvPr id="2" name="Google Shape;154;p17">
            <a:extLst>
              <a:ext uri="{FF2B5EF4-FFF2-40B4-BE49-F238E27FC236}">
                <a16:creationId xmlns:a16="http://schemas.microsoft.com/office/drawing/2014/main" id="{4CDF9D43-8076-4125-A8E4-9FB615B1A3D8}"/>
              </a:ext>
            </a:extLst>
          </p:cNvPr>
          <p:cNvSpPr txBox="1"/>
          <p:nvPr/>
        </p:nvSpPr>
        <p:spPr>
          <a:xfrm>
            <a:off x="539695" y="317268"/>
            <a:ext cx="10941005" cy="487600"/>
          </a:xfrm>
          <a:prstGeom prst="rect">
            <a:avLst/>
          </a:prstGeom>
          <a:solidFill>
            <a:srgbClr val="D31145"/>
          </a:solidFill>
          <a:ln>
            <a:noFill/>
          </a:ln>
          <a:effectLst>
            <a:outerShdw blurRad="50800" dist="38100" dir="2700000" algn="tl" rotWithShape="0">
              <a:prstClr val="black">
                <a:alpha val="40000"/>
              </a:prstClr>
            </a:outerShdw>
          </a:effectLst>
        </p:spPr>
        <p:txBody>
          <a:bodyPr spcFirstLastPara="1" wrap="square" lIns="121900" tIns="121900" rIns="121900" bIns="121900" anchor="ctr" anchorCtr="0">
            <a:noAutofit/>
          </a:bodyPr>
          <a:lstStyle/>
          <a:p>
            <a:pPr algn="ctr"/>
            <a:r>
              <a:rPr lang="en" sz="2000" b="1">
                <a:solidFill>
                  <a:schemeClr val="bg1"/>
                </a:solidFill>
                <a:latin typeface="Fira Sans Extra Condensed Medium"/>
                <a:ea typeface="Fira Sans Extra Condensed Medium"/>
                <a:cs typeface="Fira Sans Extra Condensed Medium"/>
                <a:sym typeface="Fira Sans Extra Condensed Medium"/>
              </a:rPr>
              <a:t>Model Performance and Validation</a:t>
            </a:r>
            <a:endParaRPr sz="2000" b="1">
              <a:solidFill>
                <a:schemeClr val="bg1"/>
              </a:solidFill>
              <a:latin typeface="Fira Sans Extra Condensed Medium"/>
              <a:ea typeface="Fira Sans Extra Condensed Medium"/>
              <a:cs typeface="Fira Sans Extra Condensed Medium"/>
              <a:sym typeface="Fira Sans Extra Condensed Medium"/>
            </a:endParaRPr>
          </a:p>
        </p:txBody>
      </p:sp>
      <p:sp>
        <p:nvSpPr>
          <p:cNvPr id="5" name="TextBox 4">
            <a:extLst>
              <a:ext uri="{FF2B5EF4-FFF2-40B4-BE49-F238E27FC236}">
                <a16:creationId xmlns:a16="http://schemas.microsoft.com/office/drawing/2014/main" id="{9B9C95C8-4A62-4380-987D-A3834BD76AB4}"/>
              </a:ext>
            </a:extLst>
          </p:cNvPr>
          <p:cNvSpPr txBox="1"/>
          <p:nvPr/>
        </p:nvSpPr>
        <p:spPr>
          <a:xfrm>
            <a:off x="2753565" y="898641"/>
            <a:ext cx="6394699" cy="369332"/>
          </a:xfrm>
          <a:prstGeom prst="rect">
            <a:avLst/>
          </a:prstGeom>
          <a:noFill/>
        </p:spPr>
        <p:txBody>
          <a:bodyPr wrap="none" lIns="91440" tIns="45720" rIns="91440" bIns="45720" rtlCol="0" anchor="t">
            <a:spAutoFit/>
          </a:bodyPr>
          <a:lstStyle/>
          <a:p>
            <a:r>
              <a:rPr lang="en-US" b="1" dirty="0">
                <a:latin typeface="Arial"/>
                <a:cs typeface="Arial"/>
              </a:rPr>
              <a:t>NDCG</a:t>
            </a:r>
            <a:r>
              <a:rPr lang="en-US" dirty="0">
                <a:latin typeface="Arial"/>
                <a:cs typeface="Arial"/>
              </a:rPr>
              <a:t> – </a:t>
            </a:r>
            <a:r>
              <a:rPr lang="en-US" sz="1400">
                <a:latin typeface="Arial"/>
                <a:cs typeface="Arial"/>
              </a:rPr>
              <a:t>Normalize Discounted Cumulative Gain to measure ranking quality</a:t>
            </a:r>
            <a:endParaRPr lang="en-US" sz="140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132FD3B0-D61A-4109-901D-C9D3BA8A03A6}"/>
              </a:ext>
            </a:extLst>
          </p:cNvPr>
          <p:cNvSpPr txBox="1"/>
          <p:nvPr/>
        </p:nvSpPr>
        <p:spPr>
          <a:xfrm>
            <a:off x="2942640" y="5405449"/>
            <a:ext cx="5831616" cy="36933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NDCG =  </a:t>
            </a:r>
            <a:r>
              <a:rPr lang="en-US" b="1" dirty="0">
                <a:solidFill>
                  <a:srgbClr val="D31145"/>
                </a:solidFill>
                <a:latin typeface="Arial" panose="020B0604020202020204" pitchFamily="34" charset="0"/>
                <a:cs typeface="Arial" panose="020B0604020202020204" pitchFamily="34" charset="0"/>
              </a:rPr>
              <a:t>0.76</a:t>
            </a:r>
            <a:r>
              <a:rPr lang="en-US" b="1" dirty="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True Positive Rate = </a:t>
            </a:r>
            <a:r>
              <a:rPr lang="en-US" b="1" dirty="0">
                <a:solidFill>
                  <a:srgbClr val="D31145"/>
                </a:solidFill>
                <a:latin typeface="Arial" panose="020B0604020202020204" pitchFamily="34" charset="0"/>
                <a:cs typeface="Arial" panose="020B0604020202020204" pitchFamily="34" charset="0"/>
              </a:rPr>
              <a:t>0.89</a:t>
            </a:r>
          </a:p>
        </p:txBody>
      </p:sp>
      <p:sp>
        <p:nvSpPr>
          <p:cNvPr id="12" name="Rectangle 11">
            <a:extLst>
              <a:ext uri="{FF2B5EF4-FFF2-40B4-BE49-F238E27FC236}">
                <a16:creationId xmlns:a16="http://schemas.microsoft.com/office/drawing/2014/main" id="{8F55C027-CC23-4F6C-8D4C-6C701BF7157B}"/>
              </a:ext>
            </a:extLst>
          </p:cNvPr>
          <p:cNvSpPr/>
          <p:nvPr/>
        </p:nvSpPr>
        <p:spPr>
          <a:xfrm>
            <a:off x="10060696" y="3001574"/>
            <a:ext cx="844297" cy="321519"/>
          </a:xfrm>
          <a:prstGeom prst="rect">
            <a:avLst/>
          </a:prstGeom>
          <a:noFill/>
          <a:ln>
            <a:solidFill>
              <a:srgbClr val="FF0000"/>
            </a:solidFill>
          </a:ln>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34" name="TextBox 33">
            <a:extLst>
              <a:ext uri="{FF2B5EF4-FFF2-40B4-BE49-F238E27FC236}">
                <a16:creationId xmlns:a16="http://schemas.microsoft.com/office/drawing/2014/main" id="{177FBC77-CF6F-4B91-A005-553E3DB48DE4}"/>
              </a:ext>
            </a:extLst>
          </p:cNvPr>
          <p:cNvSpPr txBox="1"/>
          <p:nvPr/>
        </p:nvSpPr>
        <p:spPr>
          <a:xfrm>
            <a:off x="847294" y="5995710"/>
            <a:ext cx="4232249" cy="246221"/>
          </a:xfrm>
          <a:prstGeom prst="rect">
            <a:avLst/>
          </a:prstGeom>
          <a:noFill/>
        </p:spPr>
        <p:txBody>
          <a:bodyPr wrap="none" rtlCol="0">
            <a:spAutoFit/>
          </a:bodyPr>
          <a:lstStyle/>
          <a:p>
            <a:r>
              <a:rPr lang="en-US" sz="1000" dirty="0">
                <a:latin typeface="Arial" panose="020B0604020202020204" pitchFamily="34" charset="0"/>
                <a:cs typeface="Arial" panose="020B0604020202020204" pitchFamily="34" charset="0"/>
              </a:rPr>
              <a:t>*** model performance can improve with the augmented business rules </a:t>
            </a:r>
          </a:p>
        </p:txBody>
      </p:sp>
      <p:cxnSp>
        <p:nvCxnSpPr>
          <p:cNvPr id="6" name="Straight Arrow Connector 5">
            <a:extLst>
              <a:ext uri="{FF2B5EF4-FFF2-40B4-BE49-F238E27FC236}">
                <a16:creationId xmlns:a16="http://schemas.microsoft.com/office/drawing/2014/main" id="{136D28AA-9177-4F66-AB1D-A7CB69AE3D45}"/>
              </a:ext>
            </a:extLst>
          </p:cNvPr>
          <p:cNvCxnSpPr>
            <a:cxnSpLocks/>
          </p:cNvCxnSpPr>
          <p:nvPr/>
        </p:nvCxnSpPr>
        <p:spPr>
          <a:xfrm>
            <a:off x="7950679" y="1977966"/>
            <a:ext cx="34805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16" name="Table 17">
            <a:extLst>
              <a:ext uri="{FF2B5EF4-FFF2-40B4-BE49-F238E27FC236}">
                <a16:creationId xmlns:a16="http://schemas.microsoft.com/office/drawing/2014/main" id="{70547D84-AD95-4DB2-9E56-8770E47D8FDA}"/>
              </a:ext>
            </a:extLst>
          </p:cNvPr>
          <p:cNvGraphicFramePr>
            <a:graphicFrameLocks noGrp="1"/>
          </p:cNvGraphicFramePr>
          <p:nvPr>
            <p:extLst>
              <p:ext uri="{D42A27DB-BD31-4B8C-83A1-F6EECF244321}">
                <p14:modId xmlns:p14="http://schemas.microsoft.com/office/powerpoint/2010/main" val="2512137296"/>
              </p:ext>
            </p:extLst>
          </p:nvPr>
        </p:nvGraphicFramePr>
        <p:xfrm>
          <a:off x="847294" y="1439682"/>
          <a:ext cx="3734749" cy="2311400"/>
        </p:xfrm>
        <a:graphic>
          <a:graphicData uri="http://schemas.openxmlformats.org/drawingml/2006/table">
            <a:tbl>
              <a:tblPr firstRow="1" bandRow="1">
                <a:tableStyleId>{5C22544A-7EE6-4342-B048-85BDC9FD1C3A}</a:tableStyleId>
              </a:tblPr>
              <a:tblGrid>
                <a:gridCol w="1031874">
                  <a:extLst>
                    <a:ext uri="{9D8B030D-6E8A-4147-A177-3AD203B41FA5}">
                      <a16:colId xmlns:a16="http://schemas.microsoft.com/office/drawing/2014/main" val="922225153"/>
                    </a:ext>
                  </a:extLst>
                </a:gridCol>
                <a:gridCol w="835501">
                  <a:extLst>
                    <a:ext uri="{9D8B030D-6E8A-4147-A177-3AD203B41FA5}">
                      <a16:colId xmlns:a16="http://schemas.microsoft.com/office/drawing/2014/main" val="3558129462"/>
                    </a:ext>
                  </a:extLst>
                </a:gridCol>
                <a:gridCol w="933687">
                  <a:extLst>
                    <a:ext uri="{9D8B030D-6E8A-4147-A177-3AD203B41FA5}">
                      <a16:colId xmlns:a16="http://schemas.microsoft.com/office/drawing/2014/main" val="1049930210"/>
                    </a:ext>
                  </a:extLst>
                </a:gridCol>
                <a:gridCol w="933687">
                  <a:extLst>
                    <a:ext uri="{9D8B030D-6E8A-4147-A177-3AD203B41FA5}">
                      <a16:colId xmlns:a16="http://schemas.microsoft.com/office/drawing/2014/main" val="59311352"/>
                    </a:ext>
                  </a:extLst>
                </a:gridCol>
              </a:tblGrid>
              <a:tr h="370840">
                <a:tc>
                  <a:txBody>
                    <a:bodyPr/>
                    <a:lstStyle/>
                    <a:p>
                      <a:r>
                        <a:rPr lang="en-US" sz="1300"/>
                        <a:t>Customer</a:t>
                      </a:r>
                    </a:p>
                  </a:txBody>
                  <a:tcPr/>
                </a:tc>
                <a:tc>
                  <a:txBody>
                    <a:bodyPr/>
                    <a:lstStyle/>
                    <a:p>
                      <a:pPr algn="ctr"/>
                      <a:r>
                        <a:rPr lang="en-US" sz="1300"/>
                        <a:t>Top 1</a:t>
                      </a:r>
                      <a:endParaRPr lang="en-US" sz="1300" dirty="0"/>
                    </a:p>
                  </a:txBody>
                  <a:tcPr/>
                </a:tc>
                <a:tc>
                  <a:txBody>
                    <a:bodyPr/>
                    <a:lstStyle/>
                    <a:p>
                      <a:pPr algn="ctr"/>
                      <a:r>
                        <a:rPr lang="en-US" sz="1300"/>
                        <a:t>Top 2</a:t>
                      </a:r>
                      <a:endParaRPr lang="en-US" sz="1300" dirty="0"/>
                    </a:p>
                  </a:txBody>
                  <a:tcPr/>
                </a:tc>
                <a:tc>
                  <a:txBody>
                    <a:bodyPr/>
                    <a:lstStyle/>
                    <a:p>
                      <a:pPr algn="ctr"/>
                      <a:r>
                        <a:rPr lang="en-US" sz="1300" dirty="0"/>
                        <a:t>Top 3</a:t>
                      </a:r>
                    </a:p>
                  </a:txBody>
                  <a:tcPr/>
                </a:tc>
                <a:extLst>
                  <a:ext uri="{0D108BD9-81ED-4DB2-BD59-A6C34878D82A}">
                    <a16:rowId xmlns:a16="http://schemas.microsoft.com/office/drawing/2014/main" val="2907259190"/>
                  </a:ext>
                </a:extLst>
              </a:tr>
              <a:tr h="370840">
                <a:tc>
                  <a:txBody>
                    <a:bodyPr/>
                    <a:lstStyle/>
                    <a:p>
                      <a:r>
                        <a:rPr lang="en-US" sz="1300" dirty="0"/>
                        <a:t>Cust A</a:t>
                      </a:r>
                    </a:p>
                  </a:txBody>
                  <a:tcPr/>
                </a:tc>
                <a:tc>
                  <a:txBody>
                    <a:bodyPr/>
                    <a:lstStyle/>
                    <a:p>
                      <a:pPr lvl="0" algn="ctr">
                        <a:buNone/>
                      </a:pPr>
                      <a:r>
                        <a:rPr lang="en-US" sz="1300" b="0" i="0" u="none" strike="noStrike" noProof="0">
                          <a:latin typeface="+mn-lt"/>
                        </a:rPr>
                        <a:t>F2</a:t>
                      </a:r>
                      <a:endParaRPr lang="en-US" sz="1300" dirty="0"/>
                    </a:p>
                  </a:txBody>
                  <a:tcPr/>
                </a:tc>
                <a:tc>
                  <a:txBody>
                    <a:bodyPr/>
                    <a:lstStyle/>
                    <a:p>
                      <a:pPr lvl="0" algn="ctr">
                        <a:buNone/>
                      </a:pPr>
                      <a:r>
                        <a:rPr lang="en-US" sz="1300"/>
                        <a:t>F3</a:t>
                      </a:r>
                      <a:endParaRPr lang="en-US" sz="1300" dirty="0"/>
                    </a:p>
                  </a:txBody>
                  <a:tcPr/>
                </a:tc>
                <a:tc>
                  <a:txBody>
                    <a:bodyPr/>
                    <a:lstStyle/>
                    <a:p>
                      <a:pPr algn="ctr"/>
                      <a:r>
                        <a:rPr lang="en-US" sz="1300" b="0" i="0" u="none" strike="noStrike" noProof="0" dirty="0">
                          <a:latin typeface="+mn-lt"/>
                        </a:rPr>
                        <a:t>F1</a:t>
                      </a:r>
                      <a:endParaRPr lang="en-US" sz="1300" dirty="0"/>
                    </a:p>
                  </a:txBody>
                  <a:tcPr/>
                </a:tc>
                <a:extLst>
                  <a:ext uri="{0D108BD9-81ED-4DB2-BD59-A6C34878D82A}">
                    <a16:rowId xmlns:a16="http://schemas.microsoft.com/office/drawing/2014/main" val="150542838"/>
                  </a:ext>
                </a:extLst>
              </a:tr>
              <a:tr h="370840">
                <a:tc>
                  <a:txBody>
                    <a:bodyPr/>
                    <a:lstStyle/>
                    <a:p>
                      <a:r>
                        <a:rPr lang="en-US" sz="1300"/>
                        <a:t>Cust B</a:t>
                      </a:r>
                    </a:p>
                  </a:txBody>
                  <a:tcPr/>
                </a:tc>
                <a:tc>
                  <a:txBody>
                    <a:bodyPr/>
                    <a:lstStyle/>
                    <a:p>
                      <a:pPr lvl="0" algn="ctr">
                        <a:buNone/>
                      </a:pPr>
                      <a:r>
                        <a:rPr lang="en-US" sz="1300" b="0" i="0" u="none" strike="noStrike" noProof="0">
                          <a:latin typeface="+mn-lt"/>
                        </a:rPr>
                        <a:t>F1</a:t>
                      </a:r>
                      <a:endParaRPr lang="en-US" sz="1300" dirty="0"/>
                    </a:p>
                  </a:txBody>
                  <a:tcPr/>
                </a:tc>
                <a:tc>
                  <a:txBody>
                    <a:bodyPr/>
                    <a:lstStyle/>
                    <a:p>
                      <a:pPr lvl="0" algn="ctr">
                        <a:buNone/>
                      </a:pPr>
                      <a:r>
                        <a:rPr lang="en-US" sz="1300"/>
                        <a:t>F3</a:t>
                      </a:r>
                      <a:endParaRPr lang="en-US" sz="1300" dirty="0"/>
                    </a:p>
                  </a:txBody>
                  <a:tcPr/>
                </a:tc>
                <a:tc>
                  <a:txBody>
                    <a:bodyPr/>
                    <a:lstStyle/>
                    <a:p>
                      <a:pPr lvl="0" algn="ctr">
                        <a:buNone/>
                      </a:pPr>
                      <a:r>
                        <a:rPr lang="en-US" sz="1300" b="0" i="0" u="none" strike="noStrike" noProof="0" dirty="0">
                          <a:latin typeface="+mn-lt"/>
                        </a:rPr>
                        <a:t>F2</a:t>
                      </a:r>
                      <a:endParaRPr lang="en-US" sz="1300" dirty="0"/>
                    </a:p>
                  </a:txBody>
                  <a:tcPr/>
                </a:tc>
                <a:extLst>
                  <a:ext uri="{0D108BD9-81ED-4DB2-BD59-A6C34878D82A}">
                    <a16:rowId xmlns:a16="http://schemas.microsoft.com/office/drawing/2014/main" val="3045980014"/>
                  </a:ext>
                </a:extLst>
              </a:tr>
              <a:tr h="370840">
                <a:tc>
                  <a:txBody>
                    <a:bodyPr/>
                    <a:lstStyle/>
                    <a:p>
                      <a:r>
                        <a:rPr lang="en-US" sz="1300"/>
                        <a:t>Cust C</a:t>
                      </a:r>
                    </a:p>
                  </a:txBody>
                  <a:tcPr/>
                </a:tc>
                <a:tc>
                  <a:txBody>
                    <a:bodyPr/>
                    <a:lstStyle/>
                    <a:p>
                      <a:pPr lvl="0" algn="ctr">
                        <a:buNone/>
                      </a:pPr>
                      <a:r>
                        <a:rPr lang="en-US" sz="1300"/>
                        <a:t>F3</a:t>
                      </a:r>
                      <a:endParaRPr lang="en-US" sz="1300" dirty="0"/>
                    </a:p>
                  </a:txBody>
                  <a:tcPr/>
                </a:tc>
                <a:tc>
                  <a:txBody>
                    <a:bodyPr/>
                    <a:lstStyle/>
                    <a:p>
                      <a:pPr lvl="0" algn="ctr">
                        <a:buNone/>
                      </a:pPr>
                      <a:r>
                        <a:rPr lang="en-US" sz="1300" b="0" i="0" u="none" strike="noStrike" noProof="0" dirty="0">
                          <a:latin typeface="+mn-lt"/>
                        </a:rPr>
                        <a:t>F1</a:t>
                      </a:r>
                      <a:endParaRPr lang="en-US" sz="1300" dirty="0"/>
                    </a:p>
                  </a:txBody>
                  <a:tcPr/>
                </a:tc>
                <a:tc>
                  <a:txBody>
                    <a:bodyPr/>
                    <a:lstStyle/>
                    <a:p>
                      <a:pPr lvl="0" algn="ctr">
                        <a:buNone/>
                      </a:pPr>
                      <a:r>
                        <a:rPr lang="en-US" sz="1300" b="0" i="0" u="none" strike="noStrike" noProof="0" dirty="0">
                          <a:latin typeface="+mn-lt"/>
                        </a:rPr>
                        <a:t>F2</a:t>
                      </a:r>
                      <a:endParaRPr lang="en-US" sz="1300" dirty="0"/>
                    </a:p>
                  </a:txBody>
                  <a:tcPr/>
                </a:tc>
                <a:extLst>
                  <a:ext uri="{0D108BD9-81ED-4DB2-BD59-A6C34878D82A}">
                    <a16:rowId xmlns:a16="http://schemas.microsoft.com/office/drawing/2014/main" val="4234525640"/>
                  </a:ext>
                </a:extLst>
              </a:tr>
              <a:tr h="370840">
                <a:tc>
                  <a:txBody>
                    <a:bodyPr/>
                    <a:lstStyle/>
                    <a:p>
                      <a:r>
                        <a:rPr lang="en-US" sz="1300" b="1" dirty="0">
                          <a:highlight>
                            <a:srgbClr val="FFFF00"/>
                          </a:highlight>
                        </a:rPr>
                        <a:t>Ideal</a:t>
                      </a:r>
                    </a:p>
                  </a:txBody>
                  <a:tcPr/>
                </a:tc>
                <a:tc>
                  <a:txBody>
                    <a:bodyPr/>
                    <a:lstStyle/>
                    <a:p>
                      <a:pPr lvl="0" algn="ctr">
                        <a:buNone/>
                      </a:pPr>
                      <a:r>
                        <a:rPr lang="en-US" sz="1300" b="1"/>
                        <a:t>F3</a:t>
                      </a:r>
                      <a:endParaRPr lang="en-US" sz="1300" b="1" dirty="0"/>
                    </a:p>
                  </a:txBody>
                  <a:tcPr/>
                </a:tc>
                <a:tc>
                  <a:txBody>
                    <a:bodyPr/>
                    <a:lstStyle/>
                    <a:p>
                      <a:pPr lvl="0" algn="ctr">
                        <a:buNone/>
                      </a:pPr>
                      <a:r>
                        <a:rPr lang="en-US" sz="1300" b="1" i="0" u="none" strike="noStrike" noProof="0">
                          <a:latin typeface="Arial"/>
                        </a:rPr>
                        <a:t>F2</a:t>
                      </a:r>
                      <a:endParaRPr lang="en-US" sz="1300" b="1" dirty="0"/>
                    </a:p>
                  </a:txBody>
                  <a:tcPr/>
                </a:tc>
                <a:tc>
                  <a:txBody>
                    <a:bodyPr/>
                    <a:lstStyle/>
                    <a:p>
                      <a:pPr lvl="0" algn="ctr">
                        <a:buNone/>
                      </a:pPr>
                      <a:r>
                        <a:rPr lang="en-US" sz="1300" b="1" i="0" u="none" strike="noStrike" noProof="0">
                          <a:latin typeface="Arial"/>
                        </a:rPr>
                        <a:t>F1</a:t>
                      </a:r>
                      <a:endParaRPr lang="en-US" sz="1300" b="1" dirty="0"/>
                    </a:p>
                  </a:txBody>
                  <a:tcPr/>
                </a:tc>
                <a:extLst>
                  <a:ext uri="{0D108BD9-81ED-4DB2-BD59-A6C34878D82A}">
                    <a16:rowId xmlns:a16="http://schemas.microsoft.com/office/drawing/2014/main" val="5796656"/>
                  </a:ext>
                </a:extLst>
              </a:tr>
              <a:tr h="370840">
                <a:tc>
                  <a:txBody>
                    <a:bodyPr/>
                    <a:lstStyle/>
                    <a:p>
                      <a:r>
                        <a:rPr lang="en-US" sz="1200" b="0" i="1" dirty="0"/>
                        <a:t>Repurchase Rate</a:t>
                      </a:r>
                    </a:p>
                  </a:txBody>
                  <a:tcPr>
                    <a:noFill/>
                  </a:tcPr>
                </a:tc>
                <a:tc>
                  <a:txBody>
                    <a:bodyPr/>
                    <a:lstStyle/>
                    <a:p>
                      <a:pPr lvl="0" algn="ctr">
                        <a:buNone/>
                      </a:pPr>
                      <a:r>
                        <a:rPr lang="en-US" sz="1200" b="0" i="1" dirty="0"/>
                        <a:t>3%</a:t>
                      </a:r>
                    </a:p>
                  </a:txBody>
                  <a:tcPr>
                    <a:noFill/>
                  </a:tcPr>
                </a:tc>
                <a:tc>
                  <a:txBody>
                    <a:bodyPr/>
                    <a:lstStyle/>
                    <a:p>
                      <a:pPr lvl="0" algn="ctr">
                        <a:buNone/>
                      </a:pPr>
                      <a:r>
                        <a:rPr lang="en-US" sz="1200" b="0" i="1" dirty="0"/>
                        <a:t>2%</a:t>
                      </a:r>
                    </a:p>
                  </a:txBody>
                  <a:tcPr>
                    <a:noFill/>
                  </a:tcPr>
                </a:tc>
                <a:tc>
                  <a:txBody>
                    <a:bodyPr/>
                    <a:lstStyle/>
                    <a:p>
                      <a:pPr lvl="0" algn="ctr">
                        <a:buNone/>
                      </a:pPr>
                      <a:r>
                        <a:rPr lang="en-US" sz="1200" b="0" i="1" dirty="0"/>
                        <a:t>1%</a:t>
                      </a:r>
                    </a:p>
                  </a:txBody>
                  <a:tcPr>
                    <a:noFill/>
                  </a:tcPr>
                </a:tc>
                <a:extLst>
                  <a:ext uri="{0D108BD9-81ED-4DB2-BD59-A6C34878D82A}">
                    <a16:rowId xmlns:a16="http://schemas.microsoft.com/office/drawing/2014/main" val="342993417"/>
                  </a:ext>
                </a:extLst>
              </a:tr>
            </a:tbl>
          </a:graphicData>
        </a:graphic>
      </p:graphicFrame>
      <p:graphicFrame>
        <p:nvGraphicFramePr>
          <p:cNvPr id="18" name="Table 17">
            <a:extLst>
              <a:ext uri="{FF2B5EF4-FFF2-40B4-BE49-F238E27FC236}">
                <a16:creationId xmlns:a16="http://schemas.microsoft.com/office/drawing/2014/main" id="{3C904617-46DC-405C-B3F0-5B93286A50BB}"/>
              </a:ext>
            </a:extLst>
          </p:cNvPr>
          <p:cNvGraphicFramePr>
            <a:graphicFrameLocks noGrp="1"/>
          </p:cNvGraphicFramePr>
          <p:nvPr>
            <p:extLst>
              <p:ext uri="{D42A27DB-BD31-4B8C-83A1-F6EECF244321}">
                <p14:modId xmlns:p14="http://schemas.microsoft.com/office/powerpoint/2010/main" val="596441074"/>
              </p:ext>
            </p:extLst>
          </p:nvPr>
        </p:nvGraphicFramePr>
        <p:xfrm>
          <a:off x="4670655" y="1438344"/>
          <a:ext cx="3115771" cy="2311400"/>
        </p:xfrm>
        <a:graphic>
          <a:graphicData uri="http://schemas.openxmlformats.org/drawingml/2006/table">
            <a:tbl>
              <a:tblPr firstRow="1" bandRow="1">
                <a:tableStyleId>{5C22544A-7EE6-4342-B048-85BDC9FD1C3A}</a:tableStyleId>
              </a:tblPr>
              <a:tblGrid>
                <a:gridCol w="715849">
                  <a:extLst>
                    <a:ext uri="{9D8B030D-6E8A-4147-A177-3AD203B41FA5}">
                      <a16:colId xmlns:a16="http://schemas.microsoft.com/office/drawing/2014/main" val="3558129462"/>
                    </a:ext>
                  </a:extLst>
                </a:gridCol>
                <a:gridCol w="943863">
                  <a:extLst>
                    <a:ext uri="{9D8B030D-6E8A-4147-A177-3AD203B41FA5}">
                      <a16:colId xmlns:a16="http://schemas.microsoft.com/office/drawing/2014/main" val="1049930210"/>
                    </a:ext>
                  </a:extLst>
                </a:gridCol>
                <a:gridCol w="656085">
                  <a:extLst>
                    <a:ext uri="{9D8B030D-6E8A-4147-A177-3AD203B41FA5}">
                      <a16:colId xmlns:a16="http://schemas.microsoft.com/office/drawing/2014/main" val="59311352"/>
                    </a:ext>
                  </a:extLst>
                </a:gridCol>
                <a:gridCol w="799974">
                  <a:extLst>
                    <a:ext uri="{9D8B030D-6E8A-4147-A177-3AD203B41FA5}">
                      <a16:colId xmlns:a16="http://schemas.microsoft.com/office/drawing/2014/main" val="340075515"/>
                    </a:ext>
                  </a:extLst>
                </a:gridCol>
              </a:tblGrid>
              <a:tr h="370840">
                <a:tc>
                  <a:txBody>
                    <a:bodyPr/>
                    <a:lstStyle/>
                    <a:p>
                      <a:pPr algn="ctr"/>
                      <a:r>
                        <a:rPr lang="en-US" sz="1300" dirty="0"/>
                        <a:t>Top 1</a:t>
                      </a:r>
                    </a:p>
                  </a:txBody>
                  <a:tcPr/>
                </a:tc>
                <a:tc>
                  <a:txBody>
                    <a:bodyPr/>
                    <a:lstStyle/>
                    <a:p>
                      <a:pPr algn="ctr"/>
                      <a:r>
                        <a:rPr lang="en-US" sz="1300" dirty="0"/>
                        <a:t>Top 2</a:t>
                      </a:r>
                    </a:p>
                  </a:txBody>
                  <a:tcPr/>
                </a:tc>
                <a:tc>
                  <a:txBody>
                    <a:bodyPr/>
                    <a:lstStyle/>
                    <a:p>
                      <a:pPr algn="ctr"/>
                      <a:r>
                        <a:rPr lang="en-US" sz="1300" dirty="0"/>
                        <a:t>Top 3</a:t>
                      </a:r>
                    </a:p>
                  </a:txBody>
                  <a:tcPr/>
                </a:tc>
                <a:tc>
                  <a:txBody>
                    <a:bodyPr/>
                    <a:lstStyle/>
                    <a:p>
                      <a:pPr algn="ctr"/>
                      <a:r>
                        <a:rPr lang="en-US" sz="1300" dirty="0"/>
                        <a:t>Total</a:t>
                      </a:r>
                    </a:p>
                  </a:txBody>
                  <a:tcPr/>
                </a:tc>
                <a:extLst>
                  <a:ext uri="{0D108BD9-81ED-4DB2-BD59-A6C34878D82A}">
                    <a16:rowId xmlns:a16="http://schemas.microsoft.com/office/drawing/2014/main" val="2907259190"/>
                  </a:ext>
                </a:extLst>
              </a:tr>
              <a:tr h="370840">
                <a:tc>
                  <a:txBody>
                    <a:bodyPr/>
                    <a:lstStyle/>
                    <a:p>
                      <a:pPr lvl="0" algn="ctr">
                        <a:buNone/>
                      </a:pPr>
                      <a:r>
                        <a:rPr lang="en-US" sz="1300" dirty="0"/>
                        <a:t>2 / 1</a:t>
                      </a:r>
                    </a:p>
                  </a:txBody>
                  <a:tcPr/>
                </a:tc>
                <a:tc>
                  <a:txBody>
                    <a:bodyPr/>
                    <a:lstStyle/>
                    <a:p>
                      <a:pPr lvl="0" algn="ctr">
                        <a:buNone/>
                      </a:pPr>
                      <a:r>
                        <a:rPr lang="en-US" sz="1300" dirty="0"/>
                        <a:t>3 / 1.584</a:t>
                      </a:r>
                    </a:p>
                  </a:txBody>
                  <a:tcPr/>
                </a:tc>
                <a:tc>
                  <a:txBody>
                    <a:bodyPr/>
                    <a:lstStyle/>
                    <a:p>
                      <a:pPr algn="ctr"/>
                      <a:r>
                        <a:rPr lang="en-US" sz="1300" dirty="0"/>
                        <a:t>1 / 2</a:t>
                      </a:r>
                    </a:p>
                  </a:txBody>
                  <a:tcPr/>
                </a:tc>
                <a:tc>
                  <a:txBody>
                    <a:bodyPr/>
                    <a:lstStyle/>
                    <a:p>
                      <a:pPr algn="ctr"/>
                      <a:r>
                        <a:rPr lang="en-US" sz="1300" dirty="0"/>
                        <a:t>4.3928</a:t>
                      </a:r>
                    </a:p>
                  </a:txBody>
                  <a:tcPr/>
                </a:tc>
                <a:extLst>
                  <a:ext uri="{0D108BD9-81ED-4DB2-BD59-A6C34878D82A}">
                    <a16:rowId xmlns:a16="http://schemas.microsoft.com/office/drawing/2014/main" val="150542838"/>
                  </a:ext>
                </a:extLst>
              </a:tr>
              <a:tr h="370840">
                <a:tc>
                  <a:txBody>
                    <a:bodyPr/>
                    <a:lstStyle/>
                    <a:p>
                      <a:pPr lvl="0" algn="ctr">
                        <a:buNone/>
                      </a:pPr>
                      <a:r>
                        <a:rPr lang="en-US" sz="1300" dirty="0"/>
                        <a:t>1 / 1</a:t>
                      </a:r>
                    </a:p>
                  </a:txBody>
                  <a:tcPr/>
                </a:tc>
                <a:tc>
                  <a:txBody>
                    <a:bodyPr/>
                    <a:lstStyle/>
                    <a:p>
                      <a:pPr lvl="0" algn="ctr">
                        <a:buNone/>
                      </a:pPr>
                      <a:r>
                        <a:rPr lang="en-US" sz="1300" dirty="0"/>
                        <a:t>3 / 1.584</a:t>
                      </a:r>
                    </a:p>
                  </a:txBody>
                  <a:tcPr/>
                </a:tc>
                <a:tc>
                  <a:txBody>
                    <a:bodyPr/>
                    <a:lstStyle/>
                    <a:p>
                      <a:pPr algn="ctr"/>
                      <a:r>
                        <a:rPr lang="en-US" sz="1300" dirty="0"/>
                        <a:t>2 / 2</a:t>
                      </a:r>
                    </a:p>
                  </a:txBody>
                  <a:tcPr/>
                </a:tc>
                <a:tc>
                  <a:txBody>
                    <a:bodyPr/>
                    <a:lstStyle/>
                    <a:p>
                      <a:pPr algn="ctr"/>
                      <a:r>
                        <a:rPr lang="en-US" sz="1300" dirty="0"/>
                        <a:t>3.8928</a:t>
                      </a:r>
                    </a:p>
                  </a:txBody>
                  <a:tcPr/>
                </a:tc>
                <a:extLst>
                  <a:ext uri="{0D108BD9-81ED-4DB2-BD59-A6C34878D82A}">
                    <a16:rowId xmlns:a16="http://schemas.microsoft.com/office/drawing/2014/main" val="3045980014"/>
                  </a:ext>
                </a:extLst>
              </a:tr>
              <a:tr h="370840">
                <a:tc>
                  <a:txBody>
                    <a:bodyPr/>
                    <a:lstStyle/>
                    <a:p>
                      <a:pPr lvl="0" algn="ctr">
                        <a:buNone/>
                      </a:pPr>
                      <a:r>
                        <a:rPr lang="en-US" sz="1300" dirty="0"/>
                        <a:t>3 / 1</a:t>
                      </a:r>
                    </a:p>
                  </a:txBody>
                  <a:tcPr/>
                </a:tc>
                <a:tc>
                  <a:txBody>
                    <a:bodyPr/>
                    <a:lstStyle/>
                    <a:p>
                      <a:pPr lvl="0" algn="ctr">
                        <a:buNone/>
                      </a:pPr>
                      <a:r>
                        <a:rPr lang="en-US" sz="1300" dirty="0"/>
                        <a:t>1 / 1.584</a:t>
                      </a:r>
                    </a:p>
                  </a:txBody>
                  <a:tcPr/>
                </a:tc>
                <a:tc>
                  <a:txBody>
                    <a:bodyPr/>
                    <a:lstStyle/>
                    <a:p>
                      <a:pPr algn="ctr"/>
                      <a:r>
                        <a:rPr lang="en-US" sz="1300" dirty="0"/>
                        <a:t>2 / 2</a:t>
                      </a:r>
                    </a:p>
                  </a:txBody>
                  <a:tcPr/>
                </a:tc>
                <a:tc>
                  <a:txBody>
                    <a:bodyPr/>
                    <a:lstStyle/>
                    <a:p>
                      <a:pPr algn="ctr"/>
                      <a:r>
                        <a:rPr lang="en-US" sz="1300" dirty="0"/>
                        <a:t>4.6309</a:t>
                      </a:r>
                    </a:p>
                  </a:txBody>
                  <a:tcPr/>
                </a:tc>
                <a:extLst>
                  <a:ext uri="{0D108BD9-81ED-4DB2-BD59-A6C34878D82A}">
                    <a16:rowId xmlns:a16="http://schemas.microsoft.com/office/drawing/2014/main" val="4234525640"/>
                  </a:ext>
                </a:extLst>
              </a:tr>
              <a:tr h="370840">
                <a:tc>
                  <a:txBody>
                    <a:bodyPr/>
                    <a:lstStyle/>
                    <a:p>
                      <a:pPr lvl="0" algn="ctr">
                        <a:buNone/>
                      </a:pPr>
                      <a:r>
                        <a:rPr lang="en-US" sz="1300" b="1" dirty="0"/>
                        <a:t>3 / 1</a:t>
                      </a:r>
                    </a:p>
                  </a:txBody>
                  <a:tcPr/>
                </a:tc>
                <a:tc>
                  <a:txBody>
                    <a:bodyPr/>
                    <a:lstStyle/>
                    <a:p>
                      <a:pPr lvl="0" algn="ctr">
                        <a:buNone/>
                      </a:pPr>
                      <a:r>
                        <a:rPr lang="en-US" sz="1300" b="1" dirty="0"/>
                        <a:t>2 / 1.584</a:t>
                      </a:r>
                    </a:p>
                  </a:txBody>
                  <a:tcPr/>
                </a:tc>
                <a:tc>
                  <a:txBody>
                    <a:bodyPr/>
                    <a:lstStyle/>
                    <a:p>
                      <a:pPr algn="ctr"/>
                      <a:r>
                        <a:rPr lang="en-US" sz="1300" b="1" dirty="0"/>
                        <a:t>1 / 2</a:t>
                      </a:r>
                    </a:p>
                  </a:txBody>
                  <a:tcPr/>
                </a:tc>
                <a:tc>
                  <a:txBody>
                    <a:bodyPr/>
                    <a:lstStyle/>
                    <a:p>
                      <a:pPr algn="ctr"/>
                      <a:r>
                        <a:rPr lang="en-US" sz="1300" b="1" dirty="0">
                          <a:highlight>
                            <a:srgbClr val="FFFF00"/>
                          </a:highlight>
                        </a:rPr>
                        <a:t>4.7619</a:t>
                      </a:r>
                    </a:p>
                  </a:txBody>
                  <a:tcPr/>
                </a:tc>
                <a:extLst>
                  <a:ext uri="{0D108BD9-81ED-4DB2-BD59-A6C34878D82A}">
                    <a16:rowId xmlns:a16="http://schemas.microsoft.com/office/drawing/2014/main" val="5796656"/>
                  </a:ext>
                </a:extLst>
              </a:tr>
              <a:tr h="370840">
                <a:tc>
                  <a:txBody>
                    <a:bodyPr/>
                    <a:lstStyle/>
                    <a:p>
                      <a:pPr lvl="0" algn="ctr">
                        <a:buNone/>
                      </a:pPr>
                      <a:r>
                        <a:rPr lang="en-US" sz="1200" b="0" i="1" dirty="0"/>
                        <a:t>log(2) </a:t>
                      </a:r>
                    </a:p>
                    <a:p>
                      <a:pPr lvl="0" algn="ctr">
                        <a:buNone/>
                      </a:pPr>
                      <a:r>
                        <a:rPr lang="en-US" sz="1200" b="0" i="1" dirty="0"/>
                        <a:t>= 1</a:t>
                      </a:r>
                    </a:p>
                  </a:txBody>
                  <a:tcPr>
                    <a:noFill/>
                  </a:tcPr>
                </a:tc>
                <a:tc>
                  <a:txBody>
                    <a:bodyPr/>
                    <a:lstStyle/>
                    <a:p>
                      <a:pPr lvl="0" algn="ctr">
                        <a:buNone/>
                      </a:pPr>
                      <a:r>
                        <a:rPr lang="en-US" sz="1200" b="0" i="1" dirty="0"/>
                        <a:t>log(3) </a:t>
                      </a:r>
                    </a:p>
                    <a:p>
                      <a:pPr lvl="0" algn="ctr">
                        <a:buNone/>
                      </a:pPr>
                      <a:r>
                        <a:rPr lang="en-US" sz="1200" b="0" i="1" dirty="0"/>
                        <a:t>= 1.584</a:t>
                      </a:r>
                    </a:p>
                  </a:txBody>
                  <a:tcPr>
                    <a:noFill/>
                  </a:tcPr>
                </a:tc>
                <a:tc>
                  <a:txBody>
                    <a:bodyPr/>
                    <a:lstStyle/>
                    <a:p>
                      <a:pPr lvl="0" algn="ctr">
                        <a:buNone/>
                      </a:pPr>
                      <a:r>
                        <a:rPr lang="en-US" sz="1200" b="0" i="1" dirty="0"/>
                        <a:t>log(4) </a:t>
                      </a:r>
                    </a:p>
                    <a:p>
                      <a:pPr lvl="0" algn="ctr">
                        <a:buNone/>
                      </a:pPr>
                      <a:r>
                        <a:rPr lang="en-US" sz="1200" b="0" i="1" dirty="0"/>
                        <a:t>= 2</a:t>
                      </a:r>
                    </a:p>
                  </a:txBody>
                  <a:tcPr>
                    <a:noFill/>
                  </a:tcPr>
                </a:tc>
                <a:tc>
                  <a:txBody>
                    <a:bodyPr/>
                    <a:lstStyle/>
                    <a:p>
                      <a:pPr lvl="0" algn="ctr">
                        <a:buNone/>
                      </a:pPr>
                      <a:endParaRPr lang="en-US" sz="1200" b="0" i="1" dirty="0"/>
                    </a:p>
                  </a:txBody>
                  <a:tcPr>
                    <a:noFill/>
                  </a:tcPr>
                </a:tc>
                <a:extLst>
                  <a:ext uri="{0D108BD9-81ED-4DB2-BD59-A6C34878D82A}">
                    <a16:rowId xmlns:a16="http://schemas.microsoft.com/office/drawing/2014/main" val="342993417"/>
                  </a:ext>
                </a:extLst>
              </a:tr>
            </a:tbl>
          </a:graphicData>
        </a:graphic>
      </p:graphicFrame>
      <p:sp>
        <p:nvSpPr>
          <p:cNvPr id="4" name="Plus Sign 3">
            <a:extLst>
              <a:ext uri="{FF2B5EF4-FFF2-40B4-BE49-F238E27FC236}">
                <a16:creationId xmlns:a16="http://schemas.microsoft.com/office/drawing/2014/main" id="{3519A2B1-B0BB-4CEF-AA8D-914CFBE61637}"/>
              </a:ext>
            </a:extLst>
          </p:cNvPr>
          <p:cNvSpPr/>
          <p:nvPr/>
        </p:nvSpPr>
        <p:spPr>
          <a:xfrm>
            <a:off x="5262208" y="1903632"/>
            <a:ext cx="194057" cy="153741"/>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20" name="Plus Sign 19">
            <a:extLst>
              <a:ext uri="{FF2B5EF4-FFF2-40B4-BE49-F238E27FC236}">
                <a16:creationId xmlns:a16="http://schemas.microsoft.com/office/drawing/2014/main" id="{A0CBEB02-2EF6-4AA3-AFCE-0BF0F9A280C0}"/>
              </a:ext>
            </a:extLst>
          </p:cNvPr>
          <p:cNvSpPr/>
          <p:nvPr/>
        </p:nvSpPr>
        <p:spPr>
          <a:xfrm>
            <a:off x="6187025" y="1903632"/>
            <a:ext cx="194057" cy="153741"/>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8" name="Equals 7">
            <a:extLst>
              <a:ext uri="{FF2B5EF4-FFF2-40B4-BE49-F238E27FC236}">
                <a16:creationId xmlns:a16="http://schemas.microsoft.com/office/drawing/2014/main" id="{CC632B0E-A4B7-41C6-BABA-5902CEBDF0BF}"/>
              </a:ext>
            </a:extLst>
          </p:cNvPr>
          <p:cNvSpPr/>
          <p:nvPr/>
        </p:nvSpPr>
        <p:spPr>
          <a:xfrm>
            <a:off x="6867190" y="1909674"/>
            <a:ext cx="175054" cy="136585"/>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solidFill>
                <a:schemeClr val="tx1"/>
              </a:solidFill>
            </a:endParaRPr>
          </a:p>
        </p:txBody>
      </p:sp>
      <p:sp>
        <p:nvSpPr>
          <p:cNvPr id="21" name="Plus Sign 20">
            <a:extLst>
              <a:ext uri="{FF2B5EF4-FFF2-40B4-BE49-F238E27FC236}">
                <a16:creationId xmlns:a16="http://schemas.microsoft.com/office/drawing/2014/main" id="{11EE16AD-2589-4DDB-A8DB-49805F3E9033}"/>
              </a:ext>
            </a:extLst>
          </p:cNvPr>
          <p:cNvSpPr/>
          <p:nvPr/>
        </p:nvSpPr>
        <p:spPr>
          <a:xfrm>
            <a:off x="5262707" y="2338486"/>
            <a:ext cx="194057" cy="153741"/>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22" name="Plus Sign 21">
            <a:extLst>
              <a:ext uri="{FF2B5EF4-FFF2-40B4-BE49-F238E27FC236}">
                <a16:creationId xmlns:a16="http://schemas.microsoft.com/office/drawing/2014/main" id="{0511C171-74F5-4986-A242-90A90876F1DF}"/>
              </a:ext>
            </a:extLst>
          </p:cNvPr>
          <p:cNvSpPr/>
          <p:nvPr/>
        </p:nvSpPr>
        <p:spPr>
          <a:xfrm>
            <a:off x="6187524" y="2338486"/>
            <a:ext cx="194057" cy="153741"/>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23" name="Equals 22">
            <a:extLst>
              <a:ext uri="{FF2B5EF4-FFF2-40B4-BE49-F238E27FC236}">
                <a16:creationId xmlns:a16="http://schemas.microsoft.com/office/drawing/2014/main" id="{8461A7F1-3800-44C7-B869-CFE5D4FC11C0}"/>
              </a:ext>
            </a:extLst>
          </p:cNvPr>
          <p:cNvSpPr/>
          <p:nvPr/>
        </p:nvSpPr>
        <p:spPr>
          <a:xfrm>
            <a:off x="6867689" y="2344528"/>
            <a:ext cx="175054" cy="136585"/>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solidFill>
                <a:schemeClr val="tx1"/>
              </a:solidFill>
            </a:endParaRPr>
          </a:p>
        </p:txBody>
      </p:sp>
      <p:sp>
        <p:nvSpPr>
          <p:cNvPr id="24" name="Plus Sign 23">
            <a:extLst>
              <a:ext uri="{FF2B5EF4-FFF2-40B4-BE49-F238E27FC236}">
                <a16:creationId xmlns:a16="http://schemas.microsoft.com/office/drawing/2014/main" id="{81F27A6F-F926-4169-91AA-56A11AA14545}"/>
              </a:ext>
            </a:extLst>
          </p:cNvPr>
          <p:cNvSpPr/>
          <p:nvPr/>
        </p:nvSpPr>
        <p:spPr>
          <a:xfrm>
            <a:off x="5262208" y="2683253"/>
            <a:ext cx="194057" cy="153741"/>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25" name="Plus Sign 24">
            <a:extLst>
              <a:ext uri="{FF2B5EF4-FFF2-40B4-BE49-F238E27FC236}">
                <a16:creationId xmlns:a16="http://schemas.microsoft.com/office/drawing/2014/main" id="{C726C55F-62C4-4CF7-BB55-FAB88E0745CA}"/>
              </a:ext>
            </a:extLst>
          </p:cNvPr>
          <p:cNvSpPr/>
          <p:nvPr/>
        </p:nvSpPr>
        <p:spPr>
          <a:xfrm>
            <a:off x="6187025" y="2683253"/>
            <a:ext cx="194057" cy="153741"/>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26" name="Equals 25">
            <a:extLst>
              <a:ext uri="{FF2B5EF4-FFF2-40B4-BE49-F238E27FC236}">
                <a16:creationId xmlns:a16="http://schemas.microsoft.com/office/drawing/2014/main" id="{650C29C5-CC5D-4BA4-A221-803D8B461E38}"/>
              </a:ext>
            </a:extLst>
          </p:cNvPr>
          <p:cNvSpPr/>
          <p:nvPr/>
        </p:nvSpPr>
        <p:spPr>
          <a:xfrm>
            <a:off x="6867190" y="2689295"/>
            <a:ext cx="175054" cy="136585"/>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solidFill>
                <a:schemeClr val="tx1"/>
              </a:solidFill>
            </a:endParaRPr>
          </a:p>
        </p:txBody>
      </p:sp>
      <p:sp>
        <p:nvSpPr>
          <p:cNvPr id="27" name="Plus Sign 26">
            <a:extLst>
              <a:ext uri="{FF2B5EF4-FFF2-40B4-BE49-F238E27FC236}">
                <a16:creationId xmlns:a16="http://schemas.microsoft.com/office/drawing/2014/main" id="{FA7CC6AA-5991-4691-8FE3-8A637020C30C}"/>
              </a:ext>
            </a:extLst>
          </p:cNvPr>
          <p:cNvSpPr/>
          <p:nvPr/>
        </p:nvSpPr>
        <p:spPr>
          <a:xfrm>
            <a:off x="5262208" y="3019487"/>
            <a:ext cx="194057" cy="153741"/>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28" name="Plus Sign 27">
            <a:extLst>
              <a:ext uri="{FF2B5EF4-FFF2-40B4-BE49-F238E27FC236}">
                <a16:creationId xmlns:a16="http://schemas.microsoft.com/office/drawing/2014/main" id="{865F8401-76F5-4C44-8065-0F3A2B7702F4}"/>
              </a:ext>
            </a:extLst>
          </p:cNvPr>
          <p:cNvSpPr/>
          <p:nvPr/>
        </p:nvSpPr>
        <p:spPr>
          <a:xfrm>
            <a:off x="6187025" y="3019487"/>
            <a:ext cx="194057" cy="153741"/>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29" name="Equals 28">
            <a:extLst>
              <a:ext uri="{FF2B5EF4-FFF2-40B4-BE49-F238E27FC236}">
                <a16:creationId xmlns:a16="http://schemas.microsoft.com/office/drawing/2014/main" id="{498B766B-999A-4426-80D0-1DCC1CC2D946}"/>
              </a:ext>
            </a:extLst>
          </p:cNvPr>
          <p:cNvSpPr/>
          <p:nvPr/>
        </p:nvSpPr>
        <p:spPr>
          <a:xfrm>
            <a:off x="6867190" y="3025529"/>
            <a:ext cx="175054" cy="136585"/>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solidFill>
                <a:schemeClr val="tx1"/>
              </a:solidFill>
            </a:endParaRPr>
          </a:p>
        </p:txBody>
      </p:sp>
      <p:graphicFrame>
        <p:nvGraphicFramePr>
          <p:cNvPr id="11" name="Table 10">
            <a:extLst>
              <a:ext uri="{FF2B5EF4-FFF2-40B4-BE49-F238E27FC236}">
                <a16:creationId xmlns:a16="http://schemas.microsoft.com/office/drawing/2014/main" id="{F88B1BE3-AEC9-47A8-B6AE-D2FC21ACD035}"/>
              </a:ext>
            </a:extLst>
          </p:cNvPr>
          <p:cNvGraphicFramePr>
            <a:graphicFrameLocks noGrp="1"/>
          </p:cNvGraphicFramePr>
          <p:nvPr>
            <p:extLst>
              <p:ext uri="{D42A27DB-BD31-4B8C-83A1-F6EECF244321}">
                <p14:modId xmlns:p14="http://schemas.microsoft.com/office/powerpoint/2010/main" val="1587206893"/>
              </p:ext>
            </p:extLst>
          </p:nvPr>
        </p:nvGraphicFramePr>
        <p:xfrm>
          <a:off x="8566769" y="1843140"/>
          <a:ext cx="2288995" cy="1112520"/>
        </p:xfrm>
        <a:graphic>
          <a:graphicData uri="http://schemas.openxmlformats.org/drawingml/2006/table">
            <a:tbl>
              <a:tblPr bandRow="1">
                <a:tableStyleId>{5C22544A-7EE6-4342-B048-85BDC9FD1C3A}</a:tableStyleId>
              </a:tblPr>
              <a:tblGrid>
                <a:gridCol w="1406869">
                  <a:extLst>
                    <a:ext uri="{9D8B030D-6E8A-4147-A177-3AD203B41FA5}">
                      <a16:colId xmlns:a16="http://schemas.microsoft.com/office/drawing/2014/main" val="3169837978"/>
                    </a:ext>
                  </a:extLst>
                </a:gridCol>
                <a:gridCol w="882126">
                  <a:extLst>
                    <a:ext uri="{9D8B030D-6E8A-4147-A177-3AD203B41FA5}">
                      <a16:colId xmlns:a16="http://schemas.microsoft.com/office/drawing/2014/main" val="747757937"/>
                    </a:ext>
                  </a:extLst>
                </a:gridCol>
              </a:tblGrid>
              <a:tr h="370840">
                <a:tc>
                  <a:txBody>
                    <a:bodyPr/>
                    <a:lstStyle/>
                    <a:p>
                      <a:pPr lvl="0" algn="ctr">
                        <a:buNone/>
                      </a:pPr>
                      <a:r>
                        <a:rPr lang="en-US" sz="1300" dirty="0"/>
                        <a:t>4.3928 / </a:t>
                      </a:r>
                      <a:r>
                        <a:rPr lang="en-US" sz="1300" b="1" dirty="0">
                          <a:highlight>
                            <a:srgbClr val="FFFF00"/>
                          </a:highlight>
                        </a:rPr>
                        <a:t>4.7619</a:t>
                      </a:r>
                    </a:p>
                  </a:txBody>
                  <a:tcPr/>
                </a:tc>
                <a:tc>
                  <a:txBody>
                    <a:bodyPr/>
                    <a:lstStyle/>
                    <a:p>
                      <a:pPr lvl="0" algn="ctr">
                        <a:buNone/>
                      </a:pPr>
                      <a:r>
                        <a:rPr lang="en-US" sz="1300" dirty="0"/>
                        <a:t>0.9225</a:t>
                      </a:r>
                    </a:p>
                  </a:txBody>
                  <a:tcPr/>
                </a:tc>
                <a:extLst>
                  <a:ext uri="{0D108BD9-81ED-4DB2-BD59-A6C34878D82A}">
                    <a16:rowId xmlns:a16="http://schemas.microsoft.com/office/drawing/2014/main" val="646509672"/>
                  </a:ext>
                </a:extLst>
              </a:tr>
              <a:tr h="370840">
                <a:tc>
                  <a:txBody>
                    <a:bodyPr/>
                    <a:lstStyle/>
                    <a:p>
                      <a:pPr lvl="0" algn="ctr">
                        <a:buNone/>
                      </a:pPr>
                      <a:r>
                        <a:rPr lang="en-US" sz="1300" dirty="0"/>
                        <a:t>3.8928 / </a:t>
                      </a:r>
                      <a:r>
                        <a:rPr lang="en-US" sz="1300" b="0" dirty="0">
                          <a:highlight>
                            <a:srgbClr val="FFFF00"/>
                          </a:highlight>
                        </a:rPr>
                        <a:t>4.7619</a:t>
                      </a:r>
                    </a:p>
                  </a:txBody>
                  <a:tcPr/>
                </a:tc>
                <a:tc>
                  <a:txBody>
                    <a:bodyPr/>
                    <a:lstStyle/>
                    <a:p>
                      <a:pPr lvl="0" algn="ctr">
                        <a:buNone/>
                      </a:pPr>
                      <a:r>
                        <a:rPr lang="en-US" sz="1300" dirty="0"/>
                        <a:t>0.8175</a:t>
                      </a:r>
                    </a:p>
                  </a:txBody>
                  <a:tcPr/>
                </a:tc>
                <a:extLst>
                  <a:ext uri="{0D108BD9-81ED-4DB2-BD59-A6C34878D82A}">
                    <a16:rowId xmlns:a16="http://schemas.microsoft.com/office/drawing/2014/main" val="2833308533"/>
                  </a:ext>
                </a:extLst>
              </a:tr>
              <a:tr h="370840">
                <a:tc>
                  <a:txBody>
                    <a:bodyPr/>
                    <a:lstStyle/>
                    <a:p>
                      <a:pPr lvl="0" algn="ctr">
                        <a:buNone/>
                      </a:pPr>
                      <a:r>
                        <a:rPr lang="en-US" sz="1300" dirty="0"/>
                        <a:t>4.6309 / </a:t>
                      </a:r>
                      <a:r>
                        <a:rPr lang="en-US" sz="1300" dirty="0">
                          <a:highlight>
                            <a:srgbClr val="FFFF00"/>
                          </a:highlight>
                        </a:rPr>
                        <a:t>4.7619</a:t>
                      </a:r>
                    </a:p>
                  </a:txBody>
                  <a:tcPr/>
                </a:tc>
                <a:tc>
                  <a:txBody>
                    <a:bodyPr/>
                    <a:lstStyle/>
                    <a:p>
                      <a:pPr lvl="0" algn="ctr">
                        <a:buNone/>
                      </a:pPr>
                      <a:r>
                        <a:rPr lang="en-US" sz="1300" dirty="0"/>
                        <a:t>0.9724</a:t>
                      </a:r>
                    </a:p>
                  </a:txBody>
                  <a:tcPr/>
                </a:tc>
                <a:extLst>
                  <a:ext uri="{0D108BD9-81ED-4DB2-BD59-A6C34878D82A}">
                    <a16:rowId xmlns:a16="http://schemas.microsoft.com/office/drawing/2014/main" val="3955050503"/>
                  </a:ext>
                </a:extLst>
              </a:tr>
            </a:tbl>
          </a:graphicData>
        </a:graphic>
      </p:graphicFrame>
      <p:cxnSp>
        <p:nvCxnSpPr>
          <p:cNvPr id="31" name="Straight Arrow Connector 30">
            <a:extLst>
              <a:ext uri="{FF2B5EF4-FFF2-40B4-BE49-F238E27FC236}">
                <a16:creationId xmlns:a16="http://schemas.microsoft.com/office/drawing/2014/main" id="{5EAD8C08-55A8-402E-8169-E097E0F864B5}"/>
              </a:ext>
            </a:extLst>
          </p:cNvPr>
          <p:cNvCxnSpPr>
            <a:cxnSpLocks/>
          </p:cNvCxnSpPr>
          <p:nvPr/>
        </p:nvCxnSpPr>
        <p:spPr>
          <a:xfrm>
            <a:off x="7950679" y="2425020"/>
            <a:ext cx="34805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A4108401-59B7-40D2-B65B-67B68E69DBCC}"/>
              </a:ext>
            </a:extLst>
          </p:cNvPr>
          <p:cNvCxnSpPr>
            <a:cxnSpLocks/>
          </p:cNvCxnSpPr>
          <p:nvPr/>
        </p:nvCxnSpPr>
        <p:spPr>
          <a:xfrm>
            <a:off x="7950679" y="2754262"/>
            <a:ext cx="34805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Equals 32">
            <a:extLst>
              <a:ext uri="{FF2B5EF4-FFF2-40B4-BE49-F238E27FC236}">
                <a16:creationId xmlns:a16="http://schemas.microsoft.com/office/drawing/2014/main" id="{8A4BCA24-999B-4BC1-B3A4-B33582FCD615}"/>
              </a:ext>
            </a:extLst>
          </p:cNvPr>
          <p:cNvSpPr/>
          <p:nvPr/>
        </p:nvSpPr>
        <p:spPr>
          <a:xfrm>
            <a:off x="9890844" y="1947087"/>
            <a:ext cx="175054" cy="136585"/>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solidFill>
                <a:schemeClr val="tx1"/>
              </a:solidFill>
            </a:endParaRPr>
          </a:p>
        </p:txBody>
      </p:sp>
      <p:sp>
        <p:nvSpPr>
          <p:cNvPr id="36" name="Equals 35">
            <a:extLst>
              <a:ext uri="{FF2B5EF4-FFF2-40B4-BE49-F238E27FC236}">
                <a16:creationId xmlns:a16="http://schemas.microsoft.com/office/drawing/2014/main" id="{534D548F-3085-4E6C-9863-26090E9F44DC}"/>
              </a:ext>
            </a:extLst>
          </p:cNvPr>
          <p:cNvSpPr/>
          <p:nvPr/>
        </p:nvSpPr>
        <p:spPr>
          <a:xfrm>
            <a:off x="9890844" y="2314788"/>
            <a:ext cx="175054" cy="136585"/>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solidFill>
                <a:schemeClr val="tx1"/>
              </a:solidFill>
            </a:endParaRPr>
          </a:p>
        </p:txBody>
      </p:sp>
      <p:sp>
        <p:nvSpPr>
          <p:cNvPr id="37" name="Equals 36">
            <a:extLst>
              <a:ext uri="{FF2B5EF4-FFF2-40B4-BE49-F238E27FC236}">
                <a16:creationId xmlns:a16="http://schemas.microsoft.com/office/drawing/2014/main" id="{64405503-3032-4146-855C-ADC6DFCBDAA1}"/>
              </a:ext>
            </a:extLst>
          </p:cNvPr>
          <p:cNvSpPr/>
          <p:nvPr/>
        </p:nvSpPr>
        <p:spPr>
          <a:xfrm>
            <a:off x="9890844" y="2659298"/>
            <a:ext cx="175054" cy="136585"/>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solidFill>
                <a:schemeClr val="tx1"/>
              </a:solidFill>
            </a:endParaRPr>
          </a:p>
        </p:txBody>
      </p:sp>
      <p:sp>
        <p:nvSpPr>
          <p:cNvPr id="30" name="TextBox 29">
            <a:extLst>
              <a:ext uri="{FF2B5EF4-FFF2-40B4-BE49-F238E27FC236}">
                <a16:creationId xmlns:a16="http://schemas.microsoft.com/office/drawing/2014/main" id="{2F644AA2-9BF2-4D12-8BED-ECBDBA657252}"/>
              </a:ext>
            </a:extLst>
          </p:cNvPr>
          <p:cNvSpPr txBox="1"/>
          <p:nvPr/>
        </p:nvSpPr>
        <p:spPr>
          <a:xfrm>
            <a:off x="8968577" y="1438972"/>
            <a:ext cx="1480767" cy="276999"/>
          </a:xfrm>
          <a:prstGeom prst="rect">
            <a:avLst/>
          </a:prstGeom>
          <a:solidFill>
            <a:schemeClr val="accent4">
              <a:lumMod val="20000"/>
              <a:lumOff val="80000"/>
            </a:schemeClr>
          </a:solidFill>
        </p:spPr>
        <p:txBody>
          <a:bodyPr wrap="square" rtlCol="0">
            <a:spAutoFit/>
          </a:bodyPr>
          <a:lstStyle/>
          <a:p>
            <a:pPr algn="ctr"/>
            <a:r>
              <a:rPr lang="en-GB" sz="1200" b="1" dirty="0">
                <a:latin typeface="Arial" panose="020B0604020202020204" pitchFamily="34" charset="0"/>
                <a:cs typeface="Arial" panose="020B0604020202020204" pitchFamily="34" charset="0"/>
              </a:rPr>
              <a:t>Sample Result</a:t>
            </a:r>
            <a:endParaRPr lang="en-HK" sz="1200" b="1" dirty="0" err="1">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4FB694B7-D2E8-43AA-A6B1-C9FE128750A2}"/>
              </a:ext>
            </a:extLst>
          </p:cNvPr>
          <p:cNvSpPr txBox="1"/>
          <p:nvPr/>
        </p:nvSpPr>
        <p:spPr>
          <a:xfrm>
            <a:off x="796164" y="3949346"/>
            <a:ext cx="10781722" cy="1451872"/>
          </a:xfrm>
          <a:prstGeom prst="rect">
            <a:avLst/>
          </a:prstGeom>
          <a:noFill/>
        </p:spPr>
        <p:txBody>
          <a:bodyPr wrap="square" rtlCol="0">
            <a:spAutoFit/>
          </a:bodyPr>
          <a:lstStyle/>
          <a:p>
            <a:pPr marL="342900" indent="-342900">
              <a:lnSpc>
                <a:spcPct val="120000"/>
              </a:lnSpc>
              <a:buFont typeface="+mj-lt"/>
              <a:buAutoNum type="arabicParenR"/>
            </a:pPr>
            <a:r>
              <a:rPr lang="en-GB" sz="1500" dirty="0">
                <a:latin typeface="Arial" panose="020B0604020202020204" pitchFamily="34" charset="0"/>
                <a:cs typeface="Arial" panose="020B0604020202020204" pitchFamily="34" charset="0"/>
              </a:rPr>
              <a:t>Identify the </a:t>
            </a:r>
            <a:r>
              <a:rPr lang="en-GB" sz="1500" dirty="0">
                <a:highlight>
                  <a:srgbClr val="FFFF00"/>
                </a:highlight>
                <a:latin typeface="Arial" panose="020B0604020202020204" pitchFamily="34" charset="0"/>
                <a:cs typeface="Arial" panose="020B0604020202020204" pitchFamily="34" charset="0"/>
              </a:rPr>
              <a:t>ideal ranking </a:t>
            </a:r>
            <a:r>
              <a:rPr lang="en-GB" sz="1500" dirty="0">
                <a:latin typeface="Arial" panose="020B0604020202020204" pitchFamily="34" charset="0"/>
                <a:cs typeface="Arial" panose="020B0604020202020204" pitchFamily="34" charset="0"/>
              </a:rPr>
              <a:t>for each cross-sell triggers permutations, based on the repurchase rate</a:t>
            </a:r>
          </a:p>
          <a:p>
            <a:pPr marL="342900" indent="-342900">
              <a:lnSpc>
                <a:spcPct val="120000"/>
              </a:lnSpc>
              <a:buFont typeface="+mj-lt"/>
              <a:buAutoNum type="arabicParenR"/>
            </a:pPr>
            <a:r>
              <a:rPr lang="en-GB" sz="1500" dirty="0">
                <a:latin typeface="Arial" panose="020B0604020202020204" pitchFamily="34" charset="0"/>
                <a:cs typeface="Arial" panose="020B0604020202020204" pitchFamily="34" charset="0"/>
              </a:rPr>
              <a:t>Higher weightage assigned to the ideal Top 1 flag</a:t>
            </a:r>
          </a:p>
          <a:p>
            <a:pPr marL="342900" indent="-342900">
              <a:lnSpc>
                <a:spcPct val="120000"/>
              </a:lnSpc>
              <a:buFont typeface="+mj-lt"/>
              <a:buAutoNum type="arabicParenR"/>
            </a:pPr>
            <a:r>
              <a:rPr lang="en-GB" sz="1500" dirty="0">
                <a:latin typeface="Arial" panose="020B0604020202020204" pitchFamily="34" charset="0"/>
                <a:cs typeface="Arial" panose="020B0604020202020204" pitchFamily="34" charset="0"/>
              </a:rPr>
              <a:t>Compare respective customer’s predicted ranking versus the ideal ranking for same permutation</a:t>
            </a:r>
          </a:p>
          <a:p>
            <a:pPr marL="342900" indent="-342900">
              <a:lnSpc>
                <a:spcPct val="120000"/>
              </a:lnSpc>
              <a:buFont typeface="+mj-lt"/>
              <a:buAutoNum type="arabicParenR"/>
            </a:pPr>
            <a:r>
              <a:rPr lang="en-GB" sz="1500" dirty="0">
                <a:latin typeface="Arial" panose="020B0604020202020204" pitchFamily="34" charset="0"/>
                <a:cs typeface="Arial" panose="020B0604020202020204" pitchFamily="34" charset="0"/>
              </a:rPr>
              <a:t>Derive the NDCG by getting the average from #3</a:t>
            </a:r>
          </a:p>
          <a:p>
            <a:pPr marL="285750" indent="-285750">
              <a:lnSpc>
                <a:spcPct val="120000"/>
              </a:lnSpc>
              <a:buFont typeface="Arial" panose="020B0604020202020204" pitchFamily="34" charset="0"/>
              <a:buChar char="•"/>
            </a:pPr>
            <a:endParaRPr lang="en-HK" sz="1500" dirty="0" err="1">
              <a:latin typeface="Arial" panose="020B0604020202020204" pitchFamily="34" charset="0"/>
              <a:cs typeface="Arial" panose="020B0604020202020204" pitchFamily="34" charset="0"/>
            </a:endParaRPr>
          </a:p>
        </p:txBody>
      </p:sp>
      <p:sp>
        <p:nvSpPr>
          <p:cNvPr id="39" name="Oval 38">
            <a:extLst>
              <a:ext uri="{FF2B5EF4-FFF2-40B4-BE49-F238E27FC236}">
                <a16:creationId xmlns:a16="http://schemas.microsoft.com/office/drawing/2014/main" id="{CCD18B34-1DA1-45DF-A65F-59962E5774DC}"/>
              </a:ext>
            </a:extLst>
          </p:cNvPr>
          <p:cNvSpPr/>
          <p:nvPr/>
        </p:nvSpPr>
        <p:spPr>
          <a:xfrm>
            <a:off x="539695" y="3145148"/>
            <a:ext cx="332317" cy="289984"/>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cs typeface="Arial"/>
              </a:rPr>
              <a:t>1</a:t>
            </a:r>
            <a:endParaRPr lang="en-US" sz="1200" b="1" dirty="0"/>
          </a:p>
        </p:txBody>
      </p:sp>
      <p:sp>
        <p:nvSpPr>
          <p:cNvPr id="40" name="Oval 39">
            <a:extLst>
              <a:ext uri="{FF2B5EF4-FFF2-40B4-BE49-F238E27FC236}">
                <a16:creationId xmlns:a16="http://schemas.microsoft.com/office/drawing/2014/main" id="{2990DEAD-80B3-4A05-8FC9-EC9AF770542D}"/>
              </a:ext>
            </a:extLst>
          </p:cNvPr>
          <p:cNvSpPr/>
          <p:nvPr/>
        </p:nvSpPr>
        <p:spPr>
          <a:xfrm>
            <a:off x="8351027" y="1725395"/>
            <a:ext cx="332317" cy="289984"/>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cs typeface="Arial"/>
              </a:rPr>
              <a:t>3</a:t>
            </a:r>
            <a:endParaRPr lang="en-US" sz="1200" b="1" dirty="0"/>
          </a:p>
        </p:txBody>
      </p:sp>
      <p:sp>
        <p:nvSpPr>
          <p:cNvPr id="41" name="Oval 40">
            <a:extLst>
              <a:ext uri="{FF2B5EF4-FFF2-40B4-BE49-F238E27FC236}">
                <a16:creationId xmlns:a16="http://schemas.microsoft.com/office/drawing/2014/main" id="{3226A4F6-F963-4B94-AED8-1F6F3C1B9723}"/>
              </a:ext>
            </a:extLst>
          </p:cNvPr>
          <p:cNvSpPr/>
          <p:nvPr/>
        </p:nvSpPr>
        <p:spPr>
          <a:xfrm>
            <a:off x="4516804" y="3147372"/>
            <a:ext cx="332317" cy="289984"/>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cs typeface="Arial"/>
              </a:rPr>
              <a:t>2</a:t>
            </a:r>
            <a:endParaRPr lang="en-US" sz="1200" b="1" dirty="0"/>
          </a:p>
        </p:txBody>
      </p:sp>
      <p:sp>
        <p:nvSpPr>
          <p:cNvPr id="42" name="Oval 41">
            <a:extLst>
              <a:ext uri="{FF2B5EF4-FFF2-40B4-BE49-F238E27FC236}">
                <a16:creationId xmlns:a16="http://schemas.microsoft.com/office/drawing/2014/main" id="{695E572D-5C21-4CBE-8842-D387990ED805}"/>
              </a:ext>
            </a:extLst>
          </p:cNvPr>
          <p:cNvSpPr/>
          <p:nvPr/>
        </p:nvSpPr>
        <p:spPr>
          <a:xfrm>
            <a:off x="8774256" y="2997368"/>
            <a:ext cx="332317" cy="289984"/>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cs typeface="Arial"/>
              </a:rPr>
              <a:t>4</a:t>
            </a:r>
            <a:endParaRPr lang="en-US" sz="1200" b="1" dirty="0"/>
          </a:p>
        </p:txBody>
      </p:sp>
      <p:sp>
        <p:nvSpPr>
          <p:cNvPr id="43" name="TextBox 42">
            <a:extLst>
              <a:ext uri="{FF2B5EF4-FFF2-40B4-BE49-F238E27FC236}">
                <a16:creationId xmlns:a16="http://schemas.microsoft.com/office/drawing/2014/main" id="{30B23546-4632-4955-9BD6-92F7413D56B1}"/>
              </a:ext>
            </a:extLst>
          </p:cNvPr>
          <p:cNvSpPr txBox="1"/>
          <p:nvPr/>
        </p:nvSpPr>
        <p:spPr>
          <a:xfrm>
            <a:off x="847294" y="5401218"/>
            <a:ext cx="1906271" cy="369332"/>
          </a:xfrm>
          <a:prstGeom prst="rect">
            <a:avLst/>
          </a:prstGeom>
          <a:solidFill>
            <a:schemeClr val="tx1">
              <a:lumMod val="20000"/>
              <a:lumOff val="80000"/>
            </a:schemeClr>
          </a:solidFill>
          <a:effectLst>
            <a:outerShdw blurRad="50800" dist="38100" dir="2700000" algn="tl" rotWithShape="0">
              <a:prstClr val="black">
                <a:alpha val="40000"/>
              </a:prstClr>
            </a:outerShdw>
          </a:effectLst>
        </p:spPr>
        <p:txBody>
          <a:bodyPr wrap="square" rtlCol="0">
            <a:spAutoFit/>
          </a:bodyPr>
          <a:lstStyle/>
          <a:p>
            <a:pPr algn="ctr"/>
            <a:r>
              <a:rPr lang="en-GB" b="1" dirty="0">
                <a:latin typeface="Arial" panose="020B0604020202020204" pitchFamily="34" charset="0"/>
                <a:cs typeface="Arial" panose="020B0604020202020204" pitchFamily="34" charset="0"/>
              </a:rPr>
              <a:t>Model Results:</a:t>
            </a:r>
            <a:endParaRPr lang="en-HK" b="1" dirty="0" err="1">
              <a:latin typeface="Arial" panose="020B0604020202020204" pitchFamily="34" charset="0"/>
              <a:cs typeface="Arial" panose="020B0604020202020204" pitchFamily="34" charset="0"/>
            </a:endParaRPr>
          </a:p>
        </p:txBody>
      </p:sp>
      <p:sp>
        <p:nvSpPr>
          <p:cNvPr id="44" name="TextBox 43">
            <a:extLst>
              <a:ext uri="{FF2B5EF4-FFF2-40B4-BE49-F238E27FC236}">
                <a16:creationId xmlns:a16="http://schemas.microsoft.com/office/drawing/2014/main" id="{87E27E03-8018-4903-83F7-A723C66A0279}"/>
              </a:ext>
            </a:extLst>
          </p:cNvPr>
          <p:cNvSpPr txBox="1"/>
          <p:nvPr/>
        </p:nvSpPr>
        <p:spPr>
          <a:xfrm>
            <a:off x="7786426" y="5435636"/>
            <a:ext cx="3508291" cy="276999"/>
          </a:xfrm>
          <a:prstGeom prst="rect">
            <a:avLst/>
          </a:prstGeom>
          <a:noFill/>
        </p:spPr>
        <p:txBody>
          <a:bodyPr wrap="square" rtlCol="0">
            <a:spAutoFit/>
          </a:bodyPr>
          <a:lstStyle/>
          <a:p>
            <a:r>
              <a:rPr lang="en-GB" sz="1200" i="1" dirty="0">
                <a:latin typeface="Arial" panose="020B0604020202020204" pitchFamily="34" charset="0"/>
                <a:cs typeface="Arial" panose="020B0604020202020204" pitchFamily="34" charset="0"/>
              </a:rPr>
              <a:t>* 89% of the Top 3 flags are rightly predicted</a:t>
            </a:r>
            <a:endParaRPr lang="en-HK" sz="1200" i="1" dirty="0" err="1">
              <a:latin typeface="Arial" panose="020B0604020202020204" pitchFamily="34" charset="0"/>
              <a:cs typeface="Arial" panose="020B0604020202020204" pitchFamily="34" charset="0"/>
            </a:endParaRPr>
          </a:p>
        </p:txBody>
      </p:sp>
      <p:sp>
        <p:nvSpPr>
          <p:cNvPr id="45" name="Arrow: Right 44">
            <a:extLst>
              <a:ext uri="{FF2B5EF4-FFF2-40B4-BE49-F238E27FC236}">
                <a16:creationId xmlns:a16="http://schemas.microsoft.com/office/drawing/2014/main" id="{3D215053-1859-476C-AFE7-AB6D14F34545}"/>
              </a:ext>
            </a:extLst>
          </p:cNvPr>
          <p:cNvSpPr/>
          <p:nvPr/>
        </p:nvSpPr>
        <p:spPr>
          <a:xfrm>
            <a:off x="7488169" y="5498413"/>
            <a:ext cx="245315" cy="184666"/>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Tree>
    <p:extLst>
      <p:ext uri="{BB962C8B-B14F-4D97-AF65-F5344CB8AC3E}">
        <p14:creationId xmlns:p14="http://schemas.microsoft.com/office/powerpoint/2010/main" val="39031275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36"/>
        <p:cNvGrpSpPr/>
        <p:nvPr/>
      </p:nvGrpSpPr>
      <p:grpSpPr>
        <a:xfrm>
          <a:off x="0" y="0"/>
          <a:ext cx="0" cy="0"/>
          <a:chOff x="0" y="0"/>
          <a:chExt cx="0" cy="0"/>
        </a:xfrm>
      </p:grpSpPr>
      <p:grpSp>
        <p:nvGrpSpPr>
          <p:cNvPr id="137" name="Google Shape;137;p17"/>
          <p:cNvGrpSpPr/>
          <p:nvPr/>
        </p:nvGrpSpPr>
        <p:grpSpPr>
          <a:xfrm>
            <a:off x="2450540" y="5268035"/>
            <a:ext cx="6796133" cy="917607"/>
            <a:chOff x="2023475" y="3607225"/>
            <a:chExt cx="5097100" cy="713200"/>
          </a:xfrm>
        </p:grpSpPr>
        <p:sp>
          <p:nvSpPr>
            <p:cNvPr id="138" name="Google Shape;138;p17"/>
            <p:cNvSpPr/>
            <p:nvPr/>
          </p:nvSpPr>
          <p:spPr>
            <a:xfrm>
              <a:off x="2023475" y="3607225"/>
              <a:ext cx="5097100" cy="713200"/>
            </a:xfrm>
            <a:custGeom>
              <a:avLst/>
              <a:gdLst/>
              <a:ahLst/>
              <a:cxnLst/>
              <a:rect l="l" t="t" r="r" b="b"/>
              <a:pathLst>
                <a:path w="203884" h="28528" extrusionOk="0">
                  <a:moveTo>
                    <a:pt x="1" y="0"/>
                  </a:moveTo>
                  <a:lnTo>
                    <a:pt x="1" y="16002"/>
                  </a:lnTo>
                  <a:cubicBezTo>
                    <a:pt x="1" y="22884"/>
                    <a:pt x="5644" y="28528"/>
                    <a:pt x="12526" y="28528"/>
                  </a:cubicBezTo>
                  <a:lnTo>
                    <a:pt x="191358" y="28528"/>
                  </a:lnTo>
                  <a:cubicBezTo>
                    <a:pt x="198240" y="28528"/>
                    <a:pt x="203883" y="22884"/>
                    <a:pt x="203883" y="16002"/>
                  </a:cubicBezTo>
                  <a:lnTo>
                    <a:pt x="203883" y="0"/>
                  </a:lnTo>
                  <a:close/>
                </a:path>
              </a:pathLst>
            </a:custGeom>
            <a:solidFill>
              <a:srgbClr val="F3F3F3"/>
            </a:solidFill>
            <a:ln>
              <a:noFill/>
            </a:ln>
          </p:spPr>
          <p:txBody>
            <a:bodyPr spcFirstLastPara="1" wrap="square" lIns="121900" tIns="121900" rIns="121900" bIns="121900" anchor="ctr" anchorCtr="0">
              <a:noAutofit/>
            </a:bodyPr>
            <a:lstStyle/>
            <a:p>
              <a:endParaRPr sz="2400"/>
            </a:p>
          </p:txBody>
        </p:sp>
        <p:sp>
          <p:nvSpPr>
            <p:cNvPr id="139" name="Google Shape;139;p17"/>
            <p:cNvSpPr/>
            <p:nvPr/>
          </p:nvSpPr>
          <p:spPr>
            <a:xfrm>
              <a:off x="2789650" y="3607225"/>
              <a:ext cx="926325" cy="713200"/>
            </a:xfrm>
            <a:custGeom>
              <a:avLst/>
              <a:gdLst/>
              <a:ahLst/>
              <a:cxnLst/>
              <a:rect l="l" t="t" r="r" b="b"/>
              <a:pathLst>
                <a:path w="37053" h="28528" extrusionOk="0">
                  <a:moveTo>
                    <a:pt x="0" y="0"/>
                  </a:moveTo>
                  <a:lnTo>
                    <a:pt x="0" y="28528"/>
                  </a:lnTo>
                  <a:lnTo>
                    <a:pt x="31826" y="28528"/>
                  </a:lnTo>
                  <a:lnTo>
                    <a:pt x="31826" y="5239"/>
                  </a:lnTo>
                  <a:lnTo>
                    <a:pt x="37052" y="0"/>
                  </a:lnTo>
                  <a:close/>
                </a:path>
              </a:pathLst>
            </a:custGeom>
            <a:solidFill>
              <a:srgbClr val="D31145"/>
            </a:solidFill>
            <a:ln>
              <a:noFill/>
            </a:ln>
          </p:spPr>
          <p:txBody>
            <a:bodyPr spcFirstLastPara="1" wrap="square" lIns="121900" tIns="121900" rIns="243833" bIns="121900" anchor="ctr" anchorCtr="0">
              <a:noAutofit/>
            </a:bodyPr>
            <a:lstStyle/>
            <a:p>
              <a:pPr algn="ctr"/>
              <a:r>
                <a:rPr lang="en" sz="3500">
                  <a:solidFill>
                    <a:srgbClr val="FFFFFF"/>
                  </a:solidFill>
                  <a:latin typeface="Fira Sans Extra Condensed Medium"/>
                  <a:ea typeface="Fira Sans Extra Condensed Medium"/>
                  <a:cs typeface="Fira Sans Extra Condensed Medium"/>
                  <a:sym typeface="Fira Sans Extra Condensed Medium"/>
                </a:rPr>
                <a:t>05</a:t>
              </a:r>
              <a:endParaRPr sz="3500">
                <a:solidFill>
                  <a:srgbClr val="FFFFFF"/>
                </a:solidFill>
                <a:latin typeface="Fira Sans Extra Condensed Medium"/>
                <a:ea typeface="Fira Sans Extra Condensed Medium"/>
                <a:cs typeface="Fira Sans Extra Condensed Medium"/>
                <a:sym typeface="Fira Sans Extra Condensed Medium"/>
              </a:endParaRPr>
            </a:p>
          </p:txBody>
        </p:sp>
        <p:sp>
          <p:nvSpPr>
            <p:cNvPr id="142" name="Google Shape;142;p17"/>
            <p:cNvSpPr txBox="1"/>
            <p:nvPr/>
          </p:nvSpPr>
          <p:spPr>
            <a:xfrm>
              <a:off x="3897819" y="3780974"/>
              <a:ext cx="3210900" cy="365700"/>
            </a:xfrm>
            <a:prstGeom prst="rect">
              <a:avLst/>
            </a:prstGeom>
            <a:noFill/>
            <a:ln>
              <a:noFill/>
            </a:ln>
          </p:spPr>
          <p:txBody>
            <a:bodyPr spcFirstLastPara="1" wrap="square" lIns="121900" tIns="121900" rIns="121900" bIns="121900" anchor="ctr" anchorCtr="0">
              <a:noAutofit/>
            </a:bodyPr>
            <a:lstStyle/>
            <a:p>
              <a:r>
                <a:rPr lang="en" sz="2000" dirty="0">
                  <a:solidFill>
                    <a:srgbClr val="434343"/>
                  </a:solidFill>
                  <a:latin typeface="Fira Sans Extra Condensed Medium"/>
                  <a:ea typeface="Fira Sans Extra Condensed Medium"/>
                  <a:cs typeface="Fira Sans Extra Condensed Medium"/>
                  <a:sym typeface="Fira Sans Extra Condensed Medium"/>
                </a:rPr>
                <a:t>Business Impacts</a:t>
              </a:r>
            </a:p>
          </p:txBody>
        </p:sp>
      </p:grpSp>
      <p:grpSp>
        <p:nvGrpSpPr>
          <p:cNvPr id="143" name="Google Shape;143;p17"/>
          <p:cNvGrpSpPr/>
          <p:nvPr/>
        </p:nvGrpSpPr>
        <p:grpSpPr>
          <a:xfrm>
            <a:off x="2450540" y="3124481"/>
            <a:ext cx="6796133" cy="919151"/>
            <a:chOff x="2023475" y="2800275"/>
            <a:chExt cx="5097100" cy="714400"/>
          </a:xfrm>
        </p:grpSpPr>
        <p:sp>
          <p:nvSpPr>
            <p:cNvPr id="144" name="Google Shape;144;p17"/>
            <p:cNvSpPr/>
            <p:nvPr/>
          </p:nvSpPr>
          <p:spPr>
            <a:xfrm>
              <a:off x="2023475" y="2800875"/>
              <a:ext cx="5097100" cy="713800"/>
            </a:xfrm>
            <a:custGeom>
              <a:avLst/>
              <a:gdLst/>
              <a:ahLst/>
              <a:cxnLst/>
              <a:rect l="l" t="t" r="r" b="b"/>
              <a:pathLst>
                <a:path w="203884" h="28552" extrusionOk="0">
                  <a:moveTo>
                    <a:pt x="1" y="0"/>
                  </a:moveTo>
                  <a:lnTo>
                    <a:pt x="1" y="28552"/>
                  </a:lnTo>
                  <a:lnTo>
                    <a:pt x="203883" y="28552"/>
                  </a:lnTo>
                  <a:lnTo>
                    <a:pt x="203883" y="0"/>
                  </a:lnTo>
                  <a:close/>
                </a:path>
              </a:pathLst>
            </a:custGeom>
            <a:solidFill>
              <a:srgbClr val="F3F3F3"/>
            </a:solidFill>
            <a:ln>
              <a:noFill/>
            </a:ln>
          </p:spPr>
          <p:txBody>
            <a:bodyPr spcFirstLastPara="1" wrap="square" lIns="121900" tIns="121900" rIns="121900" bIns="121900" anchor="ctr" anchorCtr="0">
              <a:noAutofit/>
            </a:bodyPr>
            <a:lstStyle/>
            <a:p>
              <a:endParaRPr sz="2400"/>
            </a:p>
          </p:txBody>
        </p:sp>
        <p:sp>
          <p:nvSpPr>
            <p:cNvPr id="145" name="Google Shape;145;p17"/>
            <p:cNvSpPr/>
            <p:nvPr/>
          </p:nvSpPr>
          <p:spPr>
            <a:xfrm>
              <a:off x="2789650" y="2800275"/>
              <a:ext cx="926325" cy="714400"/>
            </a:xfrm>
            <a:custGeom>
              <a:avLst/>
              <a:gdLst/>
              <a:ahLst/>
              <a:cxnLst/>
              <a:rect l="l" t="t" r="r" b="b"/>
              <a:pathLst>
                <a:path w="37053" h="28576" extrusionOk="0">
                  <a:moveTo>
                    <a:pt x="30956" y="1"/>
                  </a:moveTo>
                  <a:lnTo>
                    <a:pt x="30956" y="24"/>
                  </a:lnTo>
                  <a:lnTo>
                    <a:pt x="0" y="24"/>
                  </a:lnTo>
                  <a:lnTo>
                    <a:pt x="0" y="28576"/>
                  </a:lnTo>
                  <a:lnTo>
                    <a:pt x="31826" y="28576"/>
                  </a:lnTo>
                  <a:lnTo>
                    <a:pt x="31826" y="5239"/>
                  </a:lnTo>
                  <a:lnTo>
                    <a:pt x="37052" y="1"/>
                  </a:lnTo>
                  <a:close/>
                </a:path>
              </a:pathLst>
            </a:custGeom>
            <a:solidFill>
              <a:srgbClr val="D31145"/>
            </a:solidFill>
            <a:ln>
              <a:noFill/>
            </a:ln>
          </p:spPr>
          <p:txBody>
            <a:bodyPr spcFirstLastPara="1" wrap="square" lIns="121900" tIns="121900" rIns="243833" bIns="121900" anchor="ctr" anchorCtr="0">
              <a:noAutofit/>
            </a:bodyPr>
            <a:lstStyle/>
            <a:p>
              <a:pPr algn="ctr"/>
              <a:r>
                <a:rPr lang="en" sz="3500">
                  <a:solidFill>
                    <a:srgbClr val="FFFFFF"/>
                  </a:solidFill>
                  <a:latin typeface="Fira Sans Extra Condensed Medium"/>
                  <a:ea typeface="Fira Sans Extra Condensed Medium"/>
                  <a:cs typeface="Fira Sans Extra Condensed Medium"/>
                  <a:sym typeface="Fira Sans Extra Condensed Medium"/>
                </a:rPr>
                <a:t>03</a:t>
              </a:r>
              <a:endParaRPr sz="3500">
                <a:solidFill>
                  <a:srgbClr val="FFFFFF"/>
                </a:solidFill>
                <a:latin typeface="Fira Sans Extra Condensed Medium"/>
                <a:ea typeface="Fira Sans Extra Condensed Medium"/>
                <a:cs typeface="Fira Sans Extra Condensed Medium"/>
                <a:sym typeface="Fira Sans Extra Condensed Medium"/>
              </a:endParaRPr>
            </a:p>
          </p:txBody>
        </p:sp>
        <p:sp>
          <p:nvSpPr>
            <p:cNvPr id="148" name="Google Shape;148;p17"/>
            <p:cNvSpPr txBox="1"/>
            <p:nvPr/>
          </p:nvSpPr>
          <p:spPr>
            <a:xfrm>
              <a:off x="3854140" y="2970875"/>
              <a:ext cx="3146533" cy="365700"/>
            </a:xfrm>
            <a:prstGeom prst="rect">
              <a:avLst/>
            </a:prstGeom>
            <a:noFill/>
            <a:ln>
              <a:noFill/>
            </a:ln>
          </p:spPr>
          <p:txBody>
            <a:bodyPr spcFirstLastPara="1" wrap="square" lIns="121900" tIns="121900" rIns="121900" bIns="121900" anchor="ctr" anchorCtr="0">
              <a:noAutofit/>
            </a:bodyPr>
            <a:lstStyle/>
            <a:p>
              <a:r>
                <a:rPr lang="en-HK" sz="2000">
                  <a:solidFill>
                    <a:srgbClr val="434343"/>
                  </a:solidFill>
                  <a:latin typeface="Fira Sans Extra Condensed Medium"/>
                  <a:ea typeface="Fira Sans Extra Condensed Medium"/>
                  <a:cs typeface="Fira Sans Extra Condensed Medium"/>
                  <a:sym typeface="Fira Sans Extra Condensed Medium"/>
                </a:rPr>
                <a:t>Model Performance And Validation</a:t>
              </a:r>
            </a:p>
          </p:txBody>
        </p:sp>
      </p:grpSp>
      <p:grpSp>
        <p:nvGrpSpPr>
          <p:cNvPr id="149" name="Google Shape;149;p17"/>
          <p:cNvGrpSpPr/>
          <p:nvPr/>
        </p:nvGrpSpPr>
        <p:grpSpPr>
          <a:xfrm>
            <a:off x="2450540" y="2056577"/>
            <a:ext cx="6796133" cy="918380"/>
            <a:chOff x="2023475" y="1994525"/>
            <a:chExt cx="5097100" cy="713800"/>
          </a:xfrm>
        </p:grpSpPr>
        <p:sp>
          <p:nvSpPr>
            <p:cNvPr id="150" name="Google Shape;150;p17"/>
            <p:cNvSpPr/>
            <p:nvPr/>
          </p:nvSpPr>
          <p:spPr>
            <a:xfrm>
              <a:off x="2023475" y="1994525"/>
              <a:ext cx="5097100" cy="713800"/>
            </a:xfrm>
            <a:custGeom>
              <a:avLst/>
              <a:gdLst/>
              <a:ahLst/>
              <a:cxnLst/>
              <a:rect l="l" t="t" r="r" b="b"/>
              <a:pathLst>
                <a:path w="203884" h="28552" extrusionOk="0">
                  <a:moveTo>
                    <a:pt x="1" y="1"/>
                  </a:moveTo>
                  <a:lnTo>
                    <a:pt x="1" y="28552"/>
                  </a:lnTo>
                  <a:lnTo>
                    <a:pt x="203883" y="28552"/>
                  </a:lnTo>
                  <a:lnTo>
                    <a:pt x="203883" y="1"/>
                  </a:lnTo>
                  <a:close/>
                </a:path>
              </a:pathLst>
            </a:custGeom>
            <a:solidFill>
              <a:srgbClr val="F3F3F3"/>
            </a:solidFill>
            <a:ln>
              <a:noFill/>
            </a:ln>
          </p:spPr>
          <p:txBody>
            <a:bodyPr spcFirstLastPara="1" wrap="square" lIns="121900" tIns="121900" rIns="121900" bIns="121900" anchor="ctr" anchorCtr="0">
              <a:noAutofit/>
            </a:bodyPr>
            <a:lstStyle/>
            <a:p>
              <a:endParaRPr sz="2400"/>
            </a:p>
          </p:txBody>
        </p:sp>
        <p:sp>
          <p:nvSpPr>
            <p:cNvPr id="151" name="Google Shape;151;p17"/>
            <p:cNvSpPr/>
            <p:nvPr/>
          </p:nvSpPr>
          <p:spPr>
            <a:xfrm>
              <a:off x="2789650" y="1994525"/>
              <a:ext cx="925725" cy="713800"/>
            </a:xfrm>
            <a:custGeom>
              <a:avLst/>
              <a:gdLst/>
              <a:ahLst/>
              <a:cxnLst/>
              <a:rect l="l" t="t" r="r" b="b"/>
              <a:pathLst>
                <a:path w="37029" h="28552" extrusionOk="0">
                  <a:moveTo>
                    <a:pt x="0" y="1"/>
                  </a:moveTo>
                  <a:lnTo>
                    <a:pt x="0" y="28552"/>
                  </a:lnTo>
                  <a:lnTo>
                    <a:pt x="31826" y="28552"/>
                  </a:lnTo>
                  <a:lnTo>
                    <a:pt x="31826" y="5215"/>
                  </a:lnTo>
                  <a:lnTo>
                    <a:pt x="37029" y="1"/>
                  </a:lnTo>
                  <a:close/>
                </a:path>
              </a:pathLst>
            </a:custGeom>
            <a:solidFill>
              <a:srgbClr val="D31145"/>
            </a:solidFill>
            <a:ln>
              <a:noFill/>
            </a:ln>
          </p:spPr>
          <p:txBody>
            <a:bodyPr spcFirstLastPara="1" wrap="square" lIns="121900" tIns="121900" rIns="243833" bIns="121900" anchor="ctr" anchorCtr="0">
              <a:noAutofit/>
            </a:bodyPr>
            <a:lstStyle/>
            <a:p>
              <a:pPr algn="ctr"/>
              <a:r>
                <a:rPr lang="en" sz="3500">
                  <a:solidFill>
                    <a:srgbClr val="FFFFFF"/>
                  </a:solidFill>
                  <a:latin typeface="Fira Sans Extra Condensed Medium"/>
                  <a:ea typeface="Fira Sans Extra Condensed Medium"/>
                  <a:cs typeface="Fira Sans Extra Condensed Medium"/>
                  <a:sym typeface="Fira Sans Extra Condensed Medium"/>
                </a:rPr>
                <a:t>02</a:t>
              </a:r>
              <a:endParaRPr sz="3500">
                <a:solidFill>
                  <a:srgbClr val="FFFFFF"/>
                </a:solidFill>
                <a:latin typeface="Fira Sans Extra Condensed Medium"/>
                <a:ea typeface="Fira Sans Extra Condensed Medium"/>
                <a:cs typeface="Fira Sans Extra Condensed Medium"/>
                <a:sym typeface="Fira Sans Extra Condensed Medium"/>
              </a:endParaRPr>
            </a:p>
          </p:txBody>
        </p:sp>
        <p:sp>
          <p:nvSpPr>
            <p:cNvPr id="154" name="Google Shape;154;p17"/>
            <p:cNvSpPr txBox="1"/>
            <p:nvPr/>
          </p:nvSpPr>
          <p:spPr>
            <a:xfrm>
              <a:off x="3812525" y="2173663"/>
              <a:ext cx="3210900" cy="365700"/>
            </a:xfrm>
            <a:prstGeom prst="rect">
              <a:avLst/>
            </a:prstGeom>
            <a:noFill/>
            <a:ln>
              <a:noFill/>
            </a:ln>
          </p:spPr>
          <p:txBody>
            <a:bodyPr spcFirstLastPara="1" wrap="square" lIns="121900" tIns="121900" rIns="121900" bIns="121900" anchor="ctr" anchorCtr="0">
              <a:noAutofit/>
            </a:bodyPr>
            <a:lstStyle/>
            <a:p>
              <a:r>
                <a:rPr lang="en" sz="2000">
                  <a:solidFill>
                    <a:srgbClr val="434343"/>
                  </a:solidFill>
                  <a:latin typeface="Fira Sans Extra Condensed Medium"/>
                  <a:ea typeface="Fira Sans Extra Condensed Medium"/>
                  <a:cs typeface="Fira Sans Extra Condensed Medium"/>
                  <a:sym typeface="Fira Sans Extra Condensed Medium"/>
                </a:rPr>
                <a:t>Triggers And Actions</a:t>
              </a:r>
              <a:endParaRPr sz="2000">
                <a:solidFill>
                  <a:srgbClr val="434343"/>
                </a:solidFill>
                <a:latin typeface="Fira Sans Extra Condensed Medium"/>
                <a:ea typeface="Fira Sans Extra Condensed Medium"/>
                <a:cs typeface="Fira Sans Extra Condensed Medium"/>
                <a:sym typeface="Fira Sans Extra Condensed Medium"/>
              </a:endParaRPr>
            </a:p>
          </p:txBody>
        </p:sp>
      </p:grpSp>
      <p:grpSp>
        <p:nvGrpSpPr>
          <p:cNvPr id="155" name="Google Shape;155;p17"/>
          <p:cNvGrpSpPr/>
          <p:nvPr/>
        </p:nvGrpSpPr>
        <p:grpSpPr>
          <a:xfrm>
            <a:off x="2450540" y="991534"/>
            <a:ext cx="7114280" cy="918380"/>
            <a:chOff x="2023475" y="1188175"/>
            <a:chExt cx="5335710" cy="713800"/>
          </a:xfrm>
        </p:grpSpPr>
        <p:sp>
          <p:nvSpPr>
            <p:cNvPr id="156" name="Google Shape;156;p17"/>
            <p:cNvSpPr/>
            <p:nvPr/>
          </p:nvSpPr>
          <p:spPr>
            <a:xfrm>
              <a:off x="2023475" y="1188175"/>
              <a:ext cx="5097100" cy="713800"/>
            </a:xfrm>
            <a:custGeom>
              <a:avLst/>
              <a:gdLst/>
              <a:ahLst/>
              <a:cxnLst/>
              <a:rect l="l" t="t" r="r" b="b"/>
              <a:pathLst>
                <a:path w="203884" h="28552" extrusionOk="0">
                  <a:moveTo>
                    <a:pt x="12526" y="1"/>
                  </a:moveTo>
                  <a:cubicBezTo>
                    <a:pt x="5644" y="1"/>
                    <a:pt x="1" y="5644"/>
                    <a:pt x="1" y="12526"/>
                  </a:cubicBezTo>
                  <a:lnTo>
                    <a:pt x="1" y="28552"/>
                  </a:lnTo>
                  <a:lnTo>
                    <a:pt x="203883" y="28552"/>
                  </a:lnTo>
                  <a:lnTo>
                    <a:pt x="203883" y="12526"/>
                  </a:lnTo>
                  <a:cubicBezTo>
                    <a:pt x="203883" y="5644"/>
                    <a:pt x="198240" y="1"/>
                    <a:pt x="191358" y="1"/>
                  </a:cubicBezTo>
                  <a:close/>
                </a:path>
              </a:pathLst>
            </a:custGeom>
            <a:solidFill>
              <a:srgbClr val="F3F3F3"/>
            </a:solidFill>
            <a:ln>
              <a:noFill/>
            </a:ln>
          </p:spPr>
          <p:txBody>
            <a:bodyPr spcFirstLastPara="1" wrap="square" lIns="121900" tIns="121900" rIns="121900" bIns="121900" anchor="ctr" anchorCtr="0">
              <a:noAutofit/>
            </a:bodyPr>
            <a:lstStyle/>
            <a:p>
              <a:endParaRPr sz="2400"/>
            </a:p>
          </p:txBody>
        </p:sp>
        <p:sp>
          <p:nvSpPr>
            <p:cNvPr id="157" name="Google Shape;157;p17"/>
            <p:cNvSpPr/>
            <p:nvPr/>
          </p:nvSpPr>
          <p:spPr>
            <a:xfrm>
              <a:off x="2789650" y="1188175"/>
              <a:ext cx="925725" cy="713800"/>
            </a:xfrm>
            <a:custGeom>
              <a:avLst/>
              <a:gdLst/>
              <a:ahLst/>
              <a:cxnLst/>
              <a:rect l="l" t="t" r="r" b="b"/>
              <a:pathLst>
                <a:path w="37029" h="28552" extrusionOk="0">
                  <a:moveTo>
                    <a:pt x="0" y="1"/>
                  </a:moveTo>
                  <a:lnTo>
                    <a:pt x="0" y="28552"/>
                  </a:lnTo>
                  <a:lnTo>
                    <a:pt x="31826" y="28552"/>
                  </a:lnTo>
                  <a:lnTo>
                    <a:pt x="31826" y="5215"/>
                  </a:lnTo>
                  <a:lnTo>
                    <a:pt x="37029" y="1"/>
                  </a:lnTo>
                  <a:close/>
                </a:path>
              </a:pathLst>
            </a:custGeom>
            <a:solidFill>
              <a:srgbClr val="D31145"/>
            </a:solidFill>
            <a:ln>
              <a:noFill/>
            </a:ln>
          </p:spPr>
          <p:txBody>
            <a:bodyPr spcFirstLastPara="1" wrap="square" lIns="121900" tIns="121900" rIns="243833" bIns="121900" anchor="ctr" anchorCtr="0">
              <a:noAutofit/>
            </a:bodyPr>
            <a:lstStyle/>
            <a:p>
              <a:pPr algn="ctr"/>
              <a:r>
                <a:rPr lang="en" sz="3500">
                  <a:solidFill>
                    <a:srgbClr val="FFFFFF"/>
                  </a:solidFill>
                  <a:latin typeface="Fira Sans Extra Condensed Medium"/>
                  <a:ea typeface="Fira Sans Extra Condensed Medium"/>
                  <a:cs typeface="Fira Sans Extra Condensed Medium"/>
                  <a:sym typeface="Fira Sans Extra Condensed Medium"/>
                </a:rPr>
                <a:t>01</a:t>
              </a:r>
              <a:endParaRPr sz="3500">
                <a:solidFill>
                  <a:srgbClr val="FFFFFF"/>
                </a:solidFill>
                <a:latin typeface="Fira Sans Extra Condensed Medium"/>
                <a:ea typeface="Fira Sans Extra Condensed Medium"/>
                <a:cs typeface="Fira Sans Extra Condensed Medium"/>
                <a:sym typeface="Fira Sans Extra Condensed Medium"/>
              </a:endParaRPr>
            </a:p>
          </p:txBody>
        </p:sp>
        <p:sp>
          <p:nvSpPr>
            <p:cNvPr id="160" name="Google Shape;160;p17"/>
            <p:cNvSpPr txBox="1"/>
            <p:nvPr/>
          </p:nvSpPr>
          <p:spPr>
            <a:xfrm>
              <a:off x="3812525" y="1399400"/>
              <a:ext cx="3546660" cy="365700"/>
            </a:xfrm>
            <a:prstGeom prst="rect">
              <a:avLst/>
            </a:prstGeom>
            <a:noFill/>
            <a:ln>
              <a:noFill/>
            </a:ln>
          </p:spPr>
          <p:txBody>
            <a:bodyPr spcFirstLastPara="1" wrap="square" lIns="121900" tIns="121900" rIns="121900" bIns="121900" anchor="ctr" anchorCtr="0">
              <a:noAutofit/>
            </a:bodyPr>
            <a:lstStyle/>
            <a:p>
              <a:r>
                <a:rPr lang="en" sz="2000">
                  <a:solidFill>
                    <a:srgbClr val="434343"/>
                  </a:solidFill>
                  <a:latin typeface="Fira Sans Extra Condensed Medium"/>
                  <a:ea typeface="Fira Sans Extra Condensed Medium"/>
                  <a:cs typeface="Fira Sans Extra Condensed Medium"/>
                  <a:sym typeface="Fira Sans Extra Condensed Medium"/>
                </a:rPr>
                <a:t>Anatomy Of A Recommender System</a:t>
              </a:r>
              <a:endParaRPr sz="2000">
                <a:solidFill>
                  <a:srgbClr val="434343"/>
                </a:solidFill>
                <a:latin typeface="Fira Sans Extra Condensed Medium"/>
                <a:ea typeface="Fira Sans Extra Condensed Medium"/>
                <a:cs typeface="Fira Sans Extra Condensed Medium"/>
                <a:sym typeface="Fira Sans Extra Condensed Medium"/>
              </a:endParaRPr>
            </a:p>
          </p:txBody>
        </p:sp>
      </p:grpSp>
      <p:sp>
        <p:nvSpPr>
          <p:cNvPr id="161" name="Google Shape;161;p17"/>
          <p:cNvSpPr txBox="1">
            <a:spLocks noGrp="1"/>
          </p:cNvSpPr>
          <p:nvPr>
            <p:ph type="title"/>
          </p:nvPr>
        </p:nvSpPr>
        <p:spPr>
          <a:xfrm>
            <a:off x="760465" y="100107"/>
            <a:ext cx="3358637" cy="641600"/>
          </a:xfrm>
          <a:prstGeom prst="rect">
            <a:avLst/>
          </a:prstGeom>
        </p:spPr>
        <p:txBody>
          <a:bodyPr spcFirstLastPara="1" vert="horz" wrap="square" lIns="121900" tIns="121900" rIns="121900" bIns="121900" rtlCol="0" anchor="ctr" anchorCtr="0">
            <a:noAutofit/>
          </a:bodyPr>
          <a:lstStyle/>
          <a:p>
            <a:pPr>
              <a:spcBef>
                <a:spcPts val="0"/>
              </a:spcBef>
            </a:pPr>
            <a:r>
              <a:rPr lang="en" sz="3500" b="1">
                <a:solidFill>
                  <a:srgbClr val="CC0000"/>
                </a:solidFill>
              </a:rPr>
              <a:t>Agenda:</a:t>
            </a:r>
            <a:endParaRPr sz="3500" b="1">
              <a:solidFill>
                <a:srgbClr val="CC0000"/>
              </a:solidFill>
            </a:endParaRPr>
          </a:p>
        </p:txBody>
      </p:sp>
      <p:grpSp>
        <p:nvGrpSpPr>
          <p:cNvPr id="167" name="Google Shape;167;p17"/>
          <p:cNvGrpSpPr/>
          <p:nvPr/>
        </p:nvGrpSpPr>
        <p:grpSpPr>
          <a:xfrm>
            <a:off x="2831817" y="3223250"/>
            <a:ext cx="321967" cy="578097"/>
            <a:chOff x="-48216525" y="3936125"/>
            <a:chExt cx="211900" cy="302475"/>
          </a:xfrm>
        </p:grpSpPr>
        <p:sp>
          <p:nvSpPr>
            <p:cNvPr id="168" name="Google Shape;168;p17"/>
            <p:cNvSpPr/>
            <p:nvPr/>
          </p:nvSpPr>
          <p:spPr>
            <a:xfrm>
              <a:off x="-48207850" y="3955825"/>
              <a:ext cx="105550" cy="158325"/>
            </a:xfrm>
            <a:custGeom>
              <a:avLst/>
              <a:gdLst/>
              <a:ahLst/>
              <a:cxnLst/>
              <a:rect l="l" t="t" r="r" b="b"/>
              <a:pathLst>
                <a:path w="4222" h="6333" extrusionOk="0">
                  <a:moveTo>
                    <a:pt x="2080" y="2080"/>
                  </a:moveTo>
                  <a:cubicBezTo>
                    <a:pt x="2300" y="2080"/>
                    <a:pt x="2458" y="2237"/>
                    <a:pt x="2458" y="2458"/>
                  </a:cubicBezTo>
                  <a:lnTo>
                    <a:pt x="2458" y="3151"/>
                  </a:lnTo>
                  <a:cubicBezTo>
                    <a:pt x="2458" y="3340"/>
                    <a:pt x="2300" y="3497"/>
                    <a:pt x="2080" y="3497"/>
                  </a:cubicBezTo>
                  <a:cubicBezTo>
                    <a:pt x="1891" y="3497"/>
                    <a:pt x="1733" y="3340"/>
                    <a:pt x="1733" y="3151"/>
                  </a:cubicBezTo>
                  <a:lnTo>
                    <a:pt x="1733" y="2458"/>
                  </a:lnTo>
                  <a:cubicBezTo>
                    <a:pt x="1733" y="2237"/>
                    <a:pt x="1891" y="2080"/>
                    <a:pt x="2080" y="2080"/>
                  </a:cubicBezTo>
                  <a:close/>
                  <a:moveTo>
                    <a:pt x="2080" y="4222"/>
                  </a:moveTo>
                  <a:cubicBezTo>
                    <a:pt x="2300" y="4222"/>
                    <a:pt x="2458" y="4380"/>
                    <a:pt x="2458" y="4569"/>
                  </a:cubicBezTo>
                  <a:lnTo>
                    <a:pt x="2458" y="5293"/>
                  </a:lnTo>
                  <a:cubicBezTo>
                    <a:pt x="2458" y="5482"/>
                    <a:pt x="2300" y="5640"/>
                    <a:pt x="2080" y="5640"/>
                  </a:cubicBezTo>
                  <a:cubicBezTo>
                    <a:pt x="1891" y="5640"/>
                    <a:pt x="1733" y="5482"/>
                    <a:pt x="1733" y="5293"/>
                  </a:cubicBezTo>
                  <a:lnTo>
                    <a:pt x="1733" y="4569"/>
                  </a:lnTo>
                  <a:cubicBezTo>
                    <a:pt x="1733" y="4380"/>
                    <a:pt x="1891" y="4222"/>
                    <a:pt x="2080" y="4222"/>
                  </a:cubicBezTo>
                  <a:close/>
                  <a:moveTo>
                    <a:pt x="2111" y="0"/>
                  </a:moveTo>
                  <a:cubicBezTo>
                    <a:pt x="1891" y="0"/>
                    <a:pt x="1733" y="158"/>
                    <a:pt x="1733" y="347"/>
                  </a:cubicBezTo>
                  <a:lnTo>
                    <a:pt x="1733" y="757"/>
                  </a:lnTo>
                  <a:cubicBezTo>
                    <a:pt x="1544" y="788"/>
                    <a:pt x="1355" y="914"/>
                    <a:pt x="1198" y="1072"/>
                  </a:cubicBezTo>
                  <a:lnTo>
                    <a:pt x="883" y="757"/>
                  </a:lnTo>
                  <a:cubicBezTo>
                    <a:pt x="820" y="694"/>
                    <a:pt x="733" y="662"/>
                    <a:pt x="642" y="662"/>
                  </a:cubicBezTo>
                  <a:cubicBezTo>
                    <a:pt x="552" y="662"/>
                    <a:pt x="457" y="694"/>
                    <a:pt x="378" y="757"/>
                  </a:cubicBezTo>
                  <a:cubicBezTo>
                    <a:pt x="252" y="883"/>
                    <a:pt x="252" y="1103"/>
                    <a:pt x="378" y="1261"/>
                  </a:cubicBezTo>
                  <a:lnTo>
                    <a:pt x="788" y="1702"/>
                  </a:lnTo>
                  <a:cubicBezTo>
                    <a:pt x="757" y="1859"/>
                    <a:pt x="725" y="2017"/>
                    <a:pt x="725" y="2174"/>
                  </a:cubicBezTo>
                  <a:lnTo>
                    <a:pt x="378" y="2174"/>
                  </a:lnTo>
                  <a:cubicBezTo>
                    <a:pt x="158" y="2174"/>
                    <a:pt x="0" y="2332"/>
                    <a:pt x="0" y="2521"/>
                  </a:cubicBezTo>
                  <a:cubicBezTo>
                    <a:pt x="0" y="2710"/>
                    <a:pt x="158" y="2867"/>
                    <a:pt x="378" y="2867"/>
                  </a:cubicBezTo>
                  <a:lnTo>
                    <a:pt x="725" y="2867"/>
                  </a:lnTo>
                  <a:lnTo>
                    <a:pt x="725" y="3592"/>
                  </a:lnTo>
                  <a:lnTo>
                    <a:pt x="378" y="3592"/>
                  </a:lnTo>
                  <a:cubicBezTo>
                    <a:pt x="158" y="3592"/>
                    <a:pt x="0" y="3750"/>
                    <a:pt x="0" y="3939"/>
                  </a:cubicBezTo>
                  <a:cubicBezTo>
                    <a:pt x="0" y="4128"/>
                    <a:pt x="158" y="4285"/>
                    <a:pt x="378" y="4285"/>
                  </a:cubicBezTo>
                  <a:lnTo>
                    <a:pt x="725" y="4285"/>
                  </a:lnTo>
                  <a:lnTo>
                    <a:pt x="725" y="5010"/>
                  </a:lnTo>
                  <a:lnTo>
                    <a:pt x="347" y="5010"/>
                  </a:lnTo>
                  <a:lnTo>
                    <a:pt x="347" y="4915"/>
                  </a:lnTo>
                  <a:cubicBezTo>
                    <a:pt x="158" y="4915"/>
                    <a:pt x="0" y="5073"/>
                    <a:pt x="0" y="5293"/>
                  </a:cubicBezTo>
                  <a:cubicBezTo>
                    <a:pt x="0" y="5482"/>
                    <a:pt x="158" y="5640"/>
                    <a:pt x="347" y="5640"/>
                  </a:cubicBezTo>
                  <a:lnTo>
                    <a:pt x="725" y="5640"/>
                  </a:lnTo>
                  <a:lnTo>
                    <a:pt x="725" y="6333"/>
                  </a:lnTo>
                  <a:lnTo>
                    <a:pt x="3497" y="6333"/>
                  </a:lnTo>
                  <a:lnTo>
                    <a:pt x="3497" y="5640"/>
                  </a:lnTo>
                  <a:lnTo>
                    <a:pt x="3876" y="5640"/>
                  </a:lnTo>
                  <a:cubicBezTo>
                    <a:pt x="4065" y="5640"/>
                    <a:pt x="4222" y="5482"/>
                    <a:pt x="4222" y="5293"/>
                  </a:cubicBezTo>
                  <a:cubicBezTo>
                    <a:pt x="4222" y="5073"/>
                    <a:pt x="4065" y="4915"/>
                    <a:pt x="3876" y="4915"/>
                  </a:cubicBezTo>
                  <a:lnTo>
                    <a:pt x="3497" y="4915"/>
                  </a:lnTo>
                  <a:lnTo>
                    <a:pt x="3497" y="4222"/>
                  </a:lnTo>
                  <a:lnTo>
                    <a:pt x="3876" y="4222"/>
                  </a:lnTo>
                  <a:cubicBezTo>
                    <a:pt x="4065" y="4222"/>
                    <a:pt x="4222" y="4065"/>
                    <a:pt x="4222" y="3876"/>
                  </a:cubicBezTo>
                  <a:cubicBezTo>
                    <a:pt x="4222" y="3655"/>
                    <a:pt x="4065" y="3497"/>
                    <a:pt x="3876" y="3497"/>
                  </a:cubicBezTo>
                  <a:lnTo>
                    <a:pt x="3497" y="3497"/>
                  </a:lnTo>
                  <a:lnTo>
                    <a:pt x="3497" y="2804"/>
                  </a:lnTo>
                  <a:lnTo>
                    <a:pt x="3876" y="2804"/>
                  </a:lnTo>
                  <a:cubicBezTo>
                    <a:pt x="4065" y="2804"/>
                    <a:pt x="4222" y="2647"/>
                    <a:pt x="4222" y="2458"/>
                  </a:cubicBezTo>
                  <a:cubicBezTo>
                    <a:pt x="4222" y="2237"/>
                    <a:pt x="4065" y="2080"/>
                    <a:pt x="3876" y="2080"/>
                  </a:cubicBezTo>
                  <a:lnTo>
                    <a:pt x="3497" y="2080"/>
                  </a:lnTo>
                  <a:cubicBezTo>
                    <a:pt x="3497" y="1418"/>
                    <a:pt x="3088" y="914"/>
                    <a:pt x="2458" y="757"/>
                  </a:cubicBezTo>
                  <a:lnTo>
                    <a:pt x="2458" y="347"/>
                  </a:lnTo>
                  <a:cubicBezTo>
                    <a:pt x="2458" y="158"/>
                    <a:pt x="2300" y="0"/>
                    <a:pt x="2111" y="0"/>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169" name="Google Shape;169;p17"/>
            <p:cNvSpPr/>
            <p:nvPr/>
          </p:nvSpPr>
          <p:spPr>
            <a:xfrm>
              <a:off x="-48192100" y="4184225"/>
              <a:ext cx="163850" cy="54375"/>
            </a:xfrm>
            <a:custGeom>
              <a:avLst/>
              <a:gdLst/>
              <a:ahLst/>
              <a:cxnLst/>
              <a:rect l="l" t="t" r="r" b="b"/>
              <a:pathLst>
                <a:path w="6554" h="2175" extrusionOk="0">
                  <a:moveTo>
                    <a:pt x="0" y="1"/>
                  </a:moveTo>
                  <a:lnTo>
                    <a:pt x="442" y="1891"/>
                  </a:lnTo>
                  <a:cubicBezTo>
                    <a:pt x="473" y="2049"/>
                    <a:pt x="631" y="2175"/>
                    <a:pt x="788" y="2175"/>
                  </a:cubicBezTo>
                  <a:lnTo>
                    <a:pt x="5703" y="2175"/>
                  </a:lnTo>
                  <a:cubicBezTo>
                    <a:pt x="5860" y="2175"/>
                    <a:pt x="6018" y="2049"/>
                    <a:pt x="6081" y="1891"/>
                  </a:cubicBezTo>
                  <a:lnTo>
                    <a:pt x="6554" y="1"/>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170" name="Google Shape;170;p17"/>
            <p:cNvSpPr/>
            <p:nvPr/>
          </p:nvSpPr>
          <p:spPr>
            <a:xfrm>
              <a:off x="-48216525" y="4131475"/>
              <a:ext cx="211900" cy="34675"/>
            </a:xfrm>
            <a:custGeom>
              <a:avLst/>
              <a:gdLst/>
              <a:ahLst/>
              <a:cxnLst/>
              <a:rect l="l" t="t" r="r" b="b"/>
              <a:pathLst>
                <a:path w="8476" h="1387" extrusionOk="0">
                  <a:moveTo>
                    <a:pt x="347" y="0"/>
                  </a:moveTo>
                  <a:cubicBezTo>
                    <a:pt x="158" y="0"/>
                    <a:pt x="1" y="126"/>
                    <a:pt x="1" y="347"/>
                  </a:cubicBezTo>
                  <a:cubicBezTo>
                    <a:pt x="1" y="914"/>
                    <a:pt x="473" y="1386"/>
                    <a:pt x="1072" y="1386"/>
                  </a:cubicBezTo>
                  <a:lnTo>
                    <a:pt x="7405" y="1386"/>
                  </a:lnTo>
                  <a:cubicBezTo>
                    <a:pt x="8003" y="1386"/>
                    <a:pt x="8476" y="914"/>
                    <a:pt x="8476" y="347"/>
                  </a:cubicBezTo>
                  <a:cubicBezTo>
                    <a:pt x="8413" y="158"/>
                    <a:pt x="8255" y="0"/>
                    <a:pt x="8066" y="0"/>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171" name="Google Shape;171;p17"/>
            <p:cNvSpPr/>
            <p:nvPr/>
          </p:nvSpPr>
          <p:spPr>
            <a:xfrm>
              <a:off x="-48113350" y="3936125"/>
              <a:ext cx="98475" cy="178025"/>
            </a:xfrm>
            <a:custGeom>
              <a:avLst/>
              <a:gdLst/>
              <a:ahLst/>
              <a:cxnLst/>
              <a:rect l="l" t="t" r="r" b="b"/>
              <a:pathLst>
                <a:path w="3939" h="7121" extrusionOk="0">
                  <a:moveTo>
                    <a:pt x="1860" y="2175"/>
                  </a:moveTo>
                  <a:cubicBezTo>
                    <a:pt x="2049" y="2175"/>
                    <a:pt x="2206" y="2332"/>
                    <a:pt x="2206" y="2521"/>
                  </a:cubicBezTo>
                  <a:lnTo>
                    <a:pt x="2206" y="3246"/>
                  </a:lnTo>
                  <a:cubicBezTo>
                    <a:pt x="2206" y="3435"/>
                    <a:pt x="2049" y="3592"/>
                    <a:pt x="1860" y="3592"/>
                  </a:cubicBezTo>
                  <a:cubicBezTo>
                    <a:pt x="1671" y="3592"/>
                    <a:pt x="1513" y="3435"/>
                    <a:pt x="1513" y="3246"/>
                  </a:cubicBezTo>
                  <a:lnTo>
                    <a:pt x="1513" y="2521"/>
                  </a:lnTo>
                  <a:cubicBezTo>
                    <a:pt x="1513" y="2332"/>
                    <a:pt x="1671" y="2175"/>
                    <a:pt x="1860" y="2175"/>
                  </a:cubicBezTo>
                  <a:close/>
                  <a:moveTo>
                    <a:pt x="1860" y="4285"/>
                  </a:moveTo>
                  <a:cubicBezTo>
                    <a:pt x="2049" y="4285"/>
                    <a:pt x="2206" y="4443"/>
                    <a:pt x="2206" y="4632"/>
                  </a:cubicBezTo>
                  <a:lnTo>
                    <a:pt x="2206" y="5357"/>
                  </a:lnTo>
                  <a:cubicBezTo>
                    <a:pt x="2206" y="5546"/>
                    <a:pt x="2049" y="5703"/>
                    <a:pt x="1860" y="5703"/>
                  </a:cubicBezTo>
                  <a:cubicBezTo>
                    <a:pt x="1671" y="5703"/>
                    <a:pt x="1513" y="5546"/>
                    <a:pt x="1513" y="5357"/>
                  </a:cubicBezTo>
                  <a:lnTo>
                    <a:pt x="1513" y="4632"/>
                  </a:lnTo>
                  <a:cubicBezTo>
                    <a:pt x="1513" y="4443"/>
                    <a:pt x="1671" y="4285"/>
                    <a:pt x="1860" y="4285"/>
                  </a:cubicBezTo>
                  <a:close/>
                  <a:moveTo>
                    <a:pt x="1860" y="1"/>
                  </a:moveTo>
                  <a:cubicBezTo>
                    <a:pt x="1671" y="1"/>
                    <a:pt x="1513" y="158"/>
                    <a:pt x="1513" y="347"/>
                  </a:cubicBezTo>
                  <a:lnTo>
                    <a:pt x="1513" y="757"/>
                  </a:lnTo>
                  <a:cubicBezTo>
                    <a:pt x="1324" y="788"/>
                    <a:pt x="1104" y="914"/>
                    <a:pt x="946" y="1072"/>
                  </a:cubicBezTo>
                  <a:lnTo>
                    <a:pt x="631" y="757"/>
                  </a:lnTo>
                  <a:cubicBezTo>
                    <a:pt x="584" y="694"/>
                    <a:pt x="497" y="662"/>
                    <a:pt x="403" y="662"/>
                  </a:cubicBezTo>
                  <a:cubicBezTo>
                    <a:pt x="308" y="662"/>
                    <a:pt x="206" y="694"/>
                    <a:pt x="127" y="757"/>
                  </a:cubicBezTo>
                  <a:cubicBezTo>
                    <a:pt x="1" y="883"/>
                    <a:pt x="1" y="1104"/>
                    <a:pt x="127" y="1261"/>
                  </a:cubicBezTo>
                  <a:lnTo>
                    <a:pt x="505" y="1702"/>
                  </a:lnTo>
                  <a:cubicBezTo>
                    <a:pt x="474" y="1860"/>
                    <a:pt x="442" y="2017"/>
                    <a:pt x="442" y="2175"/>
                  </a:cubicBezTo>
                  <a:lnTo>
                    <a:pt x="442" y="2238"/>
                  </a:lnTo>
                  <a:cubicBezTo>
                    <a:pt x="820" y="2395"/>
                    <a:pt x="1135" y="2742"/>
                    <a:pt x="1135" y="3214"/>
                  </a:cubicBezTo>
                  <a:cubicBezTo>
                    <a:pt x="1135" y="3498"/>
                    <a:pt x="1041" y="3750"/>
                    <a:pt x="883" y="3939"/>
                  </a:cubicBezTo>
                  <a:cubicBezTo>
                    <a:pt x="1041" y="4128"/>
                    <a:pt x="1135" y="4380"/>
                    <a:pt x="1135" y="4632"/>
                  </a:cubicBezTo>
                  <a:cubicBezTo>
                    <a:pt x="1135" y="4916"/>
                    <a:pt x="1041" y="5168"/>
                    <a:pt x="883" y="5357"/>
                  </a:cubicBezTo>
                  <a:cubicBezTo>
                    <a:pt x="1041" y="5546"/>
                    <a:pt x="1135" y="5798"/>
                    <a:pt x="1135" y="6081"/>
                  </a:cubicBezTo>
                  <a:cubicBezTo>
                    <a:pt x="1135" y="6554"/>
                    <a:pt x="883" y="6932"/>
                    <a:pt x="442" y="7058"/>
                  </a:cubicBezTo>
                  <a:lnTo>
                    <a:pt x="442" y="7121"/>
                  </a:lnTo>
                  <a:lnTo>
                    <a:pt x="3246" y="7121"/>
                  </a:lnTo>
                  <a:lnTo>
                    <a:pt x="3246" y="5703"/>
                  </a:lnTo>
                  <a:lnTo>
                    <a:pt x="3593" y="5703"/>
                  </a:lnTo>
                  <a:cubicBezTo>
                    <a:pt x="3782" y="5703"/>
                    <a:pt x="3939" y="5546"/>
                    <a:pt x="3939" y="5357"/>
                  </a:cubicBezTo>
                  <a:cubicBezTo>
                    <a:pt x="3939" y="5168"/>
                    <a:pt x="3782" y="5010"/>
                    <a:pt x="3593" y="5010"/>
                  </a:cubicBezTo>
                  <a:lnTo>
                    <a:pt x="3246" y="5010"/>
                  </a:lnTo>
                  <a:lnTo>
                    <a:pt x="3246" y="4285"/>
                  </a:lnTo>
                  <a:lnTo>
                    <a:pt x="3593" y="4285"/>
                  </a:lnTo>
                  <a:cubicBezTo>
                    <a:pt x="3782" y="4285"/>
                    <a:pt x="3939" y="4128"/>
                    <a:pt x="3939" y="3939"/>
                  </a:cubicBezTo>
                  <a:cubicBezTo>
                    <a:pt x="3939" y="3750"/>
                    <a:pt x="3782" y="3592"/>
                    <a:pt x="3593" y="3592"/>
                  </a:cubicBezTo>
                  <a:lnTo>
                    <a:pt x="3246" y="3592"/>
                  </a:lnTo>
                  <a:lnTo>
                    <a:pt x="3246" y="2868"/>
                  </a:lnTo>
                  <a:lnTo>
                    <a:pt x="3593" y="2868"/>
                  </a:lnTo>
                  <a:cubicBezTo>
                    <a:pt x="3782" y="2868"/>
                    <a:pt x="3939" y="2710"/>
                    <a:pt x="3939" y="2521"/>
                  </a:cubicBezTo>
                  <a:cubicBezTo>
                    <a:pt x="3939" y="2332"/>
                    <a:pt x="3782" y="2175"/>
                    <a:pt x="3593" y="2175"/>
                  </a:cubicBezTo>
                  <a:lnTo>
                    <a:pt x="3246" y="2175"/>
                  </a:lnTo>
                  <a:cubicBezTo>
                    <a:pt x="3246" y="2017"/>
                    <a:pt x="3183" y="1860"/>
                    <a:pt x="3151" y="1702"/>
                  </a:cubicBezTo>
                  <a:lnTo>
                    <a:pt x="3593" y="1261"/>
                  </a:lnTo>
                  <a:cubicBezTo>
                    <a:pt x="3719" y="1135"/>
                    <a:pt x="3719" y="914"/>
                    <a:pt x="3593" y="757"/>
                  </a:cubicBezTo>
                  <a:cubicBezTo>
                    <a:pt x="3530" y="694"/>
                    <a:pt x="3443" y="662"/>
                    <a:pt x="3352" y="662"/>
                  </a:cubicBezTo>
                  <a:cubicBezTo>
                    <a:pt x="3262" y="662"/>
                    <a:pt x="3167" y="694"/>
                    <a:pt x="3088" y="757"/>
                  </a:cubicBezTo>
                  <a:lnTo>
                    <a:pt x="2773" y="1072"/>
                  </a:lnTo>
                  <a:cubicBezTo>
                    <a:pt x="2616" y="946"/>
                    <a:pt x="2427" y="820"/>
                    <a:pt x="2206" y="757"/>
                  </a:cubicBezTo>
                  <a:lnTo>
                    <a:pt x="2206" y="347"/>
                  </a:lnTo>
                  <a:cubicBezTo>
                    <a:pt x="2206" y="158"/>
                    <a:pt x="2049" y="1"/>
                    <a:pt x="1860" y="1"/>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grpSp>
      <p:grpSp>
        <p:nvGrpSpPr>
          <p:cNvPr id="172" name="Google Shape;172;p17"/>
          <p:cNvGrpSpPr/>
          <p:nvPr/>
        </p:nvGrpSpPr>
        <p:grpSpPr>
          <a:xfrm>
            <a:off x="2783803" y="2162183"/>
            <a:ext cx="460919" cy="573988"/>
            <a:chOff x="-49031025" y="3920175"/>
            <a:chExt cx="303350" cy="300325"/>
          </a:xfrm>
        </p:grpSpPr>
        <p:sp>
          <p:nvSpPr>
            <p:cNvPr id="173" name="Google Shape;173;p17"/>
            <p:cNvSpPr/>
            <p:nvPr/>
          </p:nvSpPr>
          <p:spPr>
            <a:xfrm>
              <a:off x="-49031025" y="4131875"/>
              <a:ext cx="109600" cy="88625"/>
            </a:xfrm>
            <a:custGeom>
              <a:avLst/>
              <a:gdLst/>
              <a:ahLst/>
              <a:cxnLst/>
              <a:rect l="l" t="t" r="r" b="b"/>
              <a:pathLst>
                <a:path w="4384" h="3545" extrusionOk="0">
                  <a:moveTo>
                    <a:pt x="472" y="1"/>
                  </a:moveTo>
                  <a:cubicBezTo>
                    <a:pt x="202" y="1"/>
                    <a:pt x="0" y="326"/>
                    <a:pt x="225" y="551"/>
                  </a:cubicBezTo>
                  <a:lnTo>
                    <a:pt x="2336" y="3387"/>
                  </a:lnTo>
                  <a:cubicBezTo>
                    <a:pt x="2399" y="3481"/>
                    <a:pt x="2494" y="3544"/>
                    <a:pt x="2620" y="3544"/>
                  </a:cubicBezTo>
                  <a:lnTo>
                    <a:pt x="4384" y="3544"/>
                  </a:lnTo>
                  <a:lnTo>
                    <a:pt x="2620" y="583"/>
                  </a:lnTo>
                  <a:lnTo>
                    <a:pt x="572" y="16"/>
                  </a:lnTo>
                  <a:cubicBezTo>
                    <a:pt x="538" y="5"/>
                    <a:pt x="505" y="1"/>
                    <a:pt x="472" y="1"/>
                  </a:cubicBez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174" name="Google Shape;174;p17"/>
            <p:cNvSpPr/>
            <p:nvPr/>
          </p:nvSpPr>
          <p:spPr>
            <a:xfrm>
              <a:off x="-48921450" y="3920175"/>
              <a:ext cx="79575" cy="130975"/>
            </a:xfrm>
            <a:custGeom>
              <a:avLst/>
              <a:gdLst/>
              <a:ahLst/>
              <a:cxnLst/>
              <a:rect l="l" t="t" r="r" b="b"/>
              <a:pathLst>
                <a:path w="3183" h="5239" extrusionOk="0">
                  <a:moveTo>
                    <a:pt x="302" y="1"/>
                  </a:moveTo>
                  <a:cubicBezTo>
                    <a:pt x="275" y="1"/>
                    <a:pt x="248" y="3"/>
                    <a:pt x="221" y="9"/>
                  </a:cubicBezTo>
                  <a:cubicBezTo>
                    <a:pt x="64" y="40"/>
                    <a:pt x="1" y="198"/>
                    <a:pt x="1" y="355"/>
                  </a:cubicBezTo>
                  <a:lnTo>
                    <a:pt x="64" y="1269"/>
                  </a:lnTo>
                  <a:lnTo>
                    <a:pt x="2584" y="5239"/>
                  </a:lnTo>
                  <a:lnTo>
                    <a:pt x="3183" y="4199"/>
                  </a:lnTo>
                  <a:lnTo>
                    <a:pt x="631" y="166"/>
                  </a:lnTo>
                  <a:cubicBezTo>
                    <a:pt x="553" y="62"/>
                    <a:pt x="431" y="1"/>
                    <a:pt x="302" y="1"/>
                  </a:cubicBez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175" name="Google Shape;175;p17"/>
            <p:cNvSpPr/>
            <p:nvPr/>
          </p:nvSpPr>
          <p:spPr>
            <a:xfrm>
              <a:off x="-48842675" y="4008100"/>
              <a:ext cx="115000" cy="53300"/>
            </a:xfrm>
            <a:custGeom>
              <a:avLst/>
              <a:gdLst/>
              <a:ahLst/>
              <a:cxnLst/>
              <a:rect l="l" t="t" r="r" b="b"/>
              <a:pathLst>
                <a:path w="4600" h="2132" extrusionOk="0">
                  <a:moveTo>
                    <a:pt x="1359" y="0"/>
                  </a:moveTo>
                  <a:cubicBezTo>
                    <a:pt x="1245" y="0"/>
                    <a:pt x="1132" y="57"/>
                    <a:pt x="1072" y="178"/>
                  </a:cubicBezTo>
                  <a:lnTo>
                    <a:pt x="0" y="2131"/>
                  </a:lnTo>
                  <a:lnTo>
                    <a:pt x="4191" y="2131"/>
                  </a:lnTo>
                  <a:cubicBezTo>
                    <a:pt x="4317" y="2131"/>
                    <a:pt x="4506" y="2005"/>
                    <a:pt x="4537" y="1848"/>
                  </a:cubicBezTo>
                  <a:cubicBezTo>
                    <a:pt x="4600" y="1690"/>
                    <a:pt x="4537" y="1533"/>
                    <a:pt x="4380" y="1469"/>
                  </a:cubicBezTo>
                  <a:lnTo>
                    <a:pt x="1544" y="52"/>
                  </a:lnTo>
                  <a:cubicBezTo>
                    <a:pt x="1488" y="18"/>
                    <a:pt x="1423" y="0"/>
                    <a:pt x="1359" y="0"/>
                  </a:cubicBez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176" name="Google Shape;176;p17"/>
            <p:cNvSpPr/>
            <p:nvPr/>
          </p:nvSpPr>
          <p:spPr>
            <a:xfrm>
              <a:off x="-48838750" y="4078700"/>
              <a:ext cx="51225" cy="66975"/>
            </a:xfrm>
            <a:custGeom>
              <a:avLst/>
              <a:gdLst/>
              <a:ahLst/>
              <a:cxnLst/>
              <a:rect l="l" t="t" r="r" b="b"/>
              <a:pathLst>
                <a:path w="2049" h="2679" extrusionOk="0">
                  <a:moveTo>
                    <a:pt x="1" y="0"/>
                  </a:moveTo>
                  <a:lnTo>
                    <a:pt x="1734" y="2678"/>
                  </a:lnTo>
                  <a:lnTo>
                    <a:pt x="2049" y="0"/>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177" name="Google Shape;177;p17"/>
            <p:cNvSpPr/>
            <p:nvPr/>
          </p:nvSpPr>
          <p:spPr>
            <a:xfrm>
              <a:off x="-48975000" y="3920575"/>
              <a:ext cx="173300" cy="248725"/>
            </a:xfrm>
            <a:custGeom>
              <a:avLst/>
              <a:gdLst/>
              <a:ahLst/>
              <a:cxnLst/>
              <a:rect l="l" t="t" r="r" b="b"/>
              <a:pathLst>
                <a:path w="6932" h="9949" extrusionOk="0">
                  <a:moveTo>
                    <a:pt x="374" y="0"/>
                  </a:moveTo>
                  <a:cubicBezTo>
                    <a:pt x="334" y="0"/>
                    <a:pt x="293" y="8"/>
                    <a:pt x="253" y="24"/>
                  </a:cubicBezTo>
                  <a:cubicBezTo>
                    <a:pt x="95" y="87"/>
                    <a:pt x="1" y="245"/>
                    <a:pt x="1" y="402"/>
                  </a:cubicBezTo>
                  <a:lnTo>
                    <a:pt x="694" y="7585"/>
                  </a:lnTo>
                  <a:lnTo>
                    <a:pt x="6932" y="9948"/>
                  </a:lnTo>
                  <a:lnTo>
                    <a:pt x="694" y="182"/>
                  </a:lnTo>
                  <a:cubicBezTo>
                    <a:pt x="600" y="65"/>
                    <a:pt x="489" y="0"/>
                    <a:pt x="374" y="0"/>
                  </a:cubicBez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178" name="Google Shape;178;p17"/>
            <p:cNvSpPr/>
            <p:nvPr/>
          </p:nvSpPr>
          <p:spPr>
            <a:xfrm>
              <a:off x="-48955300" y="4129900"/>
              <a:ext cx="151250" cy="89800"/>
            </a:xfrm>
            <a:custGeom>
              <a:avLst/>
              <a:gdLst/>
              <a:ahLst/>
              <a:cxnLst/>
              <a:rect l="l" t="t" r="r" b="b"/>
              <a:pathLst>
                <a:path w="6050" h="3592" extrusionOk="0">
                  <a:moveTo>
                    <a:pt x="0" y="0"/>
                  </a:moveTo>
                  <a:lnTo>
                    <a:pt x="2174" y="3592"/>
                  </a:lnTo>
                  <a:lnTo>
                    <a:pt x="5167" y="3592"/>
                  </a:lnTo>
                  <a:cubicBezTo>
                    <a:pt x="5293" y="3592"/>
                    <a:pt x="5419" y="3529"/>
                    <a:pt x="5482" y="3403"/>
                  </a:cubicBezTo>
                  <a:lnTo>
                    <a:pt x="6049" y="2268"/>
                  </a:lnTo>
                  <a:lnTo>
                    <a:pt x="0" y="0"/>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grpSp>
      <p:grpSp>
        <p:nvGrpSpPr>
          <p:cNvPr id="179" name="Google Shape;179;p17"/>
          <p:cNvGrpSpPr/>
          <p:nvPr/>
        </p:nvGrpSpPr>
        <p:grpSpPr>
          <a:xfrm>
            <a:off x="2783954" y="1121459"/>
            <a:ext cx="460766" cy="573988"/>
            <a:chOff x="2262085" y="1367322"/>
            <a:chExt cx="358987" cy="355525"/>
          </a:xfrm>
        </p:grpSpPr>
        <p:sp>
          <p:nvSpPr>
            <p:cNvPr id="180" name="Google Shape;180;p17"/>
            <p:cNvSpPr/>
            <p:nvPr/>
          </p:nvSpPr>
          <p:spPr>
            <a:xfrm>
              <a:off x="2263950" y="1367322"/>
              <a:ext cx="270410" cy="105625"/>
            </a:xfrm>
            <a:custGeom>
              <a:avLst/>
              <a:gdLst/>
              <a:ahLst/>
              <a:cxnLst/>
              <a:rect l="l" t="t" r="r" b="b"/>
              <a:pathLst>
                <a:path w="9137" h="3569" extrusionOk="0">
                  <a:moveTo>
                    <a:pt x="4568" y="1"/>
                  </a:moveTo>
                  <a:cubicBezTo>
                    <a:pt x="2284" y="1"/>
                    <a:pt x="0" y="592"/>
                    <a:pt x="0" y="1773"/>
                  </a:cubicBezTo>
                  <a:cubicBezTo>
                    <a:pt x="0" y="2970"/>
                    <a:pt x="2300" y="3569"/>
                    <a:pt x="4568" y="3569"/>
                  </a:cubicBezTo>
                  <a:cubicBezTo>
                    <a:pt x="6837" y="3569"/>
                    <a:pt x="9137" y="2970"/>
                    <a:pt x="9137" y="1773"/>
                  </a:cubicBezTo>
                  <a:cubicBezTo>
                    <a:pt x="9137" y="592"/>
                    <a:pt x="6852" y="1"/>
                    <a:pt x="4568"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181" name="Google Shape;181;p17"/>
            <p:cNvSpPr/>
            <p:nvPr/>
          </p:nvSpPr>
          <p:spPr>
            <a:xfrm>
              <a:off x="2263950" y="1459866"/>
              <a:ext cx="167833" cy="137084"/>
            </a:xfrm>
            <a:custGeom>
              <a:avLst/>
              <a:gdLst/>
              <a:ahLst/>
              <a:cxnLst/>
              <a:rect l="l" t="t" r="r" b="b"/>
              <a:pathLst>
                <a:path w="5671" h="4632" extrusionOk="0">
                  <a:moveTo>
                    <a:pt x="0" y="1"/>
                  </a:moveTo>
                  <a:lnTo>
                    <a:pt x="0" y="3939"/>
                  </a:lnTo>
                  <a:cubicBezTo>
                    <a:pt x="0" y="4317"/>
                    <a:pt x="315" y="4632"/>
                    <a:pt x="693" y="4632"/>
                  </a:cubicBezTo>
                  <a:cubicBezTo>
                    <a:pt x="1103" y="4632"/>
                    <a:pt x="1418" y="4317"/>
                    <a:pt x="1418" y="3939"/>
                  </a:cubicBezTo>
                  <a:lnTo>
                    <a:pt x="1418" y="2868"/>
                  </a:lnTo>
                  <a:cubicBezTo>
                    <a:pt x="1418" y="2269"/>
                    <a:pt x="1890" y="1796"/>
                    <a:pt x="2457" y="1796"/>
                  </a:cubicBezTo>
                  <a:cubicBezTo>
                    <a:pt x="3056" y="1796"/>
                    <a:pt x="3529" y="2269"/>
                    <a:pt x="3529" y="2868"/>
                  </a:cubicBezTo>
                  <a:lnTo>
                    <a:pt x="3529" y="3592"/>
                  </a:lnTo>
                  <a:cubicBezTo>
                    <a:pt x="3529" y="3781"/>
                    <a:pt x="3686" y="3939"/>
                    <a:pt x="3875" y="3939"/>
                  </a:cubicBezTo>
                  <a:cubicBezTo>
                    <a:pt x="4096" y="3939"/>
                    <a:pt x="4253" y="3781"/>
                    <a:pt x="4253" y="3592"/>
                  </a:cubicBezTo>
                  <a:lnTo>
                    <a:pt x="4253" y="2868"/>
                  </a:lnTo>
                  <a:cubicBezTo>
                    <a:pt x="4253" y="2427"/>
                    <a:pt x="4568" y="1954"/>
                    <a:pt x="5041" y="1828"/>
                  </a:cubicBezTo>
                  <a:cubicBezTo>
                    <a:pt x="5104" y="1796"/>
                    <a:pt x="5198" y="1796"/>
                    <a:pt x="5293" y="1796"/>
                  </a:cubicBezTo>
                  <a:cubicBezTo>
                    <a:pt x="5513" y="1796"/>
                    <a:pt x="5671" y="1639"/>
                    <a:pt x="5671" y="1450"/>
                  </a:cubicBezTo>
                  <a:lnTo>
                    <a:pt x="5671" y="1040"/>
                  </a:lnTo>
                  <a:cubicBezTo>
                    <a:pt x="5293" y="1103"/>
                    <a:pt x="4946" y="1103"/>
                    <a:pt x="4600" y="1103"/>
                  </a:cubicBezTo>
                  <a:cubicBezTo>
                    <a:pt x="2899" y="1103"/>
                    <a:pt x="1008" y="788"/>
                    <a:pt x="0"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182" name="Google Shape;182;p17"/>
            <p:cNvSpPr/>
            <p:nvPr/>
          </p:nvSpPr>
          <p:spPr>
            <a:xfrm>
              <a:off x="2427107" y="1457084"/>
              <a:ext cx="193966" cy="175321"/>
            </a:xfrm>
            <a:custGeom>
              <a:avLst/>
              <a:gdLst/>
              <a:ahLst/>
              <a:cxnLst/>
              <a:rect l="l" t="t" r="r" b="b"/>
              <a:pathLst>
                <a:path w="6554" h="5924" extrusionOk="0">
                  <a:moveTo>
                    <a:pt x="3655" y="725"/>
                  </a:moveTo>
                  <a:cubicBezTo>
                    <a:pt x="4348" y="1040"/>
                    <a:pt x="5041" y="1544"/>
                    <a:pt x="5451" y="2206"/>
                  </a:cubicBezTo>
                  <a:cubicBezTo>
                    <a:pt x="5766" y="2678"/>
                    <a:pt x="5860" y="3308"/>
                    <a:pt x="5671" y="3875"/>
                  </a:cubicBezTo>
                  <a:cubicBezTo>
                    <a:pt x="5451" y="4411"/>
                    <a:pt x="5041" y="4852"/>
                    <a:pt x="4443" y="5041"/>
                  </a:cubicBezTo>
                  <a:cubicBezTo>
                    <a:pt x="4171" y="5132"/>
                    <a:pt x="3899" y="5193"/>
                    <a:pt x="3655" y="5198"/>
                  </a:cubicBezTo>
                  <a:lnTo>
                    <a:pt x="3655" y="5198"/>
                  </a:lnTo>
                  <a:lnTo>
                    <a:pt x="3655" y="725"/>
                  </a:lnTo>
                  <a:close/>
                  <a:moveTo>
                    <a:pt x="3718" y="0"/>
                  </a:moveTo>
                  <a:cubicBezTo>
                    <a:pt x="3088" y="599"/>
                    <a:pt x="1985" y="914"/>
                    <a:pt x="820" y="1071"/>
                  </a:cubicBezTo>
                  <a:lnTo>
                    <a:pt x="820" y="1544"/>
                  </a:lnTo>
                  <a:cubicBezTo>
                    <a:pt x="820" y="2048"/>
                    <a:pt x="473" y="2489"/>
                    <a:pt x="0" y="2584"/>
                  </a:cubicBezTo>
                  <a:lnTo>
                    <a:pt x="1009" y="3938"/>
                  </a:lnTo>
                  <a:cubicBezTo>
                    <a:pt x="1619" y="4793"/>
                    <a:pt x="2554" y="5263"/>
                    <a:pt x="3557" y="5263"/>
                  </a:cubicBezTo>
                  <a:cubicBezTo>
                    <a:pt x="3579" y="5263"/>
                    <a:pt x="3601" y="5263"/>
                    <a:pt x="3624" y="5262"/>
                  </a:cubicBezTo>
                  <a:lnTo>
                    <a:pt x="3624" y="5262"/>
                  </a:lnTo>
                  <a:lnTo>
                    <a:pt x="3624" y="5923"/>
                  </a:lnTo>
                  <a:cubicBezTo>
                    <a:pt x="3970" y="5923"/>
                    <a:pt x="4317" y="5829"/>
                    <a:pt x="4632" y="5734"/>
                  </a:cubicBezTo>
                  <a:cubicBezTo>
                    <a:pt x="5419" y="5451"/>
                    <a:pt x="6018" y="4852"/>
                    <a:pt x="6301" y="4096"/>
                  </a:cubicBezTo>
                  <a:cubicBezTo>
                    <a:pt x="6553" y="3371"/>
                    <a:pt x="6459" y="2521"/>
                    <a:pt x="6018" y="1859"/>
                  </a:cubicBezTo>
                  <a:cubicBezTo>
                    <a:pt x="5451" y="1040"/>
                    <a:pt x="4632" y="410"/>
                    <a:pt x="3718"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183" name="Google Shape;183;p17"/>
            <p:cNvSpPr/>
            <p:nvPr/>
          </p:nvSpPr>
          <p:spPr>
            <a:xfrm>
              <a:off x="2262085" y="1534475"/>
              <a:ext cx="272274" cy="188372"/>
            </a:xfrm>
            <a:custGeom>
              <a:avLst/>
              <a:gdLst/>
              <a:ahLst/>
              <a:cxnLst/>
              <a:rect l="l" t="t" r="r" b="b"/>
              <a:pathLst>
                <a:path w="9200" h="6365" extrusionOk="0">
                  <a:moveTo>
                    <a:pt x="2489" y="0"/>
                  </a:moveTo>
                  <a:cubicBezTo>
                    <a:pt x="2300" y="0"/>
                    <a:pt x="2142" y="158"/>
                    <a:pt x="2142" y="347"/>
                  </a:cubicBezTo>
                  <a:lnTo>
                    <a:pt x="2142" y="1418"/>
                  </a:lnTo>
                  <a:cubicBezTo>
                    <a:pt x="2142" y="2205"/>
                    <a:pt x="1481" y="2836"/>
                    <a:pt x="725" y="2836"/>
                  </a:cubicBezTo>
                  <a:cubicBezTo>
                    <a:pt x="441" y="2836"/>
                    <a:pt x="221" y="2741"/>
                    <a:pt x="0" y="2647"/>
                  </a:cubicBezTo>
                  <a:lnTo>
                    <a:pt x="0" y="4600"/>
                  </a:lnTo>
                  <a:cubicBezTo>
                    <a:pt x="0" y="5734"/>
                    <a:pt x="2331" y="6364"/>
                    <a:pt x="4631" y="6364"/>
                  </a:cubicBezTo>
                  <a:cubicBezTo>
                    <a:pt x="6900" y="6364"/>
                    <a:pt x="9200" y="5797"/>
                    <a:pt x="9200" y="4600"/>
                  </a:cubicBezTo>
                  <a:lnTo>
                    <a:pt x="9200" y="3340"/>
                  </a:lnTo>
                  <a:cubicBezTo>
                    <a:pt x="9121" y="3353"/>
                    <a:pt x="9033" y="3360"/>
                    <a:pt x="8938" y="3360"/>
                  </a:cubicBezTo>
                  <a:cubicBezTo>
                    <a:pt x="8153" y="3360"/>
                    <a:pt x="6857" y="2888"/>
                    <a:pt x="5986" y="1764"/>
                  </a:cubicBezTo>
                  <a:lnTo>
                    <a:pt x="4978" y="378"/>
                  </a:lnTo>
                  <a:lnTo>
                    <a:pt x="4978" y="1071"/>
                  </a:lnTo>
                  <a:cubicBezTo>
                    <a:pt x="4978" y="1638"/>
                    <a:pt x="4505" y="2111"/>
                    <a:pt x="3907" y="2111"/>
                  </a:cubicBezTo>
                  <a:cubicBezTo>
                    <a:pt x="3308" y="2111"/>
                    <a:pt x="2836" y="1638"/>
                    <a:pt x="2836" y="1071"/>
                  </a:cubicBezTo>
                  <a:lnTo>
                    <a:pt x="2836" y="347"/>
                  </a:lnTo>
                  <a:cubicBezTo>
                    <a:pt x="2836" y="158"/>
                    <a:pt x="2678" y="0"/>
                    <a:pt x="2489"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grpSp>
      <p:cxnSp>
        <p:nvCxnSpPr>
          <p:cNvPr id="3" name="Straight Connector 2">
            <a:extLst>
              <a:ext uri="{FF2B5EF4-FFF2-40B4-BE49-F238E27FC236}">
                <a16:creationId xmlns:a16="http://schemas.microsoft.com/office/drawing/2014/main" id="{5C40FA80-69E8-4B73-8836-C8DFA1528A79}"/>
              </a:ext>
            </a:extLst>
          </p:cNvPr>
          <p:cNvCxnSpPr/>
          <p:nvPr/>
        </p:nvCxnSpPr>
        <p:spPr>
          <a:xfrm>
            <a:off x="777831" y="774906"/>
            <a:ext cx="8308973" cy="0"/>
          </a:xfrm>
          <a:prstGeom prst="line">
            <a:avLst/>
          </a:prstGeom>
          <a:ln>
            <a:solidFill>
              <a:srgbClr val="FF0066"/>
            </a:solidFill>
          </a:ln>
        </p:spPr>
        <p:style>
          <a:lnRef idx="1">
            <a:schemeClr val="accent1"/>
          </a:lnRef>
          <a:fillRef idx="0">
            <a:schemeClr val="accent1"/>
          </a:fillRef>
          <a:effectRef idx="0">
            <a:schemeClr val="accent1"/>
          </a:effectRef>
          <a:fontRef idx="minor">
            <a:schemeClr val="tx1"/>
          </a:fontRef>
        </p:style>
      </p:cxnSp>
      <p:grpSp>
        <p:nvGrpSpPr>
          <p:cNvPr id="42" name="Google Shape;143;p17">
            <a:extLst>
              <a:ext uri="{FF2B5EF4-FFF2-40B4-BE49-F238E27FC236}">
                <a16:creationId xmlns:a16="http://schemas.microsoft.com/office/drawing/2014/main" id="{DD19DC80-153C-4A19-B4BE-A25F13B05845}"/>
              </a:ext>
            </a:extLst>
          </p:cNvPr>
          <p:cNvGrpSpPr/>
          <p:nvPr/>
        </p:nvGrpSpPr>
        <p:grpSpPr>
          <a:xfrm>
            <a:off x="2450540" y="4189523"/>
            <a:ext cx="6796133" cy="919151"/>
            <a:chOff x="2023475" y="2800275"/>
            <a:chExt cx="5097100" cy="714400"/>
          </a:xfrm>
        </p:grpSpPr>
        <p:sp>
          <p:nvSpPr>
            <p:cNvPr id="43" name="Google Shape;144;p17">
              <a:extLst>
                <a:ext uri="{FF2B5EF4-FFF2-40B4-BE49-F238E27FC236}">
                  <a16:creationId xmlns:a16="http://schemas.microsoft.com/office/drawing/2014/main" id="{3E677F1F-3BDE-4A11-828A-81390E986558}"/>
                </a:ext>
              </a:extLst>
            </p:cNvPr>
            <p:cNvSpPr/>
            <p:nvPr/>
          </p:nvSpPr>
          <p:spPr>
            <a:xfrm>
              <a:off x="2023475" y="2800875"/>
              <a:ext cx="5097100" cy="713800"/>
            </a:xfrm>
            <a:custGeom>
              <a:avLst/>
              <a:gdLst/>
              <a:ahLst/>
              <a:cxnLst/>
              <a:rect l="l" t="t" r="r" b="b"/>
              <a:pathLst>
                <a:path w="203884" h="28552" extrusionOk="0">
                  <a:moveTo>
                    <a:pt x="1" y="0"/>
                  </a:moveTo>
                  <a:lnTo>
                    <a:pt x="1" y="28552"/>
                  </a:lnTo>
                  <a:lnTo>
                    <a:pt x="203883" y="28552"/>
                  </a:lnTo>
                  <a:lnTo>
                    <a:pt x="203883" y="0"/>
                  </a:lnTo>
                  <a:close/>
                </a:path>
              </a:pathLst>
            </a:custGeom>
            <a:solidFill>
              <a:srgbClr val="F3F3F3"/>
            </a:solidFill>
            <a:ln>
              <a:noFill/>
            </a:ln>
          </p:spPr>
          <p:txBody>
            <a:bodyPr spcFirstLastPara="1" wrap="square" lIns="121900" tIns="121900" rIns="121900" bIns="121900" anchor="ctr" anchorCtr="0">
              <a:noAutofit/>
            </a:bodyPr>
            <a:lstStyle/>
            <a:p>
              <a:endParaRPr sz="2400"/>
            </a:p>
          </p:txBody>
        </p:sp>
        <p:sp>
          <p:nvSpPr>
            <p:cNvPr id="44" name="Google Shape;145;p17">
              <a:extLst>
                <a:ext uri="{FF2B5EF4-FFF2-40B4-BE49-F238E27FC236}">
                  <a16:creationId xmlns:a16="http://schemas.microsoft.com/office/drawing/2014/main" id="{60BC7A0F-B5BE-46EB-8815-BCAF1E97C734}"/>
                </a:ext>
              </a:extLst>
            </p:cNvPr>
            <p:cNvSpPr/>
            <p:nvPr/>
          </p:nvSpPr>
          <p:spPr>
            <a:xfrm>
              <a:off x="2789650" y="2800275"/>
              <a:ext cx="926325" cy="714400"/>
            </a:xfrm>
            <a:custGeom>
              <a:avLst/>
              <a:gdLst/>
              <a:ahLst/>
              <a:cxnLst/>
              <a:rect l="l" t="t" r="r" b="b"/>
              <a:pathLst>
                <a:path w="37053" h="28576" extrusionOk="0">
                  <a:moveTo>
                    <a:pt x="30956" y="1"/>
                  </a:moveTo>
                  <a:lnTo>
                    <a:pt x="30956" y="24"/>
                  </a:lnTo>
                  <a:lnTo>
                    <a:pt x="0" y="24"/>
                  </a:lnTo>
                  <a:lnTo>
                    <a:pt x="0" y="28576"/>
                  </a:lnTo>
                  <a:lnTo>
                    <a:pt x="31826" y="28576"/>
                  </a:lnTo>
                  <a:lnTo>
                    <a:pt x="31826" y="5239"/>
                  </a:lnTo>
                  <a:lnTo>
                    <a:pt x="37052" y="1"/>
                  </a:lnTo>
                  <a:close/>
                </a:path>
              </a:pathLst>
            </a:custGeom>
            <a:solidFill>
              <a:srgbClr val="D31145"/>
            </a:solidFill>
            <a:ln>
              <a:noFill/>
            </a:ln>
          </p:spPr>
          <p:txBody>
            <a:bodyPr spcFirstLastPara="1" wrap="square" lIns="121900" tIns="121900" rIns="243833" bIns="121900" anchor="ctr" anchorCtr="0">
              <a:noAutofit/>
            </a:bodyPr>
            <a:lstStyle/>
            <a:p>
              <a:pPr algn="ctr"/>
              <a:r>
                <a:rPr lang="en" sz="3500">
                  <a:solidFill>
                    <a:srgbClr val="FFFFFF"/>
                  </a:solidFill>
                  <a:latin typeface="Fira Sans Extra Condensed Medium"/>
                  <a:ea typeface="Fira Sans Extra Condensed Medium"/>
                  <a:cs typeface="Fira Sans Extra Condensed Medium"/>
                  <a:sym typeface="Fira Sans Extra Condensed Medium"/>
                </a:rPr>
                <a:t>04</a:t>
              </a:r>
              <a:endParaRPr sz="3500">
                <a:solidFill>
                  <a:srgbClr val="FFFFFF"/>
                </a:solidFill>
                <a:latin typeface="Fira Sans Extra Condensed Medium"/>
                <a:ea typeface="Fira Sans Extra Condensed Medium"/>
                <a:cs typeface="Fira Sans Extra Condensed Medium"/>
                <a:sym typeface="Fira Sans Extra Condensed Medium"/>
              </a:endParaRPr>
            </a:p>
          </p:txBody>
        </p:sp>
        <p:sp>
          <p:nvSpPr>
            <p:cNvPr id="45" name="Google Shape;148;p17">
              <a:extLst>
                <a:ext uri="{FF2B5EF4-FFF2-40B4-BE49-F238E27FC236}">
                  <a16:creationId xmlns:a16="http://schemas.microsoft.com/office/drawing/2014/main" id="{07A21740-7B65-455E-9F03-8D706BD57DB0}"/>
                </a:ext>
              </a:extLst>
            </p:cNvPr>
            <p:cNvSpPr txBox="1"/>
            <p:nvPr/>
          </p:nvSpPr>
          <p:spPr>
            <a:xfrm>
              <a:off x="3854140" y="2970875"/>
              <a:ext cx="3041645" cy="307975"/>
            </a:xfrm>
            <a:prstGeom prst="rect">
              <a:avLst/>
            </a:prstGeom>
            <a:noFill/>
            <a:ln>
              <a:noFill/>
            </a:ln>
          </p:spPr>
          <p:txBody>
            <a:bodyPr spcFirstLastPara="1" wrap="square" lIns="121900" tIns="121900" rIns="121900" bIns="121900" anchor="ctr" anchorCtr="0">
              <a:noAutofit/>
            </a:bodyPr>
            <a:lstStyle/>
            <a:p>
              <a:r>
                <a:rPr lang="en-HK" sz="2000">
                  <a:solidFill>
                    <a:srgbClr val="434343"/>
                  </a:solidFill>
                  <a:latin typeface="Fira Sans Extra Condensed Medium"/>
                  <a:ea typeface="Fira Sans Extra Condensed Medium"/>
                  <a:cs typeface="Fira Sans Extra Condensed Medium"/>
                  <a:sym typeface="Fira Sans Extra Condensed Medium"/>
                </a:rPr>
                <a:t>Modelling Flow</a:t>
              </a:r>
            </a:p>
          </p:txBody>
        </p:sp>
      </p:grpSp>
      <p:grpSp>
        <p:nvGrpSpPr>
          <p:cNvPr id="162" name="Google Shape;162;p17"/>
          <p:cNvGrpSpPr/>
          <p:nvPr/>
        </p:nvGrpSpPr>
        <p:grpSpPr>
          <a:xfrm>
            <a:off x="2767754" y="4304961"/>
            <a:ext cx="456018" cy="504323"/>
            <a:chOff x="-46779900" y="3588000"/>
            <a:chExt cx="300125" cy="263875"/>
          </a:xfrm>
        </p:grpSpPr>
        <p:sp>
          <p:nvSpPr>
            <p:cNvPr id="163" name="Google Shape;163;p17"/>
            <p:cNvSpPr/>
            <p:nvPr/>
          </p:nvSpPr>
          <p:spPr>
            <a:xfrm>
              <a:off x="-46746025" y="3588000"/>
              <a:ext cx="230800" cy="263875"/>
            </a:xfrm>
            <a:custGeom>
              <a:avLst/>
              <a:gdLst/>
              <a:ahLst/>
              <a:cxnLst/>
              <a:rect l="l" t="t" r="r" b="b"/>
              <a:pathLst>
                <a:path w="9232" h="10555" extrusionOk="0">
                  <a:moveTo>
                    <a:pt x="4632" y="1"/>
                  </a:moveTo>
                  <a:cubicBezTo>
                    <a:pt x="3309" y="1"/>
                    <a:pt x="2017" y="442"/>
                    <a:pt x="1040" y="1355"/>
                  </a:cubicBezTo>
                  <a:cubicBezTo>
                    <a:pt x="694" y="1670"/>
                    <a:pt x="599" y="2206"/>
                    <a:pt x="851" y="2679"/>
                  </a:cubicBezTo>
                  <a:cubicBezTo>
                    <a:pt x="284" y="3403"/>
                    <a:pt x="1" y="4317"/>
                    <a:pt x="1" y="5262"/>
                  </a:cubicBezTo>
                  <a:lnTo>
                    <a:pt x="1" y="9484"/>
                  </a:lnTo>
                  <a:cubicBezTo>
                    <a:pt x="1" y="10082"/>
                    <a:pt x="473" y="10555"/>
                    <a:pt x="1072" y="10555"/>
                  </a:cubicBezTo>
                  <a:cubicBezTo>
                    <a:pt x="1670" y="10555"/>
                    <a:pt x="2143" y="10082"/>
                    <a:pt x="2143" y="9484"/>
                  </a:cubicBezTo>
                  <a:lnTo>
                    <a:pt x="2143" y="6680"/>
                  </a:lnTo>
                  <a:cubicBezTo>
                    <a:pt x="2143" y="6081"/>
                    <a:pt x="1670" y="5609"/>
                    <a:pt x="1072" y="5609"/>
                  </a:cubicBezTo>
                  <a:cubicBezTo>
                    <a:pt x="946" y="5609"/>
                    <a:pt x="851" y="5672"/>
                    <a:pt x="725" y="5703"/>
                  </a:cubicBezTo>
                  <a:lnTo>
                    <a:pt x="725" y="5262"/>
                  </a:lnTo>
                  <a:cubicBezTo>
                    <a:pt x="725" y="4474"/>
                    <a:pt x="946" y="3750"/>
                    <a:pt x="1387" y="3151"/>
                  </a:cubicBezTo>
                  <a:cubicBezTo>
                    <a:pt x="1499" y="3182"/>
                    <a:pt x="1620" y="3199"/>
                    <a:pt x="1745" y="3199"/>
                  </a:cubicBezTo>
                  <a:cubicBezTo>
                    <a:pt x="2005" y="3199"/>
                    <a:pt x="2276" y="3123"/>
                    <a:pt x="2489" y="2931"/>
                  </a:cubicBezTo>
                  <a:cubicBezTo>
                    <a:pt x="3057" y="2427"/>
                    <a:pt x="3836" y="2175"/>
                    <a:pt x="4616" y="2175"/>
                  </a:cubicBezTo>
                  <a:cubicBezTo>
                    <a:pt x="5396" y="2175"/>
                    <a:pt x="6176" y="2427"/>
                    <a:pt x="6743" y="2931"/>
                  </a:cubicBezTo>
                  <a:cubicBezTo>
                    <a:pt x="6942" y="3107"/>
                    <a:pt x="7187" y="3207"/>
                    <a:pt x="7468" y="3207"/>
                  </a:cubicBezTo>
                  <a:cubicBezTo>
                    <a:pt x="7588" y="3207"/>
                    <a:pt x="7714" y="3189"/>
                    <a:pt x="7845" y="3151"/>
                  </a:cubicBezTo>
                  <a:cubicBezTo>
                    <a:pt x="8286" y="3781"/>
                    <a:pt x="8507" y="4506"/>
                    <a:pt x="8507" y="5262"/>
                  </a:cubicBezTo>
                  <a:lnTo>
                    <a:pt x="8507" y="5703"/>
                  </a:lnTo>
                  <a:cubicBezTo>
                    <a:pt x="8412" y="5640"/>
                    <a:pt x="8286" y="5609"/>
                    <a:pt x="8160" y="5609"/>
                  </a:cubicBezTo>
                  <a:cubicBezTo>
                    <a:pt x="7562" y="5609"/>
                    <a:pt x="7089" y="6081"/>
                    <a:pt x="7089" y="6680"/>
                  </a:cubicBezTo>
                  <a:lnTo>
                    <a:pt x="7089" y="9484"/>
                  </a:lnTo>
                  <a:cubicBezTo>
                    <a:pt x="7089" y="10082"/>
                    <a:pt x="7562" y="10555"/>
                    <a:pt x="8160" y="10555"/>
                  </a:cubicBezTo>
                  <a:cubicBezTo>
                    <a:pt x="8759" y="10555"/>
                    <a:pt x="9232" y="10082"/>
                    <a:pt x="9232" y="9484"/>
                  </a:cubicBezTo>
                  <a:lnTo>
                    <a:pt x="9232" y="5262"/>
                  </a:lnTo>
                  <a:cubicBezTo>
                    <a:pt x="9232" y="4317"/>
                    <a:pt x="8948" y="3466"/>
                    <a:pt x="8412" y="2679"/>
                  </a:cubicBezTo>
                  <a:cubicBezTo>
                    <a:pt x="8664" y="2206"/>
                    <a:pt x="8570" y="1670"/>
                    <a:pt x="8223" y="1355"/>
                  </a:cubicBezTo>
                  <a:cubicBezTo>
                    <a:pt x="7215" y="442"/>
                    <a:pt x="5955" y="1"/>
                    <a:pt x="4632" y="1"/>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164" name="Google Shape;164;p17"/>
            <p:cNvSpPr/>
            <p:nvPr/>
          </p:nvSpPr>
          <p:spPr>
            <a:xfrm>
              <a:off x="-46674350" y="3710075"/>
              <a:ext cx="91400" cy="122900"/>
            </a:xfrm>
            <a:custGeom>
              <a:avLst/>
              <a:gdLst/>
              <a:ahLst/>
              <a:cxnLst/>
              <a:rect l="l" t="t" r="r" b="b"/>
              <a:pathLst>
                <a:path w="3656" h="4916" extrusionOk="0">
                  <a:moveTo>
                    <a:pt x="1765" y="1"/>
                  </a:moveTo>
                  <a:cubicBezTo>
                    <a:pt x="1544" y="1"/>
                    <a:pt x="1418" y="158"/>
                    <a:pt x="1418" y="348"/>
                  </a:cubicBezTo>
                  <a:lnTo>
                    <a:pt x="1418" y="2868"/>
                  </a:lnTo>
                  <a:cubicBezTo>
                    <a:pt x="1292" y="2805"/>
                    <a:pt x="1166" y="2773"/>
                    <a:pt x="1040" y="2773"/>
                  </a:cubicBezTo>
                  <a:cubicBezTo>
                    <a:pt x="473" y="2773"/>
                    <a:pt x="1" y="3246"/>
                    <a:pt x="1" y="3845"/>
                  </a:cubicBezTo>
                  <a:cubicBezTo>
                    <a:pt x="1" y="4443"/>
                    <a:pt x="473" y="4916"/>
                    <a:pt x="1040" y="4916"/>
                  </a:cubicBezTo>
                  <a:cubicBezTo>
                    <a:pt x="1639" y="4916"/>
                    <a:pt x="2111" y="4443"/>
                    <a:pt x="2111" y="3845"/>
                  </a:cubicBezTo>
                  <a:lnTo>
                    <a:pt x="2111" y="1450"/>
                  </a:lnTo>
                  <a:cubicBezTo>
                    <a:pt x="2363" y="1513"/>
                    <a:pt x="2521" y="1639"/>
                    <a:pt x="2584" y="1797"/>
                  </a:cubicBezTo>
                  <a:cubicBezTo>
                    <a:pt x="2868" y="2112"/>
                    <a:pt x="2931" y="2584"/>
                    <a:pt x="2836" y="3057"/>
                  </a:cubicBezTo>
                  <a:cubicBezTo>
                    <a:pt x="2773" y="3246"/>
                    <a:pt x="2899" y="3435"/>
                    <a:pt x="3057" y="3498"/>
                  </a:cubicBezTo>
                  <a:lnTo>
                    <a:pt x="3151" y="3498"/>
                  </a:lnTo>
                  <a:cubicBezTo>
                    <a:pt x="3309" y="3498"/>
                    <a:pt x="3466" y="3372"/>
                    <a:pt x="3498" y="3214"/>
                  </a:cubicBezTo>
                  <a:cubicBezTo>
                    <a:pt x="3655" y="2553"/>
                    <a:pt x="3529" y="1828"/>
                    <a:pt x="3151" y="1324"/>
                  </a:cubicBezTo>
                  <a:cubicBezTo>
                    <a:pt x="2899" y="1041"/>
                    <a:pt x="2552" y="820"/>
                    <a:pt x="2111" y="726"/>
                  </a:cubicBezTo>
                  <a:lnTo>
                    <a:pt x="2111" y="348"/>
                  </a:lnTo>
                  <a:cubicBezTo>
                    <a:pt x="2111" y="158"/>
                    <a:pt x="1954" y="1"/>
                    <a:pt x="1765" y="1"/>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165" name="Google Shape;165;p17"/>
            <p:cNvSpPr/>
            <p:nvPr/>
          </p:nvSpPr>
          <p:spPr>
            <a:xfrm>
              <a:off x="-46779900" y="3754200"/>
              <a:ext cx="17350" cy="70125"/>
            </a:xfrm>
            <a:custGeom>
              <a:avLst/>
              <a:gdLst/>
              <a:ahLst/>
              <a:cxnLst/>
              <a:rect l="l" t="t" r="r" b="b"/>
              <a:pathLst>
                <a:path w="694" h="2805" extrusionOk="0">
                  <a:moveTo>
                    <a:pt x="694" y="0"/>
                  </a:moveTo>
                  <a:cubicBezTo>
                    <a:pt x="253" y="347"/>
                    <a:pt x="1" y="819"/>
                    <a:pt x="1" y="1418"/>
                  </a:cubicBezTo>
                  <a:cubicBezTo>
                    <a:pt x="1" y="2017"/>
                    <a:pt x="253" y="2458"/>
                    <a:pt x="694" y="2804"/>
                  </a:cubicBezTo>
                  <a:lnTo>
                    <a:pt x="694" y="0"/>
                  </a:ln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166" name="Google Shape;166;p17"/>
            <p:cNvSpPr/>
            <p:nvPr/>
          </p:nvSpPr>
          <p:spPr>
            <a:xfrm>
              <a:off x="-46497925" y="3754200"/>
              <a:ext cx="18150" cy="70125"/>
            </a:xfrm>
            <a:custGeom>
              <a:avLst/>
              <a:gdLst/>
              <a:ahLst/>
              <a:cxnLst/>
              <a:rect l="l" t="t" r="r" b="b"/>
              <a:pathLst>
                <a:path w="726" h="2805" extrusionOk="0">
                  <a:moveTo>
                    <a:pt x="1" y="0"/>
                  </a:moveTo>
                  <a:lnTo>
                    <a:pt x="1" y="2804"/>
                  </a:lnTo>
                  <a:cubicBezTo>
                    <a:pt x="442" y="2489"/>
                    <a:pt x="725" y="1954"/>
                    <a:pt x="725" y="1418"/>
                  </a:cubicBezTo>
                  <a:cubicBezTo>
                    <a:pt x="725" y="851"/>
                    <a:pt x="442" y="347"/>
                    <a:pt x="1" y="0"/>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grpSp>
      <p:pic>
        <p:nvPicPr>
          <p:cNvPr id="6" name="Graphic 5" descr="Gears">
            <a:extLst>
              <a:ext uri="{FF2B5EF4-FFF2-40B4-BE49-F238E27FC236}">
                <a16:creationId xmlns:a16="http://schemas.microsoft.com/office/drawing/2014/main" id="{4D3B336C-A9F0-4AB1-8E87-B6F7BD0ED81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02150" y="5423613"/>
            <a:ext cx="606448" cy="606448"/>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CCA239-19C6-0C4F-80FC-A5944218347C}"/>
              </a:ext>
            </a:extLst>
          </p:cNvPr>
          <p:cNvSpPr>
            <a:spLocks noGrp="1"/>
          </p:cNvSpPr>
          <p:nvPr>
            <p:ph type="body" sz="quarter" idx="10"/>
          </p:nvPr>
        </p:nvSpPr>
        <p:spPr>
          <a:xfrm>
            <a:off x="359998" y="1980000"/>
            <a:ext cx="9225066" cy="1800000"/>
          </a:xfrm>
        </p:spPr>
        <p:txBody>
          <a:bodyPr/>
          <a:lstStyle/>
          <a:p>
            <a:r>
              <a:rPr lang="en-US" sz="3500" b="1">
                <a:latin typeface="Verdana" panose="020B0604030504040204" pitchFamily="34" charset="0"/>
                <a:ea typeface="Verdana" panose="020B0604030504040204" pitchFamily="34" charset="0"/>
              </a:rPr>
              <a:t>Action: </a:t>
            </a:r>
          </a:p>
          <a:p>
            <a:r>
              <a:rPr lang="en-US" sz="2800">
                <a:latin typeface="Verdana" panose="020B0604030504040204" pitchFamily="34" charset="0"/>
                <a:ea typeface="Verdana" panose="020B0604030504040204" pitchFamily="34" charset="0"/>
              </a:rPr>
              <a:t>Download My AI / Complete FHC</a:t>
            </a:r>
          </a:p>
        </p:txBody>
      </p:sp>
    </p:spTree>
    <p:extLst>
      <p:ext uri="{BB962C8B-B14F-4D97-AF65-F5344CB8AC3E}">
        <p14:creationId xmlns:p14="http://schemas.microsoft.com/office/powerpoint/2010/main" val="3898164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51E935FC-1A66-4EF7-87EE-804D53F50032}"/>
              </a:ext>
            </a:extLst>
          </p:cNvPr>
          <p:cNvSpPr txBox="1">
            <a:spLocks/>
          </p:cNvSpPr>
          <p:nvPr/>
        </p:nvSpPr>
        <p:spPr>
          <a:xfrm>
            <a:off x="272012" y="86412"/>
            <a:ext cx="11647976" cy="758577"/>
          </a:xfrm>
          <a:prstGeom prst="rect">
            <a:avLst/>
          </a:prstGeom>
        </p:spPr>
        <p:txBody>
          <a:bodyPr lIns="0" tIns="0" rIns="0" bIns="0" anchor="ctr"/>
          <a:lstStyle>
            <a:lvl1pPr algn="l" rtl="0" fontAlgn="base">
              <a:lnSpc>
                <a:spcPts val="2400"/>
              </a:lnSpc>
              <a:spcBef>
                <a:spcPct val="20000"/>
              </a:spcBef>
              <a:spcAft>
                <a:spcPct val="0"/>
              </a:spcAft>
              <a:buFont typeface="Arial" panose="020B0604020202020204" pitchFamily="34" charset="0"/>
              <a:defRPr sz="2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pPr>
            <a:r>
              <a:rPr lang="en-GB" sz="2200">
                <a:solidFill>
                  <a:srgbClr val="D31145"/>
                </a:solidFill>
              </a:rPr>
              <a:t>Malay</a:t>
            </a:r>
            <a:r>
              <a:rPr lang="en-GB" sz="2200" b="0">
                <a:solidFill>
                  <a:srgbClr val="D31145"/>
                </a:solidFill>
              </a:rPr>
              <a:t> has higher likelihood to download My AIA and complete FHC. </a:t>
            </a:r>
          </a:p>
          <a:p>
            <a:pPr marL="342900" indent="-342900">
              <a:spcBef>
                <a:spcPts val="0"/>
              </a:spcBef>
              <a:buFont typeface="Arial" panose="020B0604020202020204" pitchFamily="34" charset="0"/>
              <a:buChar char="•"/>
            </a:pPr>
            <a:r>
              <a:rPr lang="en-GB" sz="2000" b="0">
                <a:solidFill>
                  <a:srgbClr val="D31145"/>
                </a:solidFill>
              </a:rPr>
              <a:t>But, </a:t>
            </a:r>
            <a:r>
              <a:rPr lang="en-GB" sz="2000">
                <a:solidFill>
                  <a:srgbClr val="D31145"/>
                </a:solidFill>
              </a:rPr>
              <a:t>Chinese</a:t>
            </a:r>
            <a:r>
              <a:rPr lang="en-GB" sz="2000" b="0">
                <a:solidFill>
                  <a:srgbClr val="D31145"/>
                </a:solidFill>
              </a:rPr>
              <a:t> has higher repurchase rate after completing FHC</a:t>
            </a:r>
          </a:p>
        </p:txBody>
      </p:sp>
      <p:pic>
        <p:nvPicPr>
          <p:cNvPr id="2" name="Picture 1">
            <a:extLst>
              <a:ext uri="{FF2B5EF4-FFF2-40B4-BE49-F238E27FC236}">
                <a16:creationId xmlns:a16="http://schemas.microsoft.com/office/drawing/2014/main" id="{D7EC0113-F181-4AF2-9FC7-0D2878DF48D4}"/>
              </a:ext>
            </a:extLst>
          </p:cNvPr>
          <p:cNvPicPr>
            <a:picLocks noChangeAspect="1"/>
          </p:cNvPicPr>
          <p:nvPr/>
        </p:nvPicPr>
        <p:blipFill>
          <a:blip r:embed="rId3"/>
          <a:stretch>
            <a:fillRect/>
          </a:stretch>
        </p:blipFill>
        <p:spPr>
          <a:xfrm>
            <a:off x="2682240" y="1127120"/>
            <a:ext cx="7294414" cy="2534433"/>
          </a:xfrm>
          <a:prstGeom prst="rect">
            <a:avLst/>
          </a:prstGeom>
        </p:spPr>
      </p:pic>
      <p:sp>
        <p:nvSpPr>
          <p:cNvPr id="7" name="TextBox 6">
            <a:extLst>
              <a:ext uri="{FF2B5EF4-FFF2-40B4-BE49-F238E27FC236}">
                <a16:creationId xmlns:a16="http://schemas.microsoft.com/office/drawing/2014/main" id="{58698ED7-AE5B-4966-9479-A60F5235016C}"/>
              </a:ext>
            </a:extLst>
          </p:cNvPr>
          <p:cNvSpPr txBox="1"/>
          <p:nvPr/>
        </p:nvSpPr>
        <p:spPr>
          <a:xfrm>
            <a:off x="3251200" y="844989"/>
            <a:ext cx="3119120" cy="276999"/>
          </a:xfrm>
          <a:prstGeom prst="rect">
            <a:avLst/>
          </a:prstGeom>
          <a:noFill/>
        </p:spPr>
        <p:txBody>
          <a:bodyPr wrap="square" rtlCol="0">
            <a:spAutoFit/>
          </a:bodyPr>
          <a:lstStyle/>
          <a:p>
            <a:pPr algn="ctr"/>
            <a:r>
              <a:rPr lang="en-GB" sz="1200" b="1" dirty="0">
                <a:latin typeface="Arial" panose="020B0604020202020204" pitchFamily="34" charset="0"/>
                <a:cs typeface="Arial" panose="020B0604020202020204" pitchFamily="34" charset="0"/>
              </a:rPr>
              <a:t>% Download My AIA </a:t>
            </a:r>
            <a:r>
              <a:rPr lang="en-GB" sz="1000" b="1" i="1" dirty="0">
                <a:latin typeface="Arial" panose="020B0604020202020204" pitchFamily="34" charset="0"/>
                <a:cs typeface="Arial" panose="020B0604020202020204" pitchFamily="34" charset="0"/>
              </a:rPr>
              <a:t>(Repurchase Rate)</a:t>
            </a:r>
            <a:endParaRPr lang="en-HK" sz="1000" b="1" i="1"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12A40F2C-3BD7-40C5-A2E8-076D7CCAC5D4}"/>
              </a:ext>
            </a:extLst>
          </p:cNvPr>
          <p:cNvSpPr txBox="1"/>
          <p:nvPr/>
        </p:nvSpPr>
        <p:spPr>
          <a:xfrm>
            <a:off x="639064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Download My AIA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B782A3B6-2E2C-4A5C-A390-880872E0EFC4}"/>
              </a:ext>
            </a:extLst>
          </p:cNvPr>
          <p:cNvSpPr txBox="1"/>
          <p:nvPr/>
        </p:nvSpPr>
        <p:spPr>
          <a:xfrm>
            <a:off x="3251200" y="3683954"/>
            <a:ext cx="3119120" cy="276999"/>
          </a:xfrm>
          <a:prstGeom prst="rect">
            <a:avLst/>
          </a:prstGeom>
          <a:noFill/>
        </p:spPr>
        <p:txBody>
          <a:bodyPr wrap="square" rtlCol="0">
            <a:spAutoFit/>
          </a:bodyPr>
          <a:lstStyle/>
          <a:p>
            <a:pPr algn="ctr"/>
            <a:r>
              <a:rPr lang="en-GB" sz="1200" b="1" dirty="0">
                <a:latin typeface="Arial" panose="020B0604020202020204" pitchFamily="34" charset="0"/>
                <a:cs typeface="Arial" panose="020B0604020202020204" pitchFamily="34" charset="0"/>
              </a:rPr>
              <a:t>% Complete FHC </a:t>
            </a:r>
            <a:r>
              <a:rPr lang="en-GB" sz="1000" b="1" i="1" dirty="0">
                <a:latin typeface="Arial" panose="020B0604020202020204" pitchFamily="34" charset="0"/>
                <a:cs typeface="Arial" panose="020B0604020202020204" pitchFamily="34" charset="0"/>
              </a:rPr>
              <a:t>(Repurchase Rate)</a:t>
            </a:r>
            <a:endParaRPr lang="en-HK" sz="1000" b="1" i="1" dirty="0">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FA862603-1584-4E8D-9D77-2787EBD7A151}"/>
              </a:ext>
            </a:extLst>
          </p:cNvPr>
          <p:cNvSpPr txBox="1"/>
          <p:nvPr/>
        </p:nvSpPr>
        <p:spPr>
          <a:xfrm>
            <a:off x="639064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grpSp>
        <p:nvGrpSpPr>
          <p:cNvPr id="12" name="Group 11">
            <a:extLst>
              <a:ext uri="{FF2B5EF4-FFF2-40B4-BE49-F238E27FC236}">
                <a16:creationId xmlns:a16="http://schemas.microsoft.com/office/drawing/2014/main" id="{998026B2-6B7F-4BDD-99F2-9F13D0B30C24}"/>
              </a:ext>
            </a:extLst>
          </p:cNvPr>
          <p:cNvGrpSpPr/>
          <p:nvPr/>
        </p:nvGrpSpPr>
        <p:grpSpPr>
          <a:xfrm>
            <a:off x="2782752" y="3918337"/>
            <a:ext cx="7045766" cy="2371546"/>
            <a:chOff x="2782752" y="3918337"/>
            <a:chExt cx="7045766" cy="2371546"/>
          </a:xfrm>
        </p:grpSpPr>
        <p:pic>
          <p:nvPicPr>
            <p:cNvPr id="3" name="Picture 2">
              <a:extLst>
                <a:ext uri="{FF2B5EF4-FFF2-40B4-BE49-F238E27FC236}">
                  <a16:creationId xmlns:a16="http://schemas.microsoft.com/office/drawing/2014/main" id="{86C0E002-6119-48D4-A97F-89489C8BA2EC}"/>
                </a:ext>
              </a:extLst>
            </p:cNvPr>
            <p:cNvPicPr>
              <a:picLocks noChangeAspect="1"/>
            </p:cNvPicPr>
            <p:nvPr/>
          </p:nvPicPr>
          <p:blipFill>
            <a:blip r:embed="rId4"/>
            <a:stretch>
              <a:fillRect/>
            </a:stretch>
          </p:blipFill>
          <p:spPr>
            <a:xfrm>
              <a:off x="2830377" y="3918337"/>
              <a:ext cx="6998141" cy="2371546"/>
            </a:xfrm>
            <a:prstGeom prst="rect">
              <a:avLst/>
            </a:prstGeom>
          </p:spPr>
        </p:pic>
        <p:pic>
          <p:nvPicPr>
            <p:cNvPr id="8" name="Picture 7">
              <a:extLst>
                <a:ext uri="{FF2B5EF4-FFF2-40B4-BE49-F238E27FC236}">
                  <a16:creationId xmlns:a16="http://schemas.microsoft.com/office/drawing/2014/main" id="{5E8F7064-0614-44D9-AB7E-DA51F630E9C5}"/>
                </a:ext>
              </a:extLst>
            </p:cNvPr>
            <p:cNvPicPr>
              <a:picLocks noChangeAspect="1"/>
            </p:cNvPicPr>
            <p:nvPr/>
          </p:nvPicPr>
          <p:blipFill>
            <a:blip r:embed="rId5"/>
            <a:stretch>
              <a:fillRect/>
            </a:stretch>
          </p:blipFill>
          <p:spPr>
            <a:xfrm>
              <a:off x="2782752" y="3960953"/>
              <a:ext cx="438150" cy="2247900"/>
            </a:xfrm>
            <a:prstGeom prst="rect">
              <a:avLst/>
            </a:prstGeom>
          </p:spPr>
        </p:pic>
        <p:pic>
          <p:nvPicPr>
            <p:cNvPr id="9" name="Picture 8">
              <a:extLst>
                <a:ext uri="{FF2B5EF4-FFF2-40B4-BE49-F238E27FC236}">
                  <a16:creationId xmlns:a16="http://schemas.microsoft.com/office/drawing/2014/main" id="{C3EF8EA6-B98B-4BF9-8905-43E975E0970D}"/>
                </a:ext>
              </a:extLst>
            </p:cNvPr>
            <p:cNvPicPr>
              <a:picLocks noChangeAspect="1"/>
            </p:cNvPicPr>
            <p:nvPr/>
          </p:nvPicPr>
          <p:blipFill>
            <a:blip r:embed="rId6"/>
            <a:stretch>
              <a:fillRect/>
            </a:stretch>
          </p:blipFill>
          <p:spPr>
            <a:xfrm>
              <a:off x="2908300" y="4155578"/>
              <a:ext cx="342900" cy="209550"/>
            </a:xfrm>
            <a:prstGeom prst="rect">
              <a:avLst/>
            </a:prstGeom>
          </p:spPr>
        </p:pic>
        <p:pic>
          <p:nvPicPr>
            <p:cNvPr id="10" name="Picture 9">
              <a:extLst>
                <a:ext uri="{FF2B5EF4-FFF2-40B4-BE49-F238E27FC236}">
                  <a16:creationId xmlns:a16="http://schemas.microsoft.com/office/drawing/2014/main" id="{BCC76DB5-A9C7-4544-BA6E-570672873731}"/>
                </a:ext>
              </a:extLst>
            </p:cNvPr>
            <p:cNvPicPr>
              <a:picLocks noChangeAspect="1"/>
            </p:cNvPicPr>
            <p:nvPr/>
          </p:nvPicPr>
          <p:blipFill>
            <a:blip r:embed="rId7"/>
            <a:stretch>
              <a:fillRect/>
            </a:stretch>
          </p:blipFill>
          <p:spPr>
            <a:xfrm>
              <a:off x="2913471" y="4674688"/>
              <a:ext cx="342900" cy="171450"/>
            </a:xfrm>
            <a:prstGeom prst="rect">
              <a:avLst/>
            </a:prstGeom>
          </p:spPr>
        </p:pic>
        <p:pic>
          <p:nvPicPr>
            <p:cNvPr id="11" name="Picture 10">
              <a:extLst>
                <a:ext uri="{FF2B5EF4-FFF2-40B4-BE49-F238E27FC236}">
                  <a16:creationId xmlns:a16="http://schemas.microsoft.com/office/drawing/2014/main" id="{869BD370-3B2D-4DC7-8E5F-9D562C6123F9}"/>
                </a:ext>
              </a:extLst>
            </p:cNvPr>
            <p:cNvPicPr>
              <a:picLocks noChangeAspect="1"/>
            </p:cNvPicPr>
            <p:nvPr/>
          </p:nvPicPr>
          <p:blipFill>
            <a:blip r:embed="rId8"/>
            <a:stretch>
              <a:fillRect/>
            </a:stretch>
          </p:blipFill>
          <p:spPr>
            <a:xfrm>
              <a:off x="9509760" y="4155578"/>
              <a:ext cx="295275" cy="1724025"/>
            </a:xfrm>
            <a:prstGeom prst="rect">
              <a:avLst/>
            </a:prstGeom>
          </p:spPr>
        </p:pic>
      </p:grpSp>
      <p:sp>
        <p:nvSpPr>
          <p:cNvPr id="29" name="Rectangle 28">
            <a:extLst>
              <a:ext uri="{FF2B5EF4-FFF2-40B4-BE49-F238E27FC236}">
                <a16:creationId xmlns:a16="http://schemas.microsoft.com/office/drawing/2014/main" id="{E5906696-4C6F-4D6B-BB45-B712B7C754FE}"/>
              </a:ext>
            </a:extLst>
          </p:cNvPr>
          <p:cNvSpPr/>
          <p:nvPr/>
        </p:nvSpPr>
        <p:spPr>
          <a:xfrm>
            <a:off x="2908300" y="2321239"/>
            <a:ext cx="7068354" cy="55404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30" name="Rectangle 29">
            <a:extLst>
              <a:ext uri="{FF2B5EF4-FFF2-40B4-BE49-F238E27FC236}">
                <a16:creationId xmlns:a16="http://schemas.microsoft.com/office/drawing/2014/main" id="{B9047CEE-06C6-4EBD-B434-428314BD2677}"/>
              </a:ext>
            </a:extLst>
          </p:cNvPr>
          <p:cNvSpPr/>
          <p:nvPr/>
        </p:nvSpPr>
        <p:spPr>
          <a:xfrm>
            <a:off x="2908300" y="4975352"/>
            <a:ext cx="7068354" cy="55404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31" name="Oval 30">
            <a:extLst>
              <a:ext uri="{FF2B5EF4-FFF2-40B4-BE49-F238E27FC236}">
                <a16:creationId xmlns:a16="http://schemas.microsoft.com/office/drawing/2014/main" id="{3984A1D7-336A-4BE4-BD55-05258BC667FF}"/>
              </a:ext>
            </a:extLst>
          </p:cNvPr>
          <p:cNvSpPr/>
          <p:nvPr/>
        </p:nvSpPr>
        <p:spPr>
          <a:xfrm>
            <a:off x="4490720" y="5608320"/>
            <a:ext cx="518160" cy="271283"/>
          </a:xfrm>
          <a:prstGeom prst="ellipse">
            <a:avLst/>
          </a:prstGeom>
          <a:noFill/>
          <a:ln w="31750">
            <a:solidFill>
              <a:srgbClr val="33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Tree>
    <p:extLst>
      <p:ext uri="{BB962C8B-B14F-4D97-AF65-F5344CB8AC3E}">
        <p14:creationId xmlns:p14="http://schemas.microsoft.com/office/powerpoint/2010/main" val="5686989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51E935FC-1A66-4EF7-87EE-804D53F50032}"/>
              </a:ext>
            </a:extLst>
          </p:cNvPr>
          <p:cNvSpPr txBox="1">
            <a:spLocks/>
          </p:cNvSpPr>
          <p:nvPr/>
        </p:nvSpPr>
        <p:spPr>
          <a:xfrm>
            <a:off x="272012" y="51688"/>
            <a:ext cx="11647976" cy="758577"/>
          </a:xfrm>
          <a:prstGeom prst="rect">
            <a:avLst/>
          </a:prstGeom>
        </p:spPr>
        <p:txBody>
          <a:bodyPr lIns="0" tIns="0" rIns="0" bIns="0" anchor="ctr"/>
          <a:lstStyle>
            <a:lvl1pPr algn="l" rtl="0" fontAlgn="base">
              <a:lnSpc>
                <a:spcPts val="2400"/>
              </a:lnSpc>
              <a:spcBef>
                <a:spcPct val="20000"/>
              </a:spcBef>
              <a:spcAft>
                <a:spcPct val="0"/>
              </a:spcAft>
              <a:buFont typeface="Arial" panose="020B0604020202020204" pitchFamily="34" charset="0"/>
              <a:defRPr sz="2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pPr>
            <a:r>
              <a:rPr lang="en-GB" sz="2200">
                <a:solidFill>
                  <a:srgbClr val="D31145"/>
                </a:solidFill>
              </a:rPr>
              <a:t>Malay</a:t>
            </a:r>
            <a:r>
              <a:rPr lang="en-GB" sz="2200" b="0">
                <a:solidFill>
                  <a:srgbClr val="D31145"/>
                </a:solidFill>
              </a:rPr>
              <a:t> has higher likelihood to download My AIA and complete FHC. </a:t>
            </a:r>
          </a:p>
          <a:p>
            <a:pPr marL="342900" indent="-342900">
              <a:spcBef>
                <a:spcPts val="0"/>
              </a:spcBef>
              <a:buFont typeface="Arial" panose="020B0604020202020204" pitchFamily="34" charset="0"/>
              <a:buChar char="•"/>
            </a:pPr>
            <a:r>
              <a:rPr lang="en-GB" sz="2000" b="0">
                <a:solidFill>
                  <a:srgbClr val="D31145"/>
                </a:solidFill>
              </a:rPr>
              <a:t>But, </a:t>
            </a:r>
            <a:r>
              <a:rPr lang="en-GB" sz="2000">
                <a:solidFill>
                  <a:srgbClr val="D31145"/>
                </a:solidFill>
              </a:rPr>
              <a:t>Chinese</a:t>
            </a:r>
            <a:r>
              <a:rPr lang="en-GB" sz="2000" b="0">
                <a:solidFill>
                  <a:srgbClr val="D31145"/>
                </a:solidFill>
              </a:rPr>
              <a:t> has higher repurchase rate after completing FHC</a:t>
            </a:r>
          </a:p>
        </p:txBody>
      </p:sp>
      <p:sp>
        <p:nvSpPr>
          <p:cNvPr id="7" name="TextBox 6">
            <a:extLst>
              <a:ext uri="{FF2B5EF4-FFF2-40B4-BE49-F238E27FC236}">
                <a16:creationId xmlns:a16="http://schemas.microsoft.com/office/drawing/2014/main" id="{58698ED7-AE5B-4966-9479-A60F5235016C}"/>
              </a:ext>
            </a:extLst>
          </p:cNvPr>
          <p:cNvSpPr txBox="1"/>
          <p:nvPr/>
        </p:nvSpPr>
        <p:spPr>
          <a:xfrm>
            <a:off x="2706151" y="810265"/>
            <a:ext cx="3119120" cy="276999"/>
          </a:xfrm>
          <a:prstGeom prst="rect">
            <a:avLst/>
          </a:prstGeom>
          <a:noFill/>
        </p:spPr>
        <p:txBody>
          <a:bodyPr wrap="square" rtlCol="0">
            <a:spAutoFit/>
          </a:bodyPr>
          <a:lstStyle/>
          <a:p>
            <a:pPr algn="ctr"/>
            <a:r>
              <a:rPr lang="en-GB" sz="1200" b="1" dirty="0">
                <a:latin typeface="Arial" panose="020B0604020202020204" pitchFamily="34" charset="0"/>
                <a:cs typeface="Arial" panose="020B0604020202020204" pitchFamily="34" charset="0"/>
              </a:rPr>
              <a:t>% Download My AIA </a:t>
            </a:r>
            <a:r>
              <a:rPr lang="en-GB" sz="1000" b="1" i="1" dirty="0">
                <a:latin typeface="Arial" panose="020B0604020202020204" pitchFamily="34" charset="0"/>
                <a:cs typeface="Arial" panose="020B0604020202020204" pitchFamily="34" charset="0"/>
              </a:rPr>
              <a:t>(Repurchase Rate)</a:t>
            </a:r>
            <a:endParaRPr lang="en-HK" sz="1000" b="1" i="1"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12A40F2C-3BD7-40C5-A2E8-076D7CCAC5D4}"/>
              </a:ext>
            </a:extLst>
          </p:cNvPr>
          <p:cNvSpPr txBox="1"/>
          <p:nvPr/>
        </p:nvSpPr>
        <p:spPr>
          <a:xfrm>
            <a:off x="6425865" y="851980"/>
            <a:ext cx="3119120" cy="276999"/>
          </a:xfrm>
          <a:prstGeom prst="rect">
            <a:avLst/>
          </a:prstGeom>
          <a:noFill/>
        </p:spPr>
        <p:txBody>
          <a:bodyPr wrap="square" rtlCol="0">
            <a:spAutoFit/>
          </a:bodyPr>
          <a:lstStyle/>
          <a:p>
            <a:pPr algn="ctr"/>
            <a:r>
              <a:rPr lang="en-GB" sz="1200" b="1" dirty="0">
                <a:latin typeface="Arial" panose="020B0604020202020204" pitchFamily="34" charset="0"/>
                <a:cs typeface="Arial" panose="020B0604020202020204" pitchFamily="34" charset="0"/>
              </a:rPr>
              <a:t>% Not Download My AIA </a:t>
            </a:r>
            <a:r>
              <a:rPr lang="en-GB" sz="1000" b="1" i="1" dirty="0">
                <a:latin typeface="Arial" panose="020B0604020202020204" pitchFamily="34" charset="0"/>
                <a:cs typeface="Arial" panose="020B0604020202020204" pitchFamily="34" charset="0"/>
              </a:rPr>
              <a:t>(# Customers)</a:t>
            </a:r>
            <a:endParaRPr lang="en-HK" sz="1000" b="1" i="1" dirty="0">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B782A3B6-2E2C-4A5C-A390-880872E0EFC4}"/>
              </a:ext>
            </a:extLst>
          </p:cNvPr>
          <p:cNvSpPr txBox="1"/>
          <p:nvPr/>
        </p:nvSpPr>
        <p:spPr>
          <a:xfrm>
            <a:off x="325120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Complete FHC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FA862603-1584-4E8D-9D77-2787EBD7A151}"/>
              </a:ext>
            </a:extLst>
          </p:cNvPr>
          <p:cNvSpPr txBox="1"/>
          <p:nvPr/>
        </p:nvSpPr>
        <p:spPr>
          <a:xfrm>
            <a:off x="639064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FAA463A1-A1E3-4F99-A1CD-4AD5ADA59385}"/>
              </a:ext>
            </a:extLst>
          </p:cNvPr>
          <p:cNvPicPr>
            <a:picLocks noChangeAspect="1"/>
          </p:cNvPicPr>
          <p:nvPr/>
        </p:nvPicPr>
        <p:blipFill>
          <a:blip r:embed="rId3"/>
          <a:stretch>
            <a:fillRect/>
          </a:stretch>
        </p:blipFill>
        <p:spPr>
          <a:xfrm>
            <a:off x="1972834" y="1045446"/>
            <a:ext cx="8101114" cy="2537207"/>
          </a:xfrm>
          <a:prstGeom prst="rect">
            <a:avLst/>
          </a:prstGeom>
        </p:spPr>
      </p:pic>
      <p:sp>
        <p:nvSpPr>
          <p:cNvPr id="29" name="Rectangle 28">
            <a:extLst>
              <a:ext uri="{FF2B5EF4-FFF2-40B4-BE49-F238E27FC236}">
                <a16:creationId xmlns:a16="http://schemas.microsoft.com/office/drawing/2014/main" id="{E5906696-4C6F-4D6B-BB45-B712B7C754FE}"/>
              </a:ext>
            </a:extLst>
          </p:cNvPr>
          <p:cNvSpPr/>
          <p:nvPr/>
        </p:nvSpPr>
        <p:spPr>
          <a:xfrm>
            <a:off x="2561823" y="2246491"/>
            <a:ext cx="7068354" cy="55404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5" name="Picture 4">
            <a:extLst>
              <a:ext uri="{FF2B5EF4-FFF2-40B4-BE49-F238E27FC236}">
                <a16:creationId xmlns:a16="http://schemas.microsoft.com/office/drawing/2014/main" id="{6316F080-1483-4423-84F1-4EF4A6BA3B31}"/>
              </a:ext>
            </a:extLst>
          </p:cNvPr>
          <p:cNvPicPr>
            <a:picLocks noChangeAspect="1"/>
          </p:cNvPicPr>
          <p:nvPr/>
        </p:nvPicPr>
        <p:blipFill>
          <a:blip r:embed="rId4"/>
          <a:stretch>
            <a:fillRect/>
          </a:stretch>
        </p:blipFill>
        <p:spPr>
          <a:xfrm>
            <a:off x="2231958" y="3762936"/>
            <a:ext cx="7728084" cy="2766845"/>
          </a:xfrm>
          <a:prstGeom prst="rect">
            <a:avLst/>
          </a:prstGeom>
        </p:spPr>
      </p:pic>
      <p:sp>
        <p:nvSpPr>
          <p:cNvPr id="30" name="Rectangle 29">
            <a:extLst>
              <a:ext uri="{FF2B5EF4-FFF2-40B4-BE49-F238E27FC236}">
                <a16:creationId xmlns:a16="http://schemas.microsoft.com/office/drawing/2014/main" id="{B9047CEE-06C6-4EBD-B434-428314BD2677}"/>
              </a:ext>
            </a:extLst>
          </p:cNvPr>
          <p:cNvSpPr/>
          <p:nvPr/>
        </p:nvSpPr>
        <p:spPr>
          <a:xfrm>
            <a:off x="2561823" y="5100857"/>
            <a:ext cx="7068354" cy="55404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31" name="Oval 30">
            <a:extLst>
              <a:ext uri="{FF2B5EF4-FFF2-40B4-BE49-F238E27FC236}">
                <a16:creationId xmlns:a16="http://schemas.microsoft.com/office/drawing/2014/main" id="{3984A1D7-336A-4BE4-BD55-05258BC667FF}"/>
              </a:ext>
            </a:extLst>
          </p:cNvPr>
          <p:cNvSpPr/>
          <p:nvPr/>
        </p:nvSpPr>
        <p:spPr>
          <a:xfrm>
            <a:off x="4084055" y="5690894"/>
            <a:ext cx="518160" cy="271283"/>
          </a:xfrm>
          <a:prstGeom prst="ellipse">
            <a:avLst/>
          </a:prstGeom>
          <a:noFill/>
          <a:ln w="31750">
            <a:solidFill>
              <a:srgbClr val="33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19" name="TextBox 18">
            <a:extLst>
              <a:ext uri="{FF2B5EF4-FFF2-40B4-BE49-F238E27FC236}">
                <a16:creationId xmlns:a16="http://schemas.microsoft.com/office/drawing/2014/main" id="{861B8D50-B10C-4140-ADC3-BAD64BBEC20A}"/>
              </a:ext>
            </a:extLst>
          </p:cNvPr>
          <p:cNvSpPr txBox="1"/>
          <p:nvPr/>
        </p:nvSpPr>
        <p:spPr>
          <a:xfrm>
            <a:off x="2706151" y="3529069"/>
            <a:ext cx="3119120" cy="276999"/>
          </a:xfrm>
          <a:prstGeom prst="rect">
            <a:avLst/>
          </a:prstGeom>
          <a:noFill/>
        </p:spPr>
        <p:txBody>
          <a:bodyPr wrap="square" rtlCol="0">
            <a:spAutoFit/>
          </a:bodyPr>
          <a:lstStyle/>
          <a:p>
            <a:pPr algn="ctr"/>
            <a:r>
              <a:rPr lang="en-GB" sz="1200" b="1" dirty="0">
                <a:latin typeface="Arial" panose="020B0604020202020204" pitchFamily="34" charset="0"/>
                <a:cs typeface="Arial" panose="020B0604020202020204" pitchFamily="34" charset="0"/>
              </a:rPr>
              <a:t>% Complete FHC </a:t>
            </a:r>
            <a:r>
              <a:rPr lang="en-GB" sz="1000" b="1" i="1" dirty="0">
                <a:latin typeface="Arial" panose="020B0604020202020204" pitchFamily="34" charset="0"/>
                <a:cs typeface="Arial" panose="020B0604020202020204" pitchFamily="34" charset="0"/>
              </a:rPr>
              <a:t>(Repurchase Rate)</a:t>
            </a:r>
            <a:endParaRPr lang="en-HK" sz="1000" b="1" i="1"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A28712A0-BC41-42CD-B0F9-E90B7B83397A}"/>
              </a:ext>
            </a:extLst>
          </p:cNvPr>
          <p:cNvSpPr txBox="1"/>
          <p:nvPr/>
        </p:nvSpPr>
        <p:spPr>
          <a:xfrm>
            <a:off x="5845591" y="352906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192087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6439D2F-B301-4D7F-B142-6ADBAC20CBB2}"/>
              </a:ext>
            </a:extLst>
          </p:cNvPr>
          <p:cNvPicPr>
            <a:picLocks noChangeAspect="1"/>
          </p:cNvPicPr>
          <p:nvPr/>
        </p:nvPicPr>
        <p:blipFill>
          <a:blip r:embed="rId3"/>
          <a:stretch>
            <a:fillRect/>
          </a:stretch>
        </p:blipFill>
        <p:spPr>
          <a:xfrm>
            <a:off x="2067560" y="3960953"/>
            <a:ext cx="8422640" cy="2390461"/>
          </a:xfrm>
          <a:prstGeom prst="rect">
            <a:avLst/>
          </a:prstGeom>
        </p:spPr>
      </p:pic>
      <p:pic>
        <p:nvPicPr>
          <p:cNvPr id="2" name="Picture 1">
            <a:extLst>
              <a:ext uri="{FF2B5EF4-FFF2-40B4-BE49-F238E27FC236}">
                <a16:creationId xmlns:a16="http://schemas.microsoft.com/office/drawing/2014/main" id="{E869F2F8-E083-4DD9-8A14-58F769AC4D4E}"/>
              </a:ext>
            </a:extLst>
          </p:cNvPr>
          <p:cNvPicPr>
            <a:picLocks noChangeAspect="1"/>
          </p:cNvPicPr>
          <p:nvPr/>
        </p:nvPicPr>
        <p:blipFill>
          <a:blip r:embed="rId4"/>
          <a:stretch>
            <a:fillRect/>
          </a:stretch>
        </p:blipFill>
        <p:spPr>
          <a:xfrm>
            <a:off x="2346960" y="1065787"/>
            <a:ext cx="7863840" cy="2639004"/>
          </a:xfrm>
          <a:prstGeom prst="rect">
            <a:avLst/>
          </a:prstGeom>
        </p:spPr>
      </p:pic>
      <p:sp>
        <p:nvSpPr>
          <p:cNvPr id="6" name="Text Placeholder 2">
            <a:extLst>
              <a:ext uri="{FF2B5EF4-FFF2-40B4-BE49-F238E27FC236}">
                <a16:creationId xmlns:a16="http://schemas.microsoft.com/office/drawing/2014/main" id="{51E935FC-1A66-4EF7-87EE-804D53F50032}"/>
              </a:ext>
            </a:extLst>
          </p:cNvPr>
          <p:cNvSpPr txBox="1">
            <a:spLocks/>
          </p:cNvSpPr>
          <p:nvPr/>
        </p:nvSpPr>
        <p:spPr>
          <a:xfrm>
            <a:off x="109452" y="179129"/>
            <a:ext cx="12052068" cy="758577"/>
          </a:xfrm>
          <a:prstGeom prst="rect">
            <a:avLst/>
          </a:prstGeom>
        </p:spPr>
        <p:txBody>
          <a:bodyPr lIns="0" tIns="0" rIns="0" bIns="0" anchor="ctr"/>
          <a:lstStyle>
            <a:lvl1pPr algn="l" rtl="0" fontAlgn="base">
              <a:lnSpc>
                <a:spcPts val="2400"/>
              </a:lnSpc>
              <a:spcBef>
                <a:spcPct val="20000"/>
              </a:spcBef>
              <a:spcAft>
                <a:spcPct val="0"/>
              </a:spcAft>
              <a:buFont typeface="Arial" panose="020B0604020202020204" pitchFamily="34" charset="0"/>
              <a:defRPr sz="2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2200">
                <a:solidFill>
                  <a:srgbClr val="D31145"/>
                </a:solidFill>
              </a:rPr>
              <a:t>Married with Kids </a:t>
            </a:r>
            <a:r>
              <a:rPr lang="en-GB" sz="2200" b="0">
                <a:solidFill>
                  <a:srgbClr val="D31145"/>
                </a:solidFill>
              </a:rPr>
              <a:t>are having higher likelihood to for both actions with higher conversion rate</a:t>
            </a:r>
          </a:p>
          <a:p>
            <a:pPr marL="342900" indent="-342900">
              <a:buFont typeface="Arial" panose="020B0604020202020204" pitchFamily="34" charset="0"/>
              <a:buChar char="•"/>
            </a:pPr>
            <a:r>
              <a:rPr lang="en-GB" sz="2000" b="0">
                <a:solidFill>
                  <a:srgbClr val="D31145"/>
                </a:solidFill>
              </a:rPr>
              <a:t>Young Single &amp; Young Couple </a:t>
            </a:r>
            <a:r>
              <a:rPr lang="en-GB" sz="2000" b="0" i="1">
                <a:solidFill>
                  <a:srgbClr val="D31145"/>
                </a:solidFill>
              </a:rPr>
              <a:t>(18-35 </a:t>
            </a:r>
            <a:r>
              <a:rPr lang="en-GB" sz="2000" b="0" i="1" err="1">
                <a:solidFill>
                  <a:srgbClr val="D31145"/>
                </a:solidFill>
              </a:rPr>
              <a:t>y.o</a:t>
            </a:r>
            <a:r>
              <a:rPr lang="en-GB" sz="2000" b="0" i="1">
                <a:solidFill>
                  <a:srgbClr val="D31145"/>
                </a:solidFill>
              </a:rPr>
              <a:t>.) </a:t>
            </a:r>
            <a:r>
              <a:rPr lang="en-GB" sz="2000" b="0">
                <a:solidFill>
                  <a:srgbClr val="D31145"/>
                </a:solidFill>
              </a:rPr>
              <a:t>are having highest likelihood for both actions, but with lower conversion rate</a:t>
            </a:r>
          </a:p>
        </p:txBody>
      </p:sp>
      <p:sp>
        <p:nvSpPr>
          <p:cNvPr id="3" name="TextBox 2">
            <a:extLst>
              <a:ext uri="{FF2B5EF4-FFF2-40B4-BE49-F238E27FC236}">
                <a16:creationId xmlns:a16="http://schemas.microsoft.com/office/drawing/2014/main" id="{C60D038D-4A31-4844-A1C1-112F4FAB908D}"/>
              </a:ext>
            </a:extLst>
          </p:cNvPr>
          <p:cNvSpPr txBox="1"/>
          <p:nvPr/>
        </p:nvSpPr>
        <p:spPr>
          <a:xfrm>
            <a:off x="325120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Download My AIA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C3C2919-B01B-4076-979D-ECEDF4BE576C}"/>
              </a:ext>
            </a:extLst>
          </p:cNvPr>
          <p:cNvSpPr txBox="1"/>
          <p:nvPr/>
        </p:nvSpPr>
        <p:spPr>
          <a:xfrm>
            <a:off x="639064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Download My AIA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27F2CD6-6F35-47B5-BC66-62DD75A31B81}"/>
              </a:ext>
            </a:extLst>
          </p:cNvPr>
          <p:cNvSpPr txBox="1"/>
          <p:nvPr/>
        </p:nvSpPr>
        <p:spPr>
          <a:xfrm>
            <a:off x="325120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Complete FHC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5106493-0153-4DAA-BEE9-C1620B64FF35}"/>
              </a:ext>
            </a:extLst>
          </p:cNvPr>
          <p:cNvSpPr txBox="1"/>
          <p:nvPr/>
        </p:nvSpPr>
        <p:spPr>
          <a:xfrm>
            <a:off x="639064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4C01E5D9-1509-4F1B-8760-FC30CAB502BF}"/>
              </a:ext>
            </a:extLst>
          </p:cNvPr>
          <p:cNvSpPr/>
          <p:nvPr/>
        </p:nvSpPr>
        <p:spPr>
          <a:xfrm>
            <a:off x="2441406" y="1686561"/>
            <a:ext cx="7769394" cy="3536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11" name="Rectangle 10">
            <a:extLst>
              <a:ext uri="{FF2B5EF4-FFF2-40B4-BE49-F238E27FC236}">
                <a16:creationId xmlns:a16="http://schemas.microsoft.com/office/drawing/2014/main" id="{F6940D0F-0B31-4B1A-80D7-8B95ECD1BE57}"/>
              </a:ext>
            </a:extLst>
          </p:cNvPr>
          <p:cNvSpPr/>
          <p:nvPr/>
        </p:nvSpPr>
        <p:spPr>
          <a:xfrm>
            <a:off x="2441406" y="2604750"/>
            <a:ext cx="7769394" cy="30809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12" name="Rectangle 11">
            <a:extLst>
              <a:ext uri="{FF2B5EF4-FFF2-40B4-BE49-F238E27FC236}">
                <a16:creationId xmlns:a16="http://schemas.microsoft.com/office/drawing/2014/main" id="{2C8B1054-FA96-48ED-B7D8-B653F2CDAF04}"/>
              </a:ext>
            </a:extLst>
          </p:cNvPr>
          <p:cNvSpPr/>
          <p:nvPr/>
        </p:nvSpPr>
        <p:spPr>
          <a:xfrm>
            <a:off x="2241782" y="5035973"/>
            <a:ext cx="8278897" cy="51138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Tree>
    <p:extLst>
      <p:ext uri="{BB962C8B-B14F-4D97-AF65-F5344CB8AC3E}">
        <p14:creationId xmlns:p14="http://schemas.microsoft.com/office/powerpoint/2010/main" val="34965033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51E935FC-1A66-4EF7-87EE-804D53F50032}"/>
              </a:ext>
            </a:extLst>
          </p:cNvPr>
          <p:cNvSpPr txBox="1">
            <a:spLocks/>
          </p:cNvSpPr>
          <p:nvPr/>
        </p:nvSpPr>
        <p:spPr>
          <a:xfrm>
            <a:off x="109452" y="179129"/>
            <a:ext cx="12052068" cy="758577"/>
          </a:xfrm>
          <a:prstGeom prst="rect">
            <a:avLst/>
          </a:prstGeom>
        </p:spPr>
        <p:txBody>
          <a:bodyPr lIns="0" tIns="0" rIns="0" bIns="0" anchor="ctr"/>
          <a:lstStyle>
            <a:lvl1pPr algn="l" rtl="0" fontAlgn="base">
              <a:lnSpc>
                <a:spcPts val="2400"/>
              </a:lnSpc>
              <a:spcBef>
                <a:spcPct val="20000"/>
              </a:spcBef>
              <a:spcAft>
                <a:spcPct val="0"/>
              </a:spcAft>
              <a:buFont typeface="Arial" panose="020B0604020202020204" pitchFamily="34" charset="0"/>
              <a:defRPr sz="2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2200">
                <a:solidFill>
                  <a:srgbClr val="D31145"/>
                </a:solidFill>
              </a:rPr>
              <a:t>Married with Kids </a:t>
            </a:r>
            <a:r>
              <a:rPr lang="en-GB" sz="2200" b="0">
                <a:solidFill>
                  <a:srgbClr val="D31145"/>
                </a:solidFill>
              </a:rPr>
              <a:t>are having higher likelihood to for both actions with higher conversion rate</a:t>
            </a:r>
          </a:p>
          <a:p>
            <a:pPr marL="342900" indent="-342900">
              <a:buFont typeface="Arial" panose="020B0604020202020204" pitchFamily="34" charset="0"/>
              <a:buChar char="•"/>
            </a:pPr>
            <a:r>
              <a:rPr lang="en-GB" sz="2000" b="0">
                <a:solidFill>
                  <a:srgbClr val="D31145"/>
                </a:solidFill>
              </a:rPr>
              <a:t>Young Single &amp; Young Couple </a:t>
            </a:r>
            <a:r>
              <a:rPr lang="en-GB" sz="2000" b="0" i="1">
                <a:solidFill>
                  <a:srgbClr val="D31145"/>
                </a:solidFill>
              </a:rPr>
              <a:t>(18-35 </a:t>
            </a:r>
            <a:r>
              <a:rPr lang="en-GB" sz="2000" b="0" i="1" err="1">
                <a:solidFill>
                  <a:srgbClr val="D31145"/>
                </a:solidFill>
              </a:rPr>
              <a:t>y.o</a:t>
            </a:r>
            <a:r>
              <a:rPr lang="en-GB" sz="2000" b="0" i="1">
                <a:solidFill>
                  <a:srgbClr val="D31145"/>
                </a:solidFill>
              </a:rPr>
              <a:t>.) </a:t>
            </a:r>
            <a:r>
              <a:rPr lang="en-GB" sz="2000" b="0">
                <a:solidFill>
                  <a:srgbClr val="D31145"/>
                </a:solidFill>
              </a:rPr>
              <a:t>are having highest likelihood for both actions, but with lower conversion rate</a:t>
            </a:r>
          </a:p>
        </p:txBody>
      </p:sp>
      <p:sp>
        <p:nvSpPr>
          <p:cNvPr id="3" name="TextBox 2">
            <a:extLst>
              <a:ext uri="{FF2B5EF4-FFF2-40B4-BE49-F238E27FC236}">
                <a16:creationId xmlns:a16="http://schemas.microsoft.com/office/drawing/2014/main" id="{C60D038D-4A31-4844-A1C1-112F4FAB908D}"/>
              </a:ext>
            </a:extLst>
          </p:cNvPr>
          <p:cNvSpPr txBox="1"/>
          <p:nvPr/>
        </p:nvSpPr>
        <p:spPr>
          <a:xfrm>
            <a:off x="325120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Download My AIA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C3C2919-B01B-4076-979D-ECEDF4BE576C}"/>
              </a:ext>
            </a:extLst>
          </p:cNvPr>
          <p:cNvSpPr txBox="1"/>
          <p:nvPr/>
        </p:nvSpPr>
        <p:spPr>
          <a:xfrm>
            <a:off x="639064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Download My AIA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27F2CD6-6F35-47B5-BC66-62DD75A31B81}"/>
              </a:ext>
            </a:extLst>
          </p:cNvPr>
          <p:cNvSpPr txBox="1"/>
          <p:nvPr/>
        </p:nvSpPr>
        <p:spPr>
          <a:xfrm>
            <a:off x="325120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Complete FHC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5106493-0153-4DAA-BEE9-C1620B64FF35}"/>
              </a:ext>
            </a:extLst>
          </p:cNvPr>
          <p:cNvSpPr txBox="1"/>
          <p:nvPr/>
        </p:nvSpPr>
        <p:spPr>
          <a:xfrm>
            <a:off x="639064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A845D4C1-B9B2-449C-919A-A63B3B87D675}"/>
              </a:ext>
            </a:extLst>
          </p:cNvPr>
          <p:cNvPicPr>
            <a:picLocks noChangeAspect="1"/>
          </p:cNvPicPr>
          <p:nvPr/>
        </p:nvPicPr>
        <p:blipFill>
          <a:blip r:embed="rId3"/>
          <a:stretch>
            <a:fillRect/>
          </a:stretch>
        </p:blipFill>
        <p:spPr>
          <a:xfrm>
            <a:off x="832233" y="1035587"/>
            <a:ext cx="9657967" cy="2648367"/>
          </a:xfrm>
          <a:prstGeom prst="rect">
            <a:avLst/>
          </a:prstGeom>
        </p:spPr>
      </p:pic>
      <p:sp>
        <p:nvSpPr>
          <p:cNvPr id="9" name="Rectangle 8">
            <a:extLst>
              <a:ext uri="{FF2B5EF4-FFF2-40B4-BE49-F238E27FC236}">
                <a16:creationId xmlns:a16="http://schemas.microsoft.com/office/drawing/2014/main" id="{4C01E5D9-1509-4F1B-8760-FC30CAB502BF}"/>
              </a:ext>
            </a:extLst>
          </p:cNvPr>
          <p:cNvSpPr/>
          <p:nvPr/>
        </p:nvSpPr>
        <p:spPr>
          <a:xfrm>
            <a:off x="2441406" y="1686561"/>
            <a:ext cx="7769394" cy="3536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11" name="Rectangle 10">
            <a:extLst>
              <a:ext uri="{FF2B5EF4-FFF2-40B4-BE49-F238E27FC236}">
                <a16:creationId xmlns:a16="http://schemas.microsoft.com/office/drawing/2014/main" id="{F6940D0F-0B31-4B1A-80D7-8B95ECD1BE57}"/>
              </a:ext>
            </a:extLst>
          </p:cNvPr>
          <p:cNvSpPr/>
          <p:nvPr/>
        </p:nvSpPr>
        <p:spPr>
          <a:xfrm>
            <a:off x="2441406" y="2604750"/>
            <a:ext cx="7769394" cy="30809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14" name="Picture 13">
            <a:extLst>
              <a:ext uri="{FF2B5EF4-FFF2-40B4-BE49-F238E27FC236}">
                <a16:creationId xmlns:a16="http://schemas.microsoft.com/office/drawing/2014/main" id="{CEE3A44C-257A-4ED2-814C-DECEB4C39DC3}"/>
              </a:ext>
            </a:extLst>
          </p:cNvPr>
          <p:cNvPicPr>
            <a:picLocks noChangeAspect="1"/>
          </p:cNvPicPr>
          <p:nvPr/>
        </p:nvPicPr>
        <p:blipFill>
          <a:blip r:embed="rId4"/>
          <a:stretch>
            <a:fillRect/>
          </a:stretch>
        </p:blipFill>
        <p:spPr>
          <a:xfrm>
            <a:off x="633430" y="3893200"/>
            <a:ext cx="10055572" cy="2835252"/>
          </a:xfrm>
          <a:prstGeom prst="rect">
            <a:avLst/>
          </a:prstGeom>
        </p:spPr>
      </p:pic>
      <p:sp>
        <p:nvSpPr>
          <p:cNvPr id="12" name="Rectangle 11">
            <a:extLst>
              <a:ext uri="{FF2B5EF4-FFF2-40B4-BE49-F238E27FC236}">
                <a16:creationId xmlns:a16="http://schemas.microsoft.com/office/drawing/2014/main" id="{2C8B1054-FA96-48ED-B7D8-B653F2CDAF04}"/>
              </a:ext>
            </a:extLst>
          </p:cNvPr>
          <p:cNvSpPr/>
          <p:nvPr/>
        </p:nvSpPr>
        <p:spPr>
          <a:xfrm>
            <a:off x="1812124" y="5310826"/>
            <a:ext cx="8278897" cy="51138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Tree>
    <p:extLst>
      <p:ext uri="{BB962C8B-B14F-4D97-AF65-F5344CB8AC3E}">
        <p14:creationId xmlns:p14="http://schemas.microsoft.com/office/powerpoint/2010/main" val="9887619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E948D5E-4D97-4D4D-A965-E3F0F39BCCD7}"/>
              </a:ext>
            </a:extLst>
          </p:cNvPr>
          <p:cNvPicPr>
            <a:picLocks noChangeAspect="1"/>
          </p:cNvPicPr>
          <p:nvPr/>
        </p:nvPicPr>
        <p:blipFill>
          <a:blip r:embed="rId3"/>
          <a:stretch>
            <a:fillRect/>
          </a:stretch>
        </p:blipFill>
        <p:spPr>
          <a:xfrm>
            <a:off x="2799164" y="1219467"/>
            <a:ext cx="7177489" cy="2464487"/>
          </a:xfrm>
          <a:prstGeom prst="rect">
            <a:avLst/>
          </a:prstGeom>
        </p:spPr>
      </p:pic>
      <p:sp>
        <p:nvSpPr>
          <p:cNvPr id="6" name="Text Placeholder 2">
            <a:extLst>
              <a:ext uri="{FF2B5EF4-FFF2-40B4-BE49-F238E27FC236}">
                <a16:creationId xmlns:a16="http://schemas.microsoft.com/office/drawing/2014/main" id="{51E935FC-1A66-4EF7-87EE-804D53F50032}"/>
              </a:ext>
            </a:extLst>
          </p:cNvPr>
          <p:cNvSpPr txBox="1">
            <a:spLocks/>
          </p:cNvSpPr>
          <p:nvPr/>
        </p:nvSpPr>
        <p:spPr>
          <a:xfrm>
            <a:off x="259544" y="32862"/>
            <a:ext cx="11861336" cy="758577"/>
          </a:xfrm>
          <a:prstGeom prst="rect">
            <a:avLst/>
          </a:prstGeom>
        </p:spPr>
        <p:txBody>
          <a:bodyPr lIns="0" tIns="0" rIns="0" bIns="0" anchor="ctr"/>
          <a:lstStyle>
            <a:lvl1pPr algn="l" rtl="0" fontAlgn="base">
              <a:lnSpc>
                <a:spcPts val="2400"/>
              </a:lnSpc>
              <a:spcBef>
                <a:spcPct val="20000"/>
              </a:spcBef>
              <a:spcAft>
                <a:spcPct val="0"/>
              </a:spcAft>
              <a:buFont typeface="Arial" panose="020B0604020202020204" pitchFamily="34" charset="0"/>
              <a:defRPr sz="2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200" b="0">
                <a:solidFill>
                  <a:srgbClr val="D31145"/>
                </a:solidFill>
              </a:rPr>
              <a:t>Newly joined customers in </a:t>
            </a:r>
            <a:r>
              <a:rPr lang="en-US" sz="2200">
                <a:solidFill>
                  <a:srgbClr val="D31145"/>
                </a:solidFill>
              </a:rPr>
              <a:t>past 2 years </a:t>
            </a:r>
            <a:r>
              <a:rPr lang="en-US" sz="2200" b="0">
                <a:solidFill>
                  <a:srgbClr val="D31145"/>
                </a:solidFill>
              </a:rPr>
              <a:t>have higher chance to </a:t>
            </a:r>
            <a:r>
              <a:rPr lang="en-US" sz="2200">
                <a:solidFill>
                  <a:srgbClr val="D31145"/>
                </a:solidFill>
              </a:rPr>
              <a:t>download My AIA </a:t>
            </a:r>
            <a:r>
              <a:rPr lang="en-US" sz="2200" b="0">
                <a:solidFill>
                  <a:srgbClr val="D31145"/>
                </a:solidFill>
              </a:rPr>
              <a:t>and with higher conversion rate after downloading My AIA</a:t>
            </a:r>
            <a:endParaRPr lang="en-GB" sz="2200" b="0">
              <a:solidFill>
                <a:srgbClr val="D31145"/>
              </a:solidFill>
            </a:endParaRPr>
          </a:p>
        </p:txBody>
      </p:sp>
      <p:sp>
        <p:nvSpPr>
          <p:cNvPr id="3" name="TextBox 2">
            <a:extLst>
              <a:ext uri="{FF2B5EF4-FFF2-40B4-BE49-F238E27FC236}">
                <a16:creationId xmlns:a16="http://schemas.microsoft.com/office/drawing/2014/main" id="{C60D038D-4A31-4844-A1C1-112F4FAB908D}"/>
              </a:ext>
            </a:extLst>
          </p:cNvPr>
          <p:cNvSpPr txBox="1"/>
          <p:nvPr/>
        </p:nvSpPr>
        <p:spPr>
          <a:xfrm>
            <a:off x="325120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Download My AIA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C3C2919-B01B-4076-979D-ECEDF4BE576C}"/>
              </a:ext>
            </a:extLst>
          </p:cNvPr>
          <p:cNvSpPr txBox="1"/>
          <p:nvPr/>
        </p:nvSpPr>
        <p:spPr>
          <a:xfrm>
            <a:off x="639064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Download My AIA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27F2CD6-6F35-47B5-BC66-62DD75A31B81}"/>
              </a:ext>
            </a:extLst>
          </p:cNvPr>
          <p:cNvSpPr txBox="1"/>
          <p:nvPr/>
        </p:nvSpPr>
        <p:spPr>
          <a:xfrm>
            <a:off x="325120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Complete FHC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5106493-0153-4DAA-BEE9-C1620B64FF35}"/>
              </a:ext>
            </a:extLst>
          </p:cNvPr>
          <p:cNvSpPr txBox="1"/>
          <p:nvPr/>
        </p:nvSpPr>
        <p:spPr>
          <a:xfrm>
            <a:off x="639064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4C01E5D9-1509-4F1B-8760-FC30CAB502BF}"/>
              </a:ext>
            </a:extLst>
          </p:cNvPr>
          <p:cNvSpPr/>
          <p:nvPr/>
        </p:nvSpPr>
        <p:spPr>
          <a:xfrm>
            <a:off x="2908300" y="2377440"/>
            <a:ext cx="7068354" cy="105156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2" name="Picture 1">
            <a:extLst>
              <a:ext uri="{FF2B5EF4-FFF2-40B4-BE49-F238E27FC236}">
                <a16:creationId xmlns:a16="http://schemas.microsoft.com/office/drawing/2014/main" id="{34AC874C-7A69-4735-981E-B9B9D17D9721}"/>
              </a:ext>
            </a:extLst>
          </p:cNvPr>
          <p:cNvPicPr>
            <a:picLocks noChangeAspect="1"/>
          </p:cNvPicPr>
          <p:nvPr/>
        </p:nvPicPr>
        <p:blipFill>
          <a:blip r:embed="rId4"/>
          <a:stretch>
            <a:fillRect/>
          </a:stretch>
        </p:blipFill>
        <p:spPr>
          <a:xfrm>
            <a:off x="2799164" y="3982721"/>
            <a:ext cx="7286625" cy="2428875"/>
          </a:xfrm>
          <a:prstGeom prst="rect">
            <a:avLst/>
          </a:prstGeom>
        </p:spPr>
      </p:pic>
    </p:spTree>
    <p:extLst>
      <p:ext uri="{BB962C8B-B14F-4D97-AF65-F5344CB8AC3E}">
        <p14:creationId xmlns:p14="http://schemas.microsoft.com/office/powerpoint/2010/main" val="10263747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51E935FC-1A66-4EF7-87EE-804D53F50032}"/>
              </a:ext>
            </a:extLst>
          </p:cNvPr>
          <p:cNvSpPr txBox="1">
            <a:spLocks/>
          </p:cNvSpPr>
          <p:nvPr/>
        </p:nvSpPr>
        <p:spPr>
          <a:xfrm>
            <a:off x="259544" y="32862"/>
            <a:ext cx="11861336" cy="758577"/>
          </a:xfrm>
          <a:prstGeom prst="rect">
            <a:avLst/>
          </a:prstGeom>
        </p:spPr>
        <p:txBody>
          <a:bodyPr lIns="0" tIns="0" rIns="0" bIns="0" anchor="ctr"/>
          <a:lstStyle>
            <a:lvl1pPr algn="l" rtl="0" fontAlgn="base">
              <a:lnSpc>
                <a:spcPts val="2400"/>
              </a:lnSpc>
              <a:spcBef>
                <a:spcPct val="20000"/>
              </a:spcBef>
              <a:spcAft>
                <a:spcPct val="0"/>
              </a:spcAft>
              <a:buFont typeface="Arial" panose="020B0604020202020204" pitchFamily="34" charset="0"/>
              <a:defRPr sz="2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200" b="0">
                <a:solidFill>
                  <a:srgbClr val="D31145"/>
                </a:solidFill>
              </a:rPr>
              <a:t>Newly joined customers in </a:t>
            </a:r>
            <a:r>
              <a:rPr lang="en-US" sz="2200">
                <a:solidFill>
                  <a:srgbClr val="D31145"/>
                </a:solidFill>
              </a:rPr>
              <a:t>past 2 years </a:t>
            </a:r>
            <a:r>
              <a:rPr lang="en-US" sz="2200" b="0">
                <a:solidFill>
                  <a:srgbClr val="D31145"/>
                </a:solidFill>
              </a:rPr>
              <a:t>have higher chance to </a:t>
            </a:r>
            <a:r>
              <a:rPr lang="en-US" sz="2200">
                <a:solidFill>
                  <a:srgbClr val="D31145"/>
                </a:solidFill>
              </a:rPr>
              <a:t>download My AIA </a:t>
            </a:r>
            <a:r>
              <a:rPr lang="en-US" sz="2200" b="0">
                <a:solidFill>
                  <a:srgbClr val="D31145"/>
                </a:solidFill>
              </a:rPr>
              <a:t>and with higher conversion rate after downloading My AIA</a:t>
            </a:r>
            <a:endParaRPr lang="en-GB" sz="2200" b="0">
              <a:solidFill>
                <a:srgbClr val="D31145"/>
              </a:solidFill>
            </a:endParaRPr>
          </a:p>
        </p:txBody>
      </p:sp>
      <p:sp>
        <p:nvSpPr>
          <p:cNvPr id="3" name="TextBox 2">
            <a:extLst>
              <a:ext uri="{FF2B5EF4-FFF2-40B4-BE49-F238E27FC236}">
                <a16:creationId xmlns:a16="http://schemas.microsoft.com/office/drawing/2014/main" id="{C60D038D-4A31-4844-A1C1-112F4FAB908D}"/>
              </a:ext>
            </a:extLst>
          </p:cNvPr>
          <p:cNvSpPr txBox="1"/>
          <p:nvPr/>
        </p:nvSpPr>
        <p:spPr>
          <a:xfrm>
            <a:off x="325120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Download My AIA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C3C2919-B01B-4076-979D-ECEDF4BE576C}"/>
              </a:ext>
            </a:extLst>
          </p:cNvPr>
          <p:cNvSpPr txBox="1"/>
          <p:nvPr/>
        </p:nvSpPr>
        <p:spPr>
          <a:xfrm>
            <a:off x="639064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Download My AIA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27F2CD6-6F35-47B5-BC66-62DD75A31B81}"/>
              </a:ext>
            </a:extLst>
          </p:cNvPr>
          <p:cNvSpPr txBox="1"/>
          <p:nvPr/>
        </p:nvSpPr>
        <p:spPr>
          <a:xfrm>
            <a:off x="325120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Complete FHC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5106493-0153-4DAA-BEE9-C1620B64FF35}"/>
              </a:ext>
            </a:extLst>
          </p:cNvPr>
          <p:cNvSpPr txBox="1"/>
          <p:nvPr/>
        </p:nvSpPr>
        <p:spPr>
          <a:xfrm>
            <a:off x="639064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17070E39-23AC-4B18-A203-04C56122D2D0}"/>
              </a:ext>
            </a:extLst>
          </p:cNvPr>
          <p:cNvPicPr>
            <a:picLocks noChangeAspect="1"/>
          </p:cNvPicPr>
          <p:nvPr/>
        </p:nvPicPr>
        <p:blipFill>
          <a:blip r:embed="rId3"/>
          <a:stretch>
            <a:fillRect/>
          </a:stretch>
        </p:blipFill>
        <p:spPr>
          <a:xfrm>
            <a:off x="2427805" y="1175538"/>
            <a:ext cx="8029342" cy="2566419"/>
          </a:xfrm>
          <a:prstGeom prst="rect">
            <a:avLst/>
          </a:prstGeom>
        </p:spPr>
      </p:pic>
      <p:sp>
        <p:nvSpPr>
          <p:cNvPr id="9" name="Rectangle 8">
            <a:extLst>
              <a:ext uri="{FF2B5EF4-FFF2-40B4-BE49-F238E27FC236}">
                <a16:creationId xmlns:a16="http://schemas.microsoft.com/office/drawing/2014/main" id="{4C01E5D9-1509-4F1B-8760-FC30CAB502BF}"/>
              </a:ext>
            </a:extLst>
          </p:cNvPr>
          <p:cNvSpPr/>
          <p:nvPr/>
        </p:nvSpPr>
        <p:spPr>
          <a:xfrm>
            <a:off x="2908299" y="2391630"/>
            <a:ext cx="7068354" cy="105156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11" name="Picture 10">
            <a:extLst>
              <a:ext uri="{FF2B5EF4-FFF2-40B4-BE49-F238E27FC236}">
                <a16:creationId xmlns:a16="http://schemas.microsoft.com/office/drawing/2014/main" id="{A241636F-3F8E-4DB8-8CE4-FD8D17193F09}"/>
              </a:ext>
            </a:extLst>
          </p:cNvPr>
          <p:cNvPicPr>
            <a:picLocks noChangeAspect="1"/>
          </p:cNvPicPr>
          <p:nvPr/>
        </p:nvPicPr>
        <p:blipFill>
          <a:blip r:embed="rId4"/>
          <a:stretch>
            <a:fillRect/>
          </a:stretch>
        </p:blipFill>
        <p:spPr>
          <a:xfrm>
            <a:off x="2174616" y="3960954"/>
            <a:ext cx="8282532" cy="2503194"/>
          </a:xfrm>
          <a:prstGeom prst="rect">
            <a:avLst/>
          </a:prstGeom>
        </p:spPr>
      </p:pic>
    </p:spTree>
    <p:extLst>
      <p:ext uri="{BB962C8B-B14F-4D97-AF65-F5344CB8AC3E}">
        <p14:creationId xmlns:p14="http://schemas.microsoft.com/office/powerpoint/2010/main" val="42390033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0EA9149-7CF5-4D42-8B96-68AF014E3735}"/>
              </a:ext>
            </a:extLst>
          </p:cNvPr>
          <p:cNvPicPr>
            <a:picLocks noChangeAspect="1"/>
          </p:cNvPicPr>
          <p:nvPr/>
        </p:nvPicPr>
        <p:blipFill>
          <a:blip r:embed="rId3"/>
          <a:stretch>
            <a:fillRect/>
          </a:stretch>
        </p:blipFill>
        <p:spPr>
          <a:xfrm>
            <a:off x="2787607" y="1361264"/>
            <a:ext cx="7206066" cy="2390775"/>
          </a:xfrm>
          <a:prstGeom prst="rect">
            <a:avLst/>
          </a:prstGeom>
        </p:spPr>
      </p:pic>
      <p:sp>
        <p:nvSpPr>
          <p:cNvPr id="6" name="Text Placeholder 2">
            <a:extLst>
              <a:ext uri="{FF2B5EF4-FFF2-40B4-BE49-F238E27FC236}">
                <a16:creationId xmlns:a16="http://schemas.microsoft.com/office/drawing/2014/main" id="{51E935FC-1A66-4EF7-87EE-804D53F50032}"/>
              </a:ext>
            </a:extLst>
          </p:cNvPr>
          <p:cNvSpPr txBox="1">
            <a:spLocks/>
          </p:cNvSpPr>
          <p:nvPr/>
        </p:nvSpPr>
        <p:spPr>
          <a:xfrm>
            <a:off x="111760" y="154342"/>
            <a:ext cx="12080240" cy="758577"/>
          </a:xfrm>
          <a:prstGeom prst="rect">
            <a:avLst/>
          </a:prstGeom>
        </p:spPr>
        <p:txBody>
          <a:bodyPr lIns="0" tIns="0" rIns="0" bIns="0" anchor="ctr"/>
          <a:lstStyle>
            <a:lvl1pPr algn="l" rtl="0" fontAlgn="base">
              <a:lnSpc>
                <a:spcPts val="2400"/>
              </a:lnSpc>
              <a:spcBef>
                <a:spcPct val="20000"/>
              </a:spcBef>
              <a:spcAft>
                <a:spcPct val="0"/>
              </a:spcAft>
              <a:buFont typeface="Arial" panose="020B0604020202020204" pitchFamily="34" charset="0"/>
              <a:defRPr sz="2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200" b="0">
                <a:solidFill>
                  <a:srgbClr val="D31145"/>
                </a:solidFill>
              </a:rPr>
              <a:t>Active customers with </a:t>
            </a:r>
            <a:r>
              <a:rPr lang="en-US" sz="2200">
                <a:solidFill>
                  <a:srgbClr val="D31145"/>
                </a:solidFill>
              </a:rPr>
              <a:t>recency ≤ 3 years </a:t>
            </a:r>
            <a:r>
              <a:rPr lang="en-US" sz="2200" b="0">
                <a:solidFill>
                  <a:srgbClr val="D31145"/>
                </a:solidFill>
              </a:rPr>
              <a:t>have higher conversion rate after downloading My AIA; for those with recency ≤ 10 years have higher likelihood to download My AIA</a:t>
            </a:r>
          </a:p>
          <a:p>
            <a:pPr marL="342900" indent="-342900">
              <a:buFont typeface="Arial" panose="020B0604020202020204" pitchFamily="34" charset="0"/>
              <a:buChar char="•"/>
            </a:pPr>
            <a:r>
              <a:rPr lang="en-US" sz="2000" b="0">
                <a:solidFill>
                  <a:srgbClr val="D31145"/>
                </a:solidFill>
              </a:rPr>
              <a:t>Those with recency </a:t>
            </a:r>
            <a:r>
              <a:rPr lang="en-US" sz="2000">
                <a:solidFill>
                  <a:srgbClr val="D31145"/>
                </a:solidFill>
              </a:rPr>
              <a:t>≤ 10 years </a:t>
            </a:r>
            <a:r>
              <a:rPr lang="en-US" sz="2000" b="0">
                <a:solidFill>
                  <a:srgbClr val="D31145"/>
                </a:solidFill>
              </a:rPr>
              <a:t>have higher likelihood to </a:t>
            </a:r>
            <a:r>
              <a:rPr lang="en-US" sz="2000">
                <a:solidFill>
                  <a:srgbClr val="D31145"/>
                </a:solidFill>
              </a:rPr>
              <a:t>complete FHC</a:t>
            </a:r>
            <a:r>
              <a:rPr lang="en-US" sz="2000" b="0">
                <a:solidFill>
                  <a:srgbClr val="D31145"/>
                </a:solidFill>
              </a:rPr>
              <a:t> &amp; with higher conversion rate</a:t>
            </a:r>
            <a:endParaRPr lang="en-GB" sz="2000" b="0">
              <a:solidFill>
                <a:srgbClr val="D31145"/>
              </a:solidFill>
            </a:endParaRPr>
          </a:p>
        </p:txBody>
      </p:sp>
      <p:sp>
        <p:nvSpPr>
          <p:cNvPr id="3" name="TextBox 2">
            <a:extLst>
              <a:ext uri="{FF2B5EF4-FFF2-40B4-BE49-F238E27FC236}">
                <a16:creationId xmlns:a16="http://schemas.microsoft.com/office/drawing/2014/main" id="{C60D038D-4A31-4844-A1C1-112F4FAB908D}"/>
              </a:ext>
            </a:extLst>
          </p:cNvPr>
          <p:cNvSpPr txBox="1"/>
          <p:nvPr/>
        </p:nvSpPr>
        <p:spPr>
          <a:xfrm>
            <a:off x="3251200" y="105834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Download My AIA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C3C2919-B01B-4076-979D-ECEDF4BE576C}"/>
              </a:ext>
            </a:extLst>
          </p:cNvPr>
          <p:cNvSpPr txBox="1"/>
          <p:nvPr/>
        </p:nvSpPr>
        <p:spPr>
          <a:xfrm>
            <a:off x="6390640" y="105834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Download My AIA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27F2CD6-6F35-47B5-BC66-62DD75A31B81}"/>
              </a:ext>
            </a:extLst>
          </p:cNvPr>
          <p:cNvSpPr txBox="1"/>
          <p:nvPr/>
        </p:nvSpPr>
        <p:spPr>
          <a:xfrm>
            <a:off x="325120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Complete FHC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5106493-0153-4DAA-BEE9-C1620B64FF35}"/>
              </a:ext>
            </a:extLst>
          </p:cNvPr>
          <p:cNvSpPr txBox="1"/>
          <p:nvPr/>
        </p:nvSpPr>
        <p:spPr>
          <a:xfrm>
            <a:off x="639064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4C01E5D9-1509-4F1B-8760-FC30CAB502BF}"/>
              </a:ext>
            </a:extLst>
          </p:cNvPr>
          <p:cNvSpPr/>
          <p:nvPr/>
        </p:nvSpPr>
        <p:spPr>
          <a:xfrm>
            <a:off x="2908300" y="2448561"/>
            <a:ext cx="7068354" cy="10972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2" name="Picture 1">
            <a:extLst>
              <a:ext uri="{FF2B5EF4-FFF2-40B4-BE49-F238E27FC236}">
                <a16:creationId xmlns:a16="http://schemas.microsoft.com/office/drawing/2014/main" id="{09CC6949-572D-415C-94E8-0E929142CEF9}"/>
              </a:ext>
            </a:extLst>
          </p:cNvPr>
          <p:cNvPicPr>
            <a:picLocks noChangeAspect="1"/>
          </p:cNvPicPr>
          <p:nvPr/>
        </p:nvPicPr>
        <p:blipFill>
          <a:blip r:embed="rId4"/>
          <a:stretch>
            <a:fillRect/>
          </a:stretch>
        </p:blipFill>
        <p:spPr>
          <a:xfrm>
            <a:off x="2770589" y="3959293"/>
            <a:ext cx="7343775" cy="2390775"/>
          </a:xfrm>
          <a:prstGeom prst="rect">
            <a:avLst/>
          </a:prstGeom>
        </p:spPr>
      </p:pic>
      <p:sp>
        <p:nvSpPr>
          <p:cNvPr id="11" name="Rectangle 10">
            <a:extLst>
              <a:ext uri="{FF2B5EF4-FFF2-40B4-BE49-F238E27FC236}">
                <a16:creationId xmlns:a16="http://schemas.microsoft.com/office/drawing/2014/main" id="{4071480B-11A7-46F0-83CC-EF57257CF91B}"/>
              </a:ext>
            </a:extLst>
          </p:cNvPr>
          <p:cNvSpPr/>
          <p:nvPr/>
        </p:nvSpPr>
        <p:spPr>
          <a:xfrm>
            <a:off x="2925319" y="4302384"/>
            <a:ext cx="7068354" cy="18952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12" name="Rectangle 11">
            <a:extLst>
              <a:ext uri="{FF2B5EF4-FFF2-40B4-BE49-F238E27FC236}">
                <a16:creationId xmlns:a16="http://schemas.microsoft.com/office/drawing/2014/main" id="{C9F2F5CA-1B1E-46D7-B771-F24B9FF57239}"/>
              </a:ext>
            </a:extLst>
          </p:cNvPr>
          <p:cNvSpPr/>
          <p:nvPr/>
        </p:nvSpPr>
        <p:spPr>
          <a:xfrm>
            <a:off x="2908300" y="1755962"/>
            <a:ext cx="7068354" cy="666683"/>
          </a:xfrm>
          <a:prstGeom prst="rect">
            <a:avLst/>
          </a:prstGeom>
          <a:noFill/>
          <a:ln>
            <a:solidFill>
              <a:srgbClr val="33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Tree>
    <p:extLst>
      <p:ext uri="{BB962C8B-B14F-4D97-AF65-F5344CB8AC3E}">
        <p14:creationId xmlns:p14="http://schemas.microsoft.com/office/powerpoint/2010/main" val="37261404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0EA9149-7CF5-4D42-8B96-68AF014E3735}"/>
              </a:ext>
            </a:extLst>
          </p:cNvPr>
          <p:cNvPicPr>
            <a:picLocks noChangeAspect="1"/>
          </p:cNvPicPr>
          <p:nvPr/>
        </p:nvPicPr>
        <p:blipFill>
          <a:blip r:embed="rId3"/>
          <a:stretch>
            <a:fillRect/>
          </a:stretch>
        </p:blipFill>
        <p:spPr>
          <a:xfrm>
            <a:off x="2787607" y="1361264"/>
            <a:ext cx="7206066" cy="2390775"/>
          </a:xfrm>
          <a:prstGeom prst="rect">
            <a:avLst/>
          </a:prstGeom>
        </p:spPr>
      </p:pic>
      <p:sp>
        <p:nvSpPr>
          <p:cNvPr id="6" name="Text Placeholder 2">
            <a:extLst>
              <a:ext uri="{FF2B5EF4-FFF2-40B4-BE49-F238E27FC236}">
                <a16:creationId xmlns:a16="http://schemas.microsoft.com/office/drawing/2014/main" id="{51E935FC-1A66-4EF7-87EE-804D53F50032}"/>
              </a:ext>
            </a:extLst>
          </p:cNvPr>
          <p:cNvSpPr txBox="1">
            <a:spLocks/>
          </p:cNvSpPr>
          <p:nvPr/>
        </p:nvSpPr>
        <p:spPr>
          <a:xfrm>
            <a:off x="111760" y="154342"/>
            <a:ext cx="12080240" cy="758577"/>
          </a:xfrm>
          <a:prstGeom prst="rect">
            <a:avLst/>
          </a:prstGeom>
        </p:spPr>
        <p:txBody>
          <a:bodyPr lIns="0" tIns="0" rIns="0" bIns="0" anchor="ctr"/>
          <a:lstStyle>
            <a:lvl1pPr algn="l" rtl="0" fontAlgn="base">
              <a:lnSpc>
                <a:spcPts val="2400"/>
              </a:lnSpc>
              <a:spcBef>
                <a:spcPct val="20000"/>
              </a:spcBef>
              <a:spcAft>
                <a:spcPct val="0"/>
              </a:spcAft>
              <a:buFont typeface="Arial" panose="020B0604020202020204" pitchFamily="34" charset="0"/>
              <a:defRPr sz="2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200" b="0">
                <a:solidFill>
                  <a:srgbClr val="D31145"/>
                </a:solidFill>
              </a:rPr>
              <a:t>Active customers with </a:t>
            </a:r>
            <a:r>
              <a:rPr lang="en-US" sz="2200">
                <a:solidFill>
                  <a:srgbClr val="D31145"/>
                </a:solidFill>
              </a:rPr>
              <a:t>recency ≤ 3 years </a:t>
            </a:r>
            <a:r>
              <a:rPr lang="en-US" sz="2200" b="0">
                <a:solidFill>
                  <a:srgbClr val="D31145"/>
                </a:solidFill>
              </a:rPr>
              <a:t>have higher conversion rate after downloading My AIA; for those with recency ≤ 10 years have higher likelihood to download My AIA</a:t>
            </a:r>
          </a:p>
          <a:p>
            <a:pPr marL="342900" indent="-342900">
              <a:buFont typeface="Arial" panose="020B0604020202020204" pitchFamily="34" charset="0"/>
              <a:buChar char="•"/>
            </a:pPr>
            <a:r>
              <a:rPr lang="en-US" sz="2000" b="0">
                <a:solidFill>
                  <a:srgbClr val="D31145"/>
                </a:solidFill>
              </a:rPr>
              <a:t>Those with recency </a:t>
            </a:r>
            <a:r>
              <a:rPr lang="en-US" sz="2000">
                <a:solidFill>
                  <a:srgbClr val="D31145"/>
                </a:solidFill>
              </a:rPr>
              <a:t>≤ 10 years </a:t>
            </a:r>
            <a:r>
              <a:rPr lang="en-US" sz="2000" b="0">
                <a:solidFill>
                  <a:srgbClr val="D31145"/>
                </a:solidFill>
              </a:rPr>
              <a:t>have higher likelihood to </a:t>
            </a:r>
            <a:r>
              <a:rPr lang="en-US" sz="2000">
                <a:solidFill>
                  <a:srgbClr val="D31145"/>
                </a:solidFill>
              </a:rPr>
              <a:t>complete FHC</a:t>
            </a:r>
            <a:r>
              <a:rPr lang="en-US" sz="2000" b="0">
                <a:solidFill>
                  <a:srgbClr val="D31145"/>
                </a:solidFill>
              </a:rPr>
              <a:t> &amp; with higher conversion rate</a:t>
            </a:r>
            <a:endParaRPr lang="en-GB" sz="2000" b="0">
              <a:solidFill>
                <a:srgbClr val="D31145"/>
              </a:solidFill>
            </a:endParaRPr>
          </a:p>
        </p:txBody>
      </p:sp>
      <p:sp>
        <p:nvSpPr>
          <p:cNvPr id="3" name="TextBox 2">
            <a:extLst>
              <a:ext uri="{FF2B5EF4-FFF2-40B4-BE49-F238E27FC236}">
                <a16:creationId xmlns:a16="http://schemas.microsoft.com/office/drawing/2014/main" id="{C60D038D-4A31-4844-A1C1-112F4FAB908D}"/>
              </a:ext>
            </a:extLst>
          </p:cNvPr>
          <p:cNvSpPr txBox="1"/>
          <p:nvPr/>
        </p:nvSpPr>
        <p:spPr>
          <a:xfrm>
            <a:off x="3251200" y="105834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Download My AIA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C3C2919-B01B-4076-979D-ECEDF4BE576C}"/>
              </a:ext>
            </a:extLst>
          </p:cNvPr>
          <p:cNvSpPr txBox="1"/>
          <p:nvPr/>
        </p:nvSpPr>
        <p:spPr>
          <a:xfrm>
            <a:off x="6390640" y="105834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Download My AIA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27F2CD6-6F35-47B5-BC66-62DD75A31B81}"/>
              </a:ext>
            </a:extLst>
          </p:cNvPr>
          <p:cNvSpPr txBox="1"/>
          <p:nvPr/>
        </p:nvSpPr>
        <p:spPr>
          <a:xfrm>
            <a:off x="325120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Complete FHC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5106493-0153-4DAA-BEE9-C1620B64FF35}"/>
              </a:ext>
            </a:extLst>
          </p:cNvPr>
          <p:cNvSpPr txBox="1"/>
          <p:nvPr/>
        </p:nvSpPr>
        <p:spPr>
          <a:xfrm>
            <a:off x="639064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4C01E5D9-1509-4F1B-8760-FC30CAB502BF}"/>
              </a:ext>
            </a:extLst>
          </p:cNvPr>
          <p:cNvSpPr/>
          <p:nvPr/>
        </p:nvSpPr>
        <p:spPr>
          <a:xfrm>
            <a:off x="2908300" y="2448561"/>
            <a:ext cx="7068354" cy="10972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2" name="Picture 1">
            <a:extLst>
              <a:ext uri="{FF2B5EF4-FFF2-40B4-BE49-F238E27FC236}">
                <a16:creationId xmlns:a16="http://schemas.microsoft.com/office/drawing/2014/main" id="{09CC6949-572D-415C-94E8-0E929142CEF9}"/>
              </a:ext>
            </a:extLst>
          </p:cNvPr>
          <p:cNvPicPr>
            <a:picLocks noChangeAspect="1"/>
          </p:cNvPicPr>
          <p:nvPr/>
        </p:nvPicPr>
        <p:blipFill>
          <a:blip r:embed="rId4"/>
          <a:stretch>
            <a:fillRect/>
          </a:stretch>
        </p:blipFill>
        <p:spPr>
          <a:xfrm>
            <a:off x="2770589" y="3959293"/>
            <a:ext cx="7343775" cy="2390775"/>
          </a:xfrm>
          <a:prstGeom prst="rect">
            <a:avLst/>
          </a:prstGeom>
        </p:spPr>
      </p:pic>
      <p:sp>
        <p:nvSpPr>
          <p:cNvPr id="11" name="Rectangle 10">
            <a:extLst>
              <a:ext uri="{FF2B5EF4-FFF2-40B4-BE49-F238E27FC236}">
                <a16:creationId xmlns:a16="http://schemas.microsoft.com/office/drawing/2014/main" id="{4071480B-11A7-46F0-83CC-EF57257CF91B}"/>
              </a:ext>
            </a:extLst>
          </p:cNvPr>
          <p:cNvSpPr/>
          <p:nvPr/>
        </p:nvSpPr>
        <p:spPr>
          <a:xfrm>
            <a:off x="2925319" y="4302384"/>
            <a:ext cx="7068354" cy="18952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12" name="Rectangle 11">
            <a:extLst>
              <a:ext uri="{FF2B5EF4-FFF2-40B4-BE49-F238E27FC236}">
                <a16:creationId xmlns:a16="http://schemas.microsoft.com/office/drawing/2014/main" id="{C9F2F5CA-1B1E-46D7-B771-F24B9FF57239}"/>
              </a:ext>
            </a:extLst>
          </p:cNvPr>
          <p:cNvSpPr/>
          <p:nvPr/>
        </p:nvSpPr>
        <p:spPr>
          <a:xfrm>
            <a:off x="2908300" y="1755962"/>
            <a:ext cx="7068354" cy="666683"/>
          </a:xfrm>
          <a:prstGeom prst="rect">
            <a:avLst/>
          </a:prstGeom>
          <a:noFill/>
          <a:ln>
            <a:solidFill>
              <a:srgbClr val="33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Tree>
    <p:extLst>
      <p:ext uri="{BB962C8B-B14F-4D97-AF65-F5344CB8AC3E}">
        <p14:creationId xmlns:p14="http://schemas.microsoft.com/office/powerpoint/2010/main" val="6779193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02B1FF1-473D-47FB-9359-52D6F98A4148}"/>
              </a:ext>
            </a:extLst>
          </p:cNvPr>
          <p:cNvPicPr>
            <a:picLocks noChangeAspect="1"/>
          </p:cNvPicPr>
          <p:nvPr/>
        </p:nvPicPr>
        <p:blipFill>
          <a:blip r:embed="rId3"/>
          <a:stretch>
            <a:fillRect/>
          </a:stretch>
        </p:blipFill>
        <p:spPr>
          <a:xfrm>
            <a:off x="2682240" y="1208399"/>
            <a:ext cx="7116762" cy="2428875"/>
          </a:xfrm>
          <a:prstGeom prst="rect">
            <a:avLst/>
          </a:prstGeom>
        </p:spPr>
      </p:pic>
      <p:sp>
        <p:nvSpPr>
          <p:cNvPr id="6" name="Text Placeholder 2">
            <a:extLst>
              <a:ext uri="{FF2B5EF4-FFF2-40B4-BE49-F238E27FC236}">
                <a16:creationId xmlns:a16="http://schemas.microsoft.com/office/drawing/2014/main" id="{51E935FC-1A66-4EF7-87EE-804D53F50032}"/>
              </a:ext>
            </a:extLst>
          </p:cNvPr>
          <p:cNvSpPr txBox="1">
            <a:spLocks/>
          </p:cNvSpPr>
          <p:nvPr/>
        </p:nvSpPr>
        <p:spPr>
          <a:xfrm>
            <a:off x="256772" y="72027"/>
            <a:ext cx="11678456" cy="758577"/>
          </a:xfrm>
          <a:prstGeom prst="rect">
            <a:avLst/>
          </a:prstGeom>
        </p:spPr>
        <p:txBody>
          <a:bodyPr lIns="0" tIns="0" rIns="0" bIns="0" anchor="ctr"/>
          <a:lstStyle>
            <a:lvl1pPr algn="l" rtl="0" fontAlgn="base">
              <a:lnSpc>
                <a:spcPts val="2400"/>
              </a:lnSpc>
              <a:spcBef>
                <a:spcPct val="20000"/>
              </a:spcBef>
              <a:spcAft>
                <a:spcPct val="0"/>
              </a:spcAft>
              <a:buFont typeface="Arial" panose="020B0604020202020204" pitchFamily="34" charset="0"/>
              <a:defRPr sz="2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2200">
                <a:solidFill>
                  <a:srgbClr val="D31145"/>
                </a:solidFill>
              </a:rPr>
              <a:t>Vitality</a:t>
            </a:r>
            <a:r>
              <a:rPr lang="en-GB" sz="2200" b="0">
                <a:solidFill>
                  <a:srgbClr val="D31145"/>
                </a:solidFill>
              </a:rPr>
              <a:t> members are with higher likelihood for both actions and conversion rate after the respective actions</a:t>
            </a:r>
          </a:p>
        </p:txBody>
      </p:sp>
      <p:sp>
        <p:nvSpPr>
          <p:cNvPr id="3" name="TextBox 2">
            <a:extLst>
              <a:ext uri="{FF2B5EF4-FFF2-40B4-BE49-F238E27FC236}">
                <a16:creationId xmlns:a16="http://schemas.microsoft.com/office/drawing/2014/main" id="{C60D038D-4A31-4844-A1C1-112F4FAB908D}"/>
              </a:ext>
            </a:extLst>
          </p:cNvPr>
          <p:cNvSpPr txBox="1"/>
          <p:nvPr/>
        </p:nvSpPr>
        <p:spPr>
          <a:xfrm>
            <a:off x="325120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Download My AIA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C3C2919-B01B-4076-979D-ECEDF4BE576C}"/>
              </a:ext>
            </a:extLst>
          </p:cNvPr>
          <p:cNvSpPr txBox="1"/>
          <p:nvPr/>
        </p:nvSpPr>
        <p:spPr>
          <a:xfrm>
            <a:off x="639064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Download My AIA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27F2CD6-6F35-47B5-BC66-62DD75A31B81}"/>
              </a:ext>
            </a:extLst>
          </p:cNvPr>
          <p:cNvSpPr txBox="1"/>
          <p:nvPr/>
        </p:nvSpPr>
        <p:spPr>
          <a:xfrm>
            <a:off x="325120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Complete FHC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5106493-0153-4DAA-BEE9-C1620B64FF35}"/>
              </a:ext>
            </a:extLst>
          </p:cNvPr>
          <p:cNvSpPr txBox="1"/>
          <p:nvPr/>
        </p:nvSpPr>
        <p:spPr>
          <a:xfrm>
            <a:off x="639064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4C01E5D9-1509-4F1B-8760-FC30CAB502BF}"/>
              </a:ext>
            </a:extLst>
          </p:cNvPr>
          <p:cNvSpPr/>
          <p:nvPr/>
        </p:nvSpPr>
        <p:spPr>
          <a:xfrm>
            <a:off x="2902986" y="1211385"/>
            <a:ext cx="7068354" cy="78477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grpSp>
        <p:nvGrpSpPr>
          <p:cNvPr id="17" name="Group 16">
            <a:extLst>
              <a:ext uri="{FF2B5EF4-FFF2-40B4-BE49-F238E27FC236}">
                <a16:creationId xmlns:a16="http://schemas.microsoft.com/office/drawing/2014/main" id="{0793EB18-16A0-406E-B84C-F4FC03256382}"/>
              </a:ext>
            </a:extLst>
          </p:cNvPr>
          <p:cNvGrpSpPr/>
          <p:nvPr/>
        </p:nvGrpSpPr>
        <p:grpSpPr>
          <a:xfrm>
            <a:off x="2726690" y="3982720"/>
            <a:ext cx="7158990" cy="2428876"/>
            <a:chOff x="2726690" y="3982720"/>
            <a:chExt cx="7158990" cy="2428876"/>
          </a:xfrm>
        </p:grpSpPr>
        <p:pic>
          <p:nvPicPr>
            <p:cNvPr id="2" name="Picture 1">
              <a:extLst>
                <a:ext uri="{FF2B5EF4-FFF2-40B4-BE49-F238E27FC236}">
                  <a16:creationId xmlns:a16="http://schemas.microsoft.com/office/drawing/2014/main" id="{7176E056-AB11-4E19-9A0E-60ED72D1C4E5}"/>
                </a:ext>
              </a:extLst>
            </p:cNvPr>
            <p:cNvPicPr>
              <a:picLocks noChangeAspect="1"/>
            </p:cNvPicPr>
            <p:nvPr/>
          </p:nvPicPr>
          <p:blipFill>
            <a:blip r:embed="rId4"/>
            <a:stretch>
              <a:fillRect/>
            </a:stretch>
          </p:blipFill>
          <p:spPr>
            <a:xfrm>
              <a:off x="2779077" y="3982721"/>
              <a:ext cx="7019925" cy="2428875"/>
            </a:xfrm>
            <a:prstGeom prst="rect">
              <a:avLst/>
            </a:prstGeom>
          </p:spPr>
        </p:pic>
        <p:pic>
          <p:nvPicPr>
            <p:cNvPr id="11" name="Picture 10">
              <a:extLst>
                <a:ext uri="{FF2B5EF4-FFF2-40B4-BE49-F238E27FC236}">
                  <a16:creationId xmlns:a16="http://schemas.microsoft.com/office/drawing/2014/main" id="{BFF65DB1-D7C0-43FC-8776-652853F4DD0C}"/>
                </a:ext>
              </a:extLst>
            </p:cNvPr>
            <p:cNvPicPr>
              <a:picLocks noChangeAspect="1"/>
            </p:cNvPicPr>
            <p:nvPr/>
          </p:nvPicPr>
          <p:blipFill>
            <a:blip r:embed="rId5"/>
            <a:stretch>
              <a:fillRect/>
            </a:stretch>
          </p:blipFill>
          <p:spPr>
            <a:xfrm>
              <a:off x="2902986" y="3982720"/>
              <a:ext cx="6896016" cy="612913"/>
            </a:xfrm>
            <a:prstGeom prst="rect">
              <a:avLst/>
            </a:prstGeom>
          </p:spPr>
        </p:pic>
        <p:pic>
          <p:nvPicPr>
            <p:cNvPr id="12" name="Picture 11">
              <a:extLst>
                <a:ext uri="{FF2B5EF4-FFF2-40B4-BE49-F238E27FC236}">
                  <a16:creationId xmlns:a16="http://schemas.microsoft.com/office/drawing/2014/main" id="{D11764FE-A07F-4ADC-9E34-EB71EC00E6B3}"/>
                </a:ext>
              </a:extLst>
            </p:cNvPr>
            <p:cNvPicPr>
              <a:picLocks noChangeAspect="1"/>
            </p:cNvPicPr>
            <p:nvPr/>
          </p:nvPicPr>
          <p:blipFill>
            <a:blip r:embed="rId6"/>
            <a:stretch>
              <a:fillRect/>
            </a:stretch>
          </p:blipFill>
          <p:spPr>
            <a:xfrm>
              <a:off x="2950965" y="5482589"/>
              <a:ext cx="6772155" cy="704850"/>
            </a:xfrm>
            <a:prstGeom prst="rect">
              <a:avLst/>
            </a:prstGeom>
          </p:spPr>
        </p:pic>
        <p:pic>
          <p:nvPicPr>
            <p:cNvPr id="13" name="Picture 12">
              <a:extLst>
                <a:ext uri="{FF2B5EF4-FFF2-40B4-BE49-F238E27FC236}">
                  <a16:creationId xmlns:a16="http://schemas.microsoft.com/office/drawing/2014/main" id="{AF4626C9-A9E8-4E96-894D-E00D123E6E8B}"/>
                </a:ext>
              </a:extLst>
            </p:cNvPr>
            <p:cNvPicPr>
              <a:picLocks noChangeAspect="1"/>
            </p:cNvPicPr>
            <p:nvPr/>
          </p:nvPicPr>
          <p:blipFill>
            <a:blip r:embed="rId7"/>
            <a:stretch>
              <a:fillRect/>
            </a:stretch>
          </p:blipFill>
          <p:spPr>
            <a:xfrm>
              <a:off x="2726690" y="4595633"/>
              <a:ext cx="7158990" cy="704850"/>
            </a:xfrm>
            <a:prstGeom prst="rect">
              <a:avLst/>
            </a:prstGeom>
          </p:spPr>
        </p:pic>
        <p:pic>
          <p:nvPicPr>
            <p:cNvPr id="15" name="Picture 14">
              <a:extLst>
                <a:ext uri="{FF2B5EF4-FFF2-40B4-BE49-F238E27FC236}">
                  <a16:creationId xmlns:a16="http://schemas.microsoft.com/office/drawing/2014/main" id="{D5B56366-00C8-42AC-B017-5BC7BEBF740E}"/>
                </a:ext>
              </a:extLst>
            </p:cNvPr>
            <p:cNvPicPr>
              <a:picLocks noChangeAspect="1"/>
            </p:cNvPicPr>
            <p:nvPr/>
          </p:nvPicPr>
          <p:blipFill>
            <a:blip r:embed="rId8"/>
            <a:stretch>
              <a:fillRect/>
            </a:stretch>
          </p:blipFill>
          <p:spPr>
            <a:xfrm>
              <a:off x="2950965" y="4022327"/>
              <a:ext cx="200025" cy="2181225"/>
            </a:xfrm>
            <a:prstGeom prst="rect">
              <a:avLst/>
            </a:prstGeom>
          </p:spPr>
        </p:pic>
        <p:pic>
          <p:nvPicPr>
            <p:cNvPr id="16" name="Picture 15">
              <a:extLst>
                <a:ext uri="{FF2B5EF4-FFF2-40B4-BE49-F238E27FC236}">
                  <a16:creationId xmlns:a16="http://schemas.microsoft.com/office/drawing/2014/main" id="{EF684B86-5F18-4EDC-BD32-3A1D3B5689E0}"/>
                </a:ext>
              </a:extLst>
            </p:cNvPr>
            <p:cNvPicPr>
              <a:picLocks noChangeAspect="1"/>
            </p:cNvPicPr>
            <p:nvPr/>
          </p:nvPicPr>
          <p:blipFill>
            <a:blip r:embed="rId8"/>
            <a:stretch>
              <a:fillRect/>
            </a:stretch>
          </p:blipFill>
          <p:spPr>
            <a:xfrm>
              <a:off x="9504165" y="4022327"/>
              <a:ext cx="200025" cy="2181225"/>
            </a:xfrm>
            <a:prstGeom prst="rect">
              <a:avLst/>
            </a:prstGeom>
          </p:spPr>
        </p:pic>
      </p:grpSp>
      <p:sp>
        <p:nvSpPr>
          <p:cNvPr id="18" name="Rectangle 17">
            <a:extLst>
              <a:ext uri="{FF2B5EF4-FFF2-40B4-BE49-F238E27FC236}">
                <a16:creationId xmlns:a16="http://schemas.microsoft.com/office/drawing/2014/main" id="{ABA0EE18-D5D1-4AFF-81B8-A8CE4C3E24DB}"/>
              </a:ext>
            </a:extLst>
          </p:cNvPr>
          <p:cNvSpPr/>
          <p:nvPr/>
        </p:nvSpPr>
        <p:spPr>
          <a:xfrm>
            <a:off x="2902986" y="3982720"/>
            <a:ext cx="7068354" cy="78477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Tree>
    <p:extLst>
      <p:ext uri="{BB962C8B-B14F-4D97-AF65-F5344CB8AC3E}">
        <p14:creationId xmlns:p14="http://schemas.microsoft.com/office/powerpoint/2010/main" val="30236299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160;p17">
            <a:extLst>
              <a:ext uri="{FF2B5EF4-FFF2-40B4-BE49-F238E27FC236}">
                <a16:creationId xmlns:a16="http://schemas.microsoft.com/office/drawing/2014/main" id="{993C389A-E2C5-4FC1-807D-48A4CA61DA01}"/>
              </a:ext>
            </a:extLst>
          </p:cNvPr>
          <p:cNvSpPr txBox="1"/>
          <p:nvPr/>
        </p:nvSpPr>
        <p:spPr>
          <a:xfrm>
            <a:off x="1123925" y="622993"/>
            <a:ext cx="10079693" cy="487600"/>
          </a:xfrm>
          <a:prstGeom prst="rect">
            <a:avLst/>
          </a:prstGeom>
          <a:solidFill>
            <a:srgbClr val="D31145"/>
          </a:solidFill>
          <a:ln>
            <a:noFill/>
          </a:ln>
          <a:effectLst>
            <a:outerShdw blurRad="50800" dist="38100" dir="2700000" algn="tl" rotWithShape="0">
              <a:prstClr val="black">
                <a:alpha val="40000"/>
              </a:prstClr>
            </a:outerShdw>
          </a:effectLst>
        </p:spPr>
        <p:txBody>
          <a:bodyPr spcFirstLastPara="1" wrap="square" lIns="121900" tIns="121900" rIns="121900" bIns="121900" anchor="ctr" anchorCtr="0">
            <a:noAutofit/>
          </a:bodyPr>
          <a:lstStyle/>
          <a:p>
            <a:pPr algn="ctr"/>
            <a:r>
              <a:rPr lang="en" sz="2000" b="1">
                <a:solidFill>
                  <a:schemeClr val="bg1"/>
                </a:solidFill>
                <a:latin typeface="Fira Sans Extra Condensed Medium"/>
                <a:ea typeface="Fira Sans Extra Condensed Medium"/>
                <a:cs typeface="Fira Sans Extra Condensed Medium"/>
                <a:sym typeface="Fira Sans Extra Condensed Medium"/>
              </a:rPr>
              <a:t>Anatomy Of </a:t>
            </a:r>
            <a:r>
              <a:rPr lang="en-US" sz="2000" b="1">
                <a:solidFill>
                  <a:schemeClr val="bg1"/>
                </a:solidFill>
                <a:latin typeface="Fira Sans Extra Condensed Medium"/>
                <a:ea typeface="Fira Sans Extra Condensed Medium"/>
                <a:cs typeface="Fira Sans Extra Condensed Medium"/>
                <a:sym typeface="Fira Sans Extra Condensed Medium"/>
              </a:rPr>
              <a:t>The</a:t>
            </a:r>
            <a:r>
              <a:rPr lang="en" sz="2000" b="1">
                <a:solidFill>
                  <a:schemeClr val="bg1"/>
                </a:solidFill>
                <a:latin typeface="Fira Sans Extra Condensed Medium"/>
                <a:ea typeface="Fira Sans Extra Condensed Medium"/>
                <a:cs typeface="Fira Sans Extra Condensed Medium"/>
                <a:sym typeface="Fira Sans Extra Condensed Medium"/>
              </a:rPr>
              <a:t> Recommender System</a:t>
            </a:r>
            <a:endParaRPr sz="2000" b="1">
              <a:solidFill>
                <a:schemeClr val="bg1"/>
              </a:solidFill>
              <a:latin typeface="Fira Sans Extra Condensed Medium"/>
              <a:ea typeface="Fira Sans Extra Condensed Medium"/>
              <a:cs typeface="Fira Sans Extra Condensed Medium"/>
              <a:sym typeface="Fira Sans Extra Condensed Medium"/>
            </a:endParaRPr>
          </a:p>
        </p:txBody>
      </p:sp>
      <p:grpSp>
        <p:nvGrpSpPr>
          <p:cNvPr id="5" name="Group 4">
            <a:extLst>
              <a:ext uri="{FF2B5EF4-FFF2-40B4-BE49-F238E27FC236}">
                <a16:creationId xmlns:a16="http://schemas.microsoft.com/office/drawing/2014/main" id="{E78D9370-48B1-4435-BE46-C0B695238416}"/>
              </a:ext>
            </a:extLst>
          </p:cNvPr>
          <p:cNvGrpSpPr/>
          <p:nvPr/>
        </p:nvGrpSpPr>
        <p:grpSpPr>
          <a:xfrm>
            <a:off x="1157232" y="1586179"/>
            <a:ext cx="2445422" cy="1573361"/>
            <a:chOff x="462961" y="1377079"/>
            <a:chExt cx="2571618" cy="1894194"/>
          </a:xfrm>
        </p:grpSpPr>
        <p:grpSp>
          <p:nvGrpSpPr>
            <p:cNvPr id="6" name="Group 5">
              <a:extLst>
                <a:ext uri="{FF2B5EF4-FFF2-40B4-BE49-F238E27FC236}">
                  <a16:creationId xmlns:a16="http://schemas.microsoft.com/office/drawing/2014/main" id="{5560856B-6243-4F3B-AF04-ACC597045591}"/>
                </a:ext>
              </a:extLst>
            </p:cNvPr>
            <p:cNvGrpSpPr/>
            <p:nvPr/>
          </p:nvGrpSpPr>
          <p:grpSpPr>
            <a:xfrm>
              <a:off x="462961" y="1377079"/>
              <a:ext cx="2571618" cy="1894194"/>
              <a:chOff x="2418544" y="1661212"/>
              <a:chExt cx="4967874" cy="3305310"/>
            </a:xfrm>
          </p:grpSpPr>
          <p:pic>
            <p:nvPicPr>
              <p:cNvPr id="9" name="Picture 2" descr="Image result for target icon">
                <a:extLst>
                  <a:ext uri="{FF2B5EF4-FFF2-40B4-BE49-F238E27FC236}">
                    <a16:creationId xmlns:a16="http://schemas.microsoft.com/office/drawing/2014/main" id="{C44C6DA1-2296-4028-9DC8-263B8AA22077}"/>
                  </a:ext>
                </a:extLst>
              </p:cNvPr>
              <p:cNvPicPr>
                <a:picLocks noChangeAspect="1" noChangeArrowheads="1"/>
              </p:cNvPicPr>
              <p:nvPr/>
            </p:nvPicPr>
            <p:blipFill>
              <a:blip r:embed="rId3" cstate="print">
                <a:duotone>
                  <a:srgbClr val="D31145">
                    <a:shade val="45000"/>
                    <a:satMod val="135000"/>
                  </a:srgbClr>
                  <a:prstClr val="white"/>
                </a:duotone>
                <a:extLst>
                  <a:ext uri="{BEBA8EAE-BF5A-486C-A8C5-ECC9F3942E4B}">
                    <a14:imgProps xmlns:a14="http://schemas.microsoft.com/office/drawing/2010/main">
                      <a14:imgLayer r:embed="rId4">
                        <a14:imgEffect>
                          <a14:sharpenSoften amount="-49000"/>
                        </a14:imgEffect>
                        <a14:imgEffect>
                          <a14:colorTemperature colorTemp="11500"/>
                        </a14:imgEffect>
                        <a14:imgEffect>
                          <a14:saturation sat="351000"/>
                        </a14:imgEffect>
                      </a14:imgLayer>
                    </a14:imgProps>
                  </a:ext>
                  <a:ext uri="{28A0092B-C50C-407E-A947-70E740481C1C}">
                    <a14:useLocalDpi xmlns:a14="http://schemas.microsoft.com/office/drawing/2010/main" val="0"/>
                  </a:ext>
                </a:extLst>
              </a:blip>
              <a:srcRect/>
              <a:stretch>
                <a:fillRect/>
              </a:stretch>
            </p:blipFill>
            <p:spPr bwMode="auto">
              <a:xfrm>
                <a:off x="4324525" y="3020326"/>
                <a:ext cx="748005" cy="748005"/>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a:extLst>
                  <a:ext uri="{FF2B5EF4-FFF2-40B4-BE49-F238E27FC236}">
                    <a16:creationId xmlns:a16="http://schemas.microsoft.com/office/drawing/2014/main" id="{31922177-3D03-4FAA-ADC5-DC1670F2D2A3}"/>
                  </a:ext>
                </a:extLst>
              </p:cNvPr>
              <p:cNvCxnSpPr>
                <a:cxnSpLocks/>
              </p:cNvCxnSpPr>
              <p:nvPr/>
            </p:nvCxnSpPr>
            <p:spPr>
              <a:xfrm>
                <a:off x="3947584" y="2957640"/>
                <a:ext cx="436094" cy="227982"/>
              </a:xfrm>
              <a:prstGeom prst="line">
                <a:avLst/>
              </a:prstGeom>
              <a:noFill/>
              <a:ln w="15875" cap="flat" cmpd="sng" algn="ctr">
                <a:solidFill>
                  <a:srgbClr val="D31145">
                    <a:alpha val="40000"/>
                  </a:srgbClr>
                </a:solidFill>
                <a:prstDash val="sysDash"/>
              </a:ln>
              <a:effectLst/>
            </p:spPr>
          </p:cxnSp>
          <p:cxnSp>
            <p:nvCxnSpPr>
              <p:cNvPr id="11" name="Straight Connector 10">
                <a:extLst>
                  <a:ext uri="{FF2B5EF4-FFF2-40B4-BE49-F238E27FC236}">
                    <a16:creationId xmlns:a16="http://schemas.microsoft.com/office/drawing/2014/main" id="{0A2329A1-E19D-4969-BCE3-D65003052017}"/>
                  </a:ext>
                </a:extLst>
              </p:cNvPr>
              <p:cNvCxnSpPr>
                <a:cxnSpLocks/>
              </p:cNvCxnSpPr>
              <p:nvPr/>
            </p:nvCxnSpPr>
            <p:spPr>
              <a:xfrm flipV="1">
                <a:off x="3957442" y="3528948"/>
                <a:ext cx="356281" cy="237841"/>
              </a:xfrm>
              <a:prstGeom prst="line">
                <a:avLst/>
              </a:prstGeom>
              <a:noFill/>
              <a:ln w="15875" cap="flat" cmpd="sng" algn="ctr">
                <a:solidFill>
                  <a:srgbClr val="D31145">
                    <a:alpha val="40000"/>
                  </a:srgbClr>
                </a:solidFill>
                <a:prstDash val="sysDash"/>
              </a:ln>
              <a:effectLst/>
            </p:spPr>
          </p:cxnSp>
          <p:cxnSp>
            <p:nvCxnSpPr>
              <p:cNvPr id="12" name="Straight Connector 11">
                <a:extLst>
                  <a:ext uri="{FF2B5EF4-FFF2-40B4-BE49-F238E27FC236}">
                    <a16:creationId xmlns:a16="http://schemas.microsoft.com/office/drawing/2014/main" id="{0B0B8DDA-31DA-4657-B36D-38AFFCB74C5A}"/>
                  </a:ext>
                </a:extLst>
              </p:cNvPr>
              <p:cNvCxnSpPr>
                <a:cxnSpLocks/>
              </p:cNvCxnSpPr>
              <p:nvPr/>
            </p:nvCxnSpPr>
            <p:spPr>
              <a:xfrm>
                <a:off x="5085875" y="3574152"/>
                <a:ext cx="413407" cy="198633"/>
              </a:xfrm>
              <a:prstGeom prst="line">
                <a:avLst/>
              </a:prstGeom>
              <a:noFill/>
              <a:ln w="15875" cap="flat" cmpd="sng" algn="ctr">
                <a:solidFill>
                  <a:srgbClr val="D31145">
                    <a:alpha val="40000"/>
                  </a:srgbClr>
                </a:solidFill>
                <a:prstDash val="sysDash"/>
              </a:ln>
              <a:effectLst/>
            </p:spPr>
          </p:cxnSp>
          <p:cxnSp>
            <p:nvCxnSpPr>
              <p:cNvPr id="13" name="Straight Connector 12">
                <a:extLst>
                  <a:ext uri="{FF2B5EF4-FFF2-40B4-BE49-F238E27FC236}">
                    <a16:creationId xmlns:a16="http://schemas.microsoft.com/office/drawing/2014/main" id="{AA5EB15B-5D6C-4FF8-A983-E1942FFB9034}"/>
                  </a:ext>
                </a:extLst>
              </p:cNvPr>
              <p:cNvCxnSpPr>
                <a:cxnSpLocks/>
              </p:cNvCxnSpPr>
              <p:nvPr/>
            </p:nvCxnSpPr>
            <p:spPr>
              <a:xfrm flipV="1">
                <a:off x="4698526" y="2626218"/>
                <a:ext cx="0" cy="326196"/>
              </a:xfrm>
              <a:prstGeom prst="line">
                <a:avLst/>
              </a:prstGeom>
              <a:noFill/>
              <a:ln w="15875" cap="flat" cmpd="sng" algn="ctr">
                <a:solidFill>
                  <a:srgbClr val="D31145">
                    <a:alpha val="40000"/>
                  </a:srgbClr>
                </a:solidFill>
                <a:prstDash val="sysDash"/>
              </a:ln>
              <a:effectLst/>
            </p:spPr>
          </p:cxnSp>
          <p:grpSp>
            <p:nvGrpSpPr>
              <p:cNvPr id="14" name="Group 13">
                <a:extLst>
                  <a:ext uri="{FF2B5EF4-FFF2-40B4-BE49-F238E27FC236}">
                    <a16:creationId xmlns:a16="http://schemas.microsoft.com/office/drawing/2014/main" id="{8DA8456E-70B0-432B-84DB-3830C456AEAD}"/>
                  </a:ext>
                </a:extLst>
              </p:cNvPr>
              <p:cNvGrpSpPr/>
              <p:nvPr/>
            </p:nvGrpSpPr>
            <p:grpSpPr>
              <a:xfrm>
                <a:off x="3516925" y="1661212"/>
                <a:ext cx="2270320" cy="989492"/>
                <a:chOff x="828518" y="3941736"/>
                <a:chExt cx="2004637" cy="814212"/>
              </a:xfrm>
            </p:grpSpPr>
            <p:pic>
              <p:nvPicPr>
                <p:cNvPr id="30" name="Graphic 29" descr="Users">
                  <a:extLst>
                    <a:ext uri="{FF2B5EF4-FFF2-40B4-BE49-F238E27FC236}">
                      <a16:creationId xmlns:a16="http://schemas.microsoft.com/office/drawing/2014/main" id="{A4011E9E-5CD6-4789-993F-F714FFF6E10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25253" y="3941736"/>
                  <a:ext cx="493180" cy="493181"/>
                </a:xfrm>
                <a:prstGeom prst="rect">
                  <a:avLst/>
                </a:prstGeom>
              </p:spPr>
            </p:pic>
            <p:sp>
              <p:nvSpPr>
                <p:cNvPr id="31" name="TextBox 30">
                  <a:extLst>
                    <a:ext uri="{FF2B5EF4-FFF2-40B4-BE49-F238E27FC236}">
                      <a16:creationId xmlns:a16="http://schemas.microsoft.com/office/drawing/2014/main" id="{25F24526-78D2-481D-B356-2F306CB75641}"/>
                    </a:ext>
                  </a:extLst>
                </p:cNvPr>
                <p:cNvSpPr txBox="1"/>
                <p:nvPr/>
              </p:nvSpPr>
              <p:spPr>
                <a:xfrm>
                  <a:off x="828518" y="4354006"/>
                  <a:ext cx="2004637" cy="4019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303D48">
                          <a:lumMod val="75000"/>
                          <a:lumOff val="25000"/>
                        </a:srgbClr>
                      </a:solidFill>
                      <a:effectLst/>
                      <a:uLnTx/>
                      <a:uFillTx/>
                      <a:latin typeface="Arial" panose="020B0604020202020204"/>
                      <a:ea typeface="+mn-ea"/>
                      <a:cs typeface="Arial" panose="020B0604020202020204" pitchFamily="34" charset="0"/>
                    </a:rPr>
                    <a:t>Demographics</a:t>
                  </a:r>
                  <a:endParaRPr kumimoji="0" lang="en-HK" sz="1000" b="1" i="0" u="none" strike="noStrike" kern="0" cap="none" spc="0" normalizeH="0" baseline="0" noProof="0" err="1">
                    <a:ln>
                      <a:noFill/>
                    </a:ln>
                    <a:solidFill>
                      <a:srgbClr val="303D48">
                        <a:lumMod val="75000"/>
                        <a:lumOff val="25000"/>
                      </a:srgbClr>
                    </a:solidFill>
                    <a:effectLst/>
                    <a:uLnTx/>
                    <a:uFillTx/>
                    <a:latin typeface="Arial" panose="020B0604020202020204"/>
                    <a:ea typeface="+mn-ea"/>
                    <a:cs typeface="Arial" panose="020B0604020202020204" pitchFamily="34" charset="0"/>
                  </a:endParaRPr>
                </a:p>
              </p:txBody>
            </p:sp>
          </p:grpSp>
          <p:grpSp>
            <p:nvGrpSpPr>
              <p:cNvPr id="15" name="Group 14">
                <a:extLst>
                  <a:ext uri="{FF2B5EF4-FFF2-40B4-BE49-F238E27FC236}">
                    <a16:creationId xmlns:a16="http://schemas.microsoft.com/office/drawing/2014/main" id="{D9E268FC-7161-480F-9E66-5EEF4550B0D8}"/>
                  </a:ext>
                </a:extLst>
              </p:cNvPr>
              <p:cNvGrpSpPr/>
              <p:nvPr/>
            </p:nvGrpSpPr>
            <p:grpSpPr>
              <a:xfrm>
                <a:off x="5079170" y="3595301"/>
                <a:ext cx="2307248" cy="1245341"/>
                <a:chOff x="-536714" y="5603062"/>
                <a:chExt cx="2037243" cy="1024739"/>
              </a:xfrm>
            </p:grpSpPr>
            <p:pic>
              <p:nvPicPr>
                <p:cNvPr id="28" name="Graphic 27" descr="Shopping cart">
                  <a:extLst>
                    <a:ext uri="{FF2B5EF4-FFF2-40B4-BE49-F238E27FC236}">
                      <a16:creationId xmlns:a16="http://schemas.microsoft.com/office/drawing/2014/main" id="{C339BD92-296A-4CF3-83CF-B4991D73D3C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8316" y="5603062"/>
                  <a:ext cx="351409" cy="351410"/>
                </a:xfrm>
                <a:prstGeom prst="rect">
                  <a:avLst/>
                </a:prstGeom>
              </p:spPr>
            </p:pic>
            <p:sp>
              <p:nvSpPr>
                <p:cNvPr id="29" name="TextBox 28">
                  <a:extLst>
                    <a:ext uri="{FF2B5EF4-FFF2-40B4-BE49-F238E27FC236}">
                      <a16:creationId xmlns:a16="http://schemas.microsoft.com/office/drawing/2014/main" id="{2D4E434C-2702-4FAC-B05D-01315178DADD}"/>
                    </a:ext>
                  </a:extLst>
                </p:cNvPr>
                <p:cNvSpPr txBox="1"/>
                <p:nvPr/>
              </p:nvSpPr>
              <p:spPr>
                <a:xfrm>
                  <a:off x="-536714" y="5974645"/>
                  <a:ext cx="2037243" cy="65315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303D48">
                          <a:lumMod val="75000"/>
                          <a:lumOff val="25000"/>
                        </a:srgbClr>
                      </a:solidFill>
                      <a:effectLst/>
                      <a:uLnTx/>
                      <a:uFillTx/>
                      <a:latin typeface="Arial" panose="020B0604020202020204"/>
                      <a:ea typeface="+mn-ea"/>
                      <a:cs typeface="Arial" panose="020B0604020202020204" pitchFamily="34" charset="0"/>
                    </a:rPr>
                    <a:t>NB Transactions</a:t>
                  </a:r>
                  <a:endParaRPr kumimoji="0" lang="en-HK" sz="1000" b="1" i="0" u="none" strike="noStrike" kern="0" cap="none" spc="0" normalizeH="0" baseline="0" noProof="0" err="1">
                    <a:ln>
                      <a:noFill/>
                    </a:ln>
                    <a:solidFill>
                      <a:srgbClr val="303D48">
                        <a:lumMod val="75000"/>
                        <a:lumOff val="25000"/>
                      </a:srgbClr>
                    </a:solidFill>
                    <a:effectLst/>
                    <a:uLnTx/>
                    <a:uFillTx/>
                    <a:latin typeface="Arial" panose="020B0604020202020204"/>
                    <a:ea typeface="+mn-ea"/>
                    <a:cs typeface="Arial" panose="020B0604020202020204" pitchFamily="34" charset="0"/>
                  </a:endParaRPr>
                </a:p>
              </p:txBody>
            </p:sp>
          </p:grpSp>
          <p:grpSp>
            <p:nvGrpSpPr>
              <p:cNvPr id="16" name="Group 15">
                <a:extLst>
                  <a:ext uri="{FF2B5EF4-FFF2-40B4-BE49-F238E27FC236}">
                    <a16:creationId xmlns:a16="http://schemas.microsoft.com/office/drawing/2014/main" id="{84ECCB1E-8145-4D18-8129-93F2B2B4DF6C}"/>
                  </a:ext>
                </a:extLst>
              </p:cNvPr>
              <p:cNvGrpSpPr/>
              <p:nvPr/>
            </p:nvGrpSpPr>
            <p:grpSpPr>
              <a:xfrm>
                <a:off x="4992136" y="2374571"/>
                <a:ext cx="2307259" cy="885757"/>
                <a:chOff x="1767846" y="5796049"/>
                <a:chExt cx="2037256" cy="728852"/>
              </a:xfrm>
            </p:grpSpPr>
            <p:pic>
              <p:nvPicPr>
                <p:cNvPr id="26" name="Graphic 25" descr="Document">
                  <a:extLst>
                    <a:ext uri="{FF2B5EF4-FFF2-40B4-BE49-F238E27FC236}">
                      <a16:creationId xmlns:a16="http://schemas.microsoft.com/office/drawing/2014/main" id="{61A87AA8-CEE8-47B0-95C9-48F7A105A5AE}"/>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45535" y="5796049"/>
                  <a:ext cx="314708" cy="314708"/>
                </a:xfrm>
                <a:prstGeom prst="rect">
                  <a:avLst/>
                </a:prstGeom>
              </p:spPr>
            </p:pic>
            <p:sp>
              <p:nvSpPr>
                <p:cNvPr id="27" name="TextBox 26">
                  <a:extLst>
                    <a:ext uri="{FF2B5EF4-FFF2-40B4-BE49-F238E27FC236}">
                      <a16:creationId xmlns:a16="http://schemas.microsoft.com/office/drawing/2014/main" id="{BB88984F-82DC-48C2-9E92-84D897853DD0}"/>
                    </a:ext>
                  </a:extLst>
                </p:cNvPr>
                <p:cNvSpPr txBox="1"/>
                <p:nvPr/>
              </p:nvSpPr>
              <p:spPr>
                <a:xfrm>
                  <a:off x="1767846" y="6172895"/>
                  <a:ext cx="2037256" cy="35200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303D48">
                          <a:lumMod val="75000"/>
                          <a:lumOff val="25000"/>
                        </a:srgbClr>
                      </a:solidFill>
                      <a:effectLst/>
                      <a:uLnTx/>
                      <a:uFillTx/>
                      <a:latin typeface="Arial" panose="020B0604020202020204"/>
                      <a:ea typeface="+mn-ea"/>
                      <a:cs typeface="Arial" panose="020B0604020202020204" pitchFamily="34" charset="0"/>
                    </a:rPr>
                    <a:t>Insurance Coverage</a:t>
                  </a:r>
                  <a:endParaRPr kumimoji="0" lang="en-HK" sz="1000" b="1" i="0" u="none" strike="noStrike" kern="0" cap="none" spc="0" normalizeH="0" baseline="0" noProof="0" err="1">
                    <a:ln>
                      <a:noFill/>
                    </a:ln>
                    <a:solidFill>
                      <a:srgbClr val="303D48">
                        <a:lumMod val="75000"/>
                        <a:lumOff val="25000"/>
                      </a:srgbClr>
                    </a:solidFill>
                    <a:effectLst/>
                    <a:uLnTx/>
                    <a:uFillTx/>
                    <a:latin typeface="Arial" panose="020B0604020202020204"/>
                    <a:ea typeface="+mn-ea"/>
                    <a:cs typeface="Arial" panose="020B0604020202020204" pitchFamily="34" charset="0"/>
                  </a:endParaRPr>
                </a:p>
              </p:txBody>
            </p:sp>
          </p:grpSp>
          <p:grpSp>
            <p:nvGrpSpPr>
              <p:cNvPr id="17" name="Group 16">
                <a:extLst>
                  <a:ext uri="{FF2B5EF4-FFF2-40B4-BE49-F238E27FC236}">
                    <a16:creationId xmlns:a16="http://schemas.microsoft.com/office/drawing/2014/main" id="{3C839B5C-D0FD-4684-B28F-5F3F21BED484}"/>
                  </a:ext>
                </a:extLst>
              </p:cNvPr>
              <p:cNvGrpSpPr/>
              <p:nvPr/>
            </p:nvGrpSpPr>
            <p:grpSpPr>
              <a:xfrm>
                <a:off x="3975510" y="4249726"/>
                <a:ext cx="1422257" cy="716796"/>
                <a:chOff x="4868395" y="4314272"/>
                <a:chExt cx="1422257" cy="716796"/>
              </a:xfrm>
            </p:grpSpPr>
            <p:sp>
              <p:nvSpPr>
                <p:cNvPr id="24" name="TextBox 23">
                  <a:extLst>
                    <a:ext uri="{FF2B5EF4-FFF2-40B4-BE49-F238E27FC236}">
                      <a16:creationId xmlns:a16="http://schemas.microsoft.com/office/drawing/2014/main" id="{B9133EC2-A52A-42C3-AC30-318E8A811A75}"/>
                    </a:ext>
                  </a:extLst>
                </p:cNvPr>
                <p:cNvSpPr txBox="1"/>
                <p:nvPr/>
              </p:nvSpPr>
              <p:spPr>
                <a:xfrm>
                  <a:off x="4868395" y="4784847"/>
                  <a:ext cx="142225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303D48">
                          <a:lumMod val="75000"/>
                          <a:lumOff val="25000"/>
                        </a:srgbClr>
                      </a:solidFill>
                      <a:effectLst/>
                      <a:uLnTx/>
                      <a:uFillTx/>
                      <a:latin typeface="Arial" panose="020B0604020202020204"/>
                      <a:ea typeface="+mn-ea"/>
                      <a:cs typeface="Arial" panose="020B0604020202020204" pitchFamily="34" charset="0"/>
                    </a:rPr>
                    <a:t>Claims</a:t>
                  </a:r>
                  <a:endParaRPr kumimoji="0" lang="en-HK" sz="1000" b="1" i="0" u="none" strike="noStrike" kern="0" cap="none" spc="0" normalizeH="0" baseline="0" noProof="0" err="1">
                    <a:ln>
                      <a:noFill/>
                    </a:ln>
                    <a:solidFill>
                      <a:srgbClr val="303D48">
                        <a:lumMod val="75000"/>
                        <a:lumOff val="25000"/>
                      </a:srgbClr>
                    </a:solidFill>
                    <a:effectLst/>
                    <a:uLnTx/>
                    <a:uFillTx/>
                    <a:latin typeface="Arial" panose="020B0604020202020204"/>
                    <a:ea typeface="+mn-ea"/>
                    <a:cs typeface="Arial" panose="020B0604020202020204" pitchFamily="34" charset="0"/>
                  </a:endParaRPr>
                </a:p>
              </p:txBody>
            </p:sp>
            <p:pic>
              <p:nvPicPr>
                <p:cNvPr id="25" name="Graphic 24" descr="Stethoscope">
                  <a:extLst>
                    <a:ext uri="{FF2B5EF4-FFF2-40B4-BE49-F238E27FC236}">
                      <a16:creationId xmlns:a16="http://schemas.microsoft.com/office/drawing/2014/main" id="{6950911F-708A-4C31-BB08-D5D3EF17A6B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351760" y="4314272"/>
                  <a:ext cx="455528" cy="455527"/>
                </a:xfrm>
                <a:prstGeom prst="rect">
                  <a:avLst/>
                </a:prstGeom>
              </p:spPr>
            </p:pic>
          </p:grpSp>
          <p:grpSp>
            <p:nvGrpSpPr>
              <p:cNvPr id="18" name="Group 17">
                <a:extLst>
                  <a:ext uri="{FF2B5EF4-FFF2-40B4-BE49-F238E27FC236}">
                    <a16:creationId xmlns:a16="http://schemas.microsoft.com/office/drawing/2014/main" id="{E7AFD0DC-8FD0-4A94-9F79-B76204986508}"/>
                  </a:ext>
                </a:extLst>
              </p:cNvPr>
              <p:cNvGrpSpPr/>
              <p:nvPr/>
            </p:nvGrpSpPr>
            <p:grpSpPr>
              <a:xfrm>
                <a:off x="2418544" y="3657585"/>
                <a:ext cx="1905979" cy="833290"/>
                <a:chOff x="3481342" y="3798339"/>
                <a:chExt cx="1905979" cy="833290"/>
              </a:xfrm>
            </p:grpSpPr>
            <p:pic>
              <p:nvPicPr>
                <p:cNvPr id="22" name="Graphic 21" descr="Office worker">
                  <a:extLst>
                    <a:ext uri="{FF2B5EF4-FFF2-40B4-BE49-F238E27FC236}">
                      <a16:creationId xmlns:a16="http://schemas.microsoft.com/office/drawing/2014/main" id="{7E29CCC4-B767-4287-8539-04F714EA4E1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351960" y="3798339"/>
                  <a:ext cx="455528" cy="455528"/>
                </a:xfrm>
                <a:prstGeom prst="rect">
                  <a:avLst/>
                </a:prstGeom>
              </p:spPr>
            </p:pic>
            <p:sp>
              <p:nvSpPr>
                <p:cNvPr id="23" name="TextBox 22">
                  <a:extLst>
                    <a:ext uri="{FF2B5EF4-FFF2-40B4-BE49-F238E27FC236}">
                      <a16:creationId xmlns:a16="http://schemas.microsoft.com/office/drawing/2014/main" id="{A4EE3FB7-F59F-4D86-8FE0-7F58235F7E14}"/>
                    </a:ext>
                  </a:extLst>
                </p:cNvPr>
                <p:cNvSpPr txBox="1"/>
                <p:nvPr/>
              </p:nvSpPr>
              <p:spPr>
                <a:xfrm>
                  <a:off x="3481342" y="4203845"/>
                  <a:ext cx="1905979" cy="4277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303D48">
                          <a:lumMod val="75000"/>
                          <a:lumOff val="25000"/>
                        </a:srgbClr>
                      </a:solidFill>
                      <a:effectLst/>
                      <a:uLnTx/>
                      <a:uFillTx/>
                      <a:latin typeface="Arial" panose="020B0604020202020204"/>
                      <a:ea typeface="+mn-ea"/>
                      <a:cs typeface="Arial" panose="020B0604020202020204" pitchFamily="34" charset="0"/>
                    </a:rPr>
                    <a:t>Servicing Agent</a:t>
                  </a:r>
                  <a:endParaRPr kumimoji="0" lang="en-HK" sz="1000" b="1" i="0" u="none" strike="noStrike" kern="0" cap="none" spc="0" normalizeH="0" baseline="0" noProof="0" err="1">
                    <a:ln>
                      <a:noFill/>
                    </a:ln>
                    <a:solidFill>
                      <a:srgbClr val="303D48">
                        <a:lumMod val="75000"/>
                        <a:lumOff val="25000"/>
                      </a:srgbClr>
                    </a:solidFill>
                    <a:effectLst/>
                    <a:uLnTx/>
                    <a:uFillTx/>
                    <a:latin typeface="Arial" panose="020B0604020202020204"/>
                    <a:ea typeface="+mn-ea"/>
                    <a:cs typeface="Arial" panose="020B0604020202020204" pitchFamily="34" charset="0"/>
                  </a:endParaRPr>
                </a:p>
              </p:txBody>
            </p:sp>
          </p:grpSp>
          <p:grpSp>
            <p:nvGrpSpPr>
              <p:cNvPr id="19" name="Group 18">
                <a:extLst>
                  <a:ext uri="{FF2B5EF4-FFF2-40B4-BE49-F238E27FC236}">
                    <a16:creationId xmlns:a16="http://schemas.microsoft.com/office/drawing/2014/main" id="{C07B0763-BEF9-4560-8469-A5F259615A42}"/>
                  </a:ext>
                </a:extLst>
              </p:cNvPr>
              <p:cNvGrpSpPr/>
              <p:nvPr/>
            </p:nvGrpSpPr>
            <p:grpSpPr>
              <a:xfrm>
                <a:off x="2732780" y="2513285"/>
                <a:ext cx="1422257" cy="664613"/>
                <a:chOff x="3670740" y="2685175"/>
                <a:chExt cx="1422257" cy="664613"/>
              </a:xfrm>
            </p:grpSpPr>
            <p:pic>
              <p:nvPicPr>
                <p:cNvPr id="20" name="Graphic 19" descr="Apple">
                  <a:extLst>
                    <a:ext uri="{FF2B5EF4-FFF2-40B4-BE49-F238E27FC236}">
                      <a16:creationId xmlns:a16="http://schemas.microsoft.com/office/drawing/2014/main" id="{9F2B628D-0AD5-4EC3-81F4-B6BCEA486A7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176743" y="2685175"/>
                  <a:ext cx="410256" cy="410258"/>
                </a:xfrm>
                <a:prstGeom prst="rect">
                  <a:avLst/>
                </a:prstGeom>
              </p:spPr>
            </p:pic>
            <p:sp>
              <p:nvSpPr>
                <p:cNvPr id="21" name="TextBox 20">
                  <a:extLst>
                    <a:ext uri="{FF2B5EF4-FFF2-40B4-BE49-F238E27FC236}">
                      <a16:creationId xmlns:a16="http://schemas.microsoft.com/office/drawing/2014/main" id="{072D8DF3-857D-4CB7-8762-DD7EFD59EC14}"/>
                    </a:ext>
                  </a:extLst>
                </p:cNvPr>
                <p:cNvSpPr txBox="1"/>
                <p:nvPr/>
              </p:nvSpPr>
              <p:spPr>
                <a:xfrm>
                  <a:off x="3670740" y="3103568"/>
                  <a:ext cx="1422257" cy="246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303D48">
                          <a:lumMod val="75000"/>
                          <a:lumOff val="25000"/>
                        </a:srgbClr>
                      </a:solidFill>
                      <a:effectLst/>
                      <a:uLnTx/>
                      <a:uFillTx/>
                      <a:latin typeface="Arial" panose="020B0604020202020204"/>
                      <a:ea typeface="+mn-ea"/>
                      <a:cs typeface="Arial" panose="020B0604020202020204" pitchFamily="34" charset="0"/>
                    </a:rPr>
                    <a:t>Vitality</a:t>
                  </a:r>
                  <a:endParaRPr kumimoji="0" lang="en-HK" sz="1000" b="1" i="0" u="none" strike="noStrike" kern="0" cap="none" spc="0" normalizeH="0" baseline="0" noProof="0" err="1">
                    <a:ln>
                      <a:noFill/>
                    </a:ln>
                    <a:solidFill>
                      <a:srgbClr val="303D48">
                        <a:lumMod val="75000"/>
                        <a:lumOff val="25000"/>
                      </a:srgbClr>
                    </a:solidFill>
                    <a:effectLst/>
                    <a:uLnTx/>
                    <a:uFillTx/>
                    <a:latin typeface="Arial" panose="020B0604020202020204"/>
                    <a:ea typeface="+mn-ea"/>
                    <a:cs typeface="Arial" panose="020B0604020202020204" pitchFamily="34" charset="0"/>
                  </a:endParaRPr>
                </a:p>
              </p:txBody>
            </p:sp>
          </p:grpSp>
        </p:grpSp>
        <p:cxnSp>
          <p:nvCxnSpPr>
            <p:cNvPr id="7" name="Straight Connector 6">
              <a:extLst>
                <a:ext uri="{FF2B5EF4-FFF2-40B4-BE49-F238E27FC236}">
                  <a16:creationId xmlns:a16="http://schemas.microsoft.com/office/drawing/2014/main" id="{8A686AD5-07D2-48E7-951F-E4E108B078BC}"/>
                </a:ext>
              </a:extLst>
            </p:cNvPr>
            <p:cNvCxnSpPr>
              <a:cxnSpLocks/>
            </p:cNvCxnSpPr>
            <p:nvPr/>
          </p:nvCxnSpPr>
          <p:spPr>
            <a:xfrm flipV="1">
              <a:off x="1776974" y="2095043"/>
              <a:ext cx="184429" cy="136301"/>
            </a:xfrm>
            <a:prstGeom prst="line">
              <a:avLst/>
            </a:prstGeom>
            <a:noFill/>
            <a:ln w="15875" cap="flat" cmpd="sng" algn="ctr">
              <a:solidFill>
                <a:srgbClr val="D31145">
                  <a:alpha val="40000"/>
                </a:srgbClr>
              </a:solidFill>
              <a:prstDash val="sysDash"/>
            </a:ln>
            <a:effectLst/>
          </p:spPr>
        </p:cxnSp>
        <p:cxnSp>
          <p:nvCxnSpPr>
            <p:cNvPr id="8" name="Straight Connector 7">
              <a:extLst>
                <a:ext uri="{FF2B5EF4-FFF2-40B4-BE49-F238E27FC236}">
                  <a16:creationId xmlns:a16="http://schemas.microsoft.com/office/drawing/2014/main" id="{6E8F68E8-420F-40E4-8967-C8F583517921}"/>
                </a:ext>
              </a:extLst>
            </p:cNvPr>
            <p:cNvCxnSpPr>
              <a:cxnSpLocks/>
            </p:cNvCxnSpPr>
            <p:nvPr/>
          </p:nvCxnSpPr>
          <p:spPr>
            <a:xfrm flipV="1">
              <a:off x="1654551" y="2597606"/>
              <a:ext cx="0" cy="186935"/>
            </a:xfrm>
            <a:prstGeom prst="line">
              <a:avLst/>
            </a:prstGeom>
            <a:noFill/>
            <a:ln w="15875" cap="flat" cmpd="sng" algn="ctr">
              <a:solidFill>
                <a:srgbClr val="D31145">
                  <a:alpha val="40000"/>
                </a:srgbClr>
              </a:solidFill>
              <a:prstDash val="sysDash"/>
            </a:ln>
            <a:effectLst/>
          </p:spPr>
        </p:cxnSp>
      </p:grpSp>
      <p:pic>
        <p:nvPicPr>
          <p:cNvPr id="2" name="Picture 1">
            <a:extLst>
              <a:ext uri="{FF2B5EF4-FFF2-40B4-BE49-F238E27FC236}">
                <a16:creationId xmlns:a16="http://schemas.microsoft.com/office/drawing/2014/main" id="{9DFFD4D8-350D-4253-9CC8-6DE84E0C4058}"/>
              </a:ext>
            </a:extLst>
          </p:cNvPr>
          <p:cNvPicPr>
            <a:picLocks noChangeAspect="1"/>
          </p:cNvPicPr>
          <p:nvPr/>
        </p:nvPicPr>
        <p:blipFill>
          <a:blip r:embed="rId17"/>
          <a:stretch>
            <a:fillRect/>
          </a:stretch>
        </p:blipFill>
        <p:spPr>
          <a:xfrm>
            <a:off x="1157232" y="4494336"/>
            <a:ext cx="2445422" cy="1754414"/>
          </a:xfrm>
          <a:prstGeom prst="rect">
            <a:avLst/>
          </a:prstGeom>
          <a:effectLst>
            <a:outerShdw blurRad="50800" dist="38100" dir="2700000" algn="tl" rotWithShape="0">
              <a:prstClr val="black">
                <a:alpha val="40000"/>
              </a:prstClr>
            </a:outerShdw>
          </a:effectLst>
        </p:spPr>
      </p:pic>
      <p:sp>
        <p:nvSpPr>
          <p:cNvPr id="37" name="Arrow: Right 36">
            <a:extLst>
              <a:ext uri="{FF2B5EF4-FFF2-40B4-BE49-F238E27FC236}">
                <a16:creationId xmlns:a16="http://schemas.microsoft.com/office/drawing/2014/main" id="{73B3A89F-61FD-4D5F-9260-F662929EF3D5}"/>
              </a:ext>
            </a:extLst>
          </p:cNvPr>
          <p:cNvSpPr/>
          <p:nvPr/>
        </p:nvSpPr>
        <p:spPr>
          <a:xfrm>
            <a:off x="3368603" y="3607387"/>
            <a:ext cx="1583857" cy="377840"/>
          </a:xfrm>
          <a:prstGeom prst="rightArrow">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Left-Right 37">
            <a:extLst>
              <a:ext uri="{FF2B5EF4-FFF2-40B4-BE49-F238E27FC236}">
                <a16:creationId xmlns:a16="http://schemas.microsoft.com/office/drawing/2014/main" id="{9BEB3013-66D2-47D5-B3F8-6574AF34B0A5}"/>
              </a:ext>
            </a:extLst>
          </p:cNvPr>
          <p:cNvSpPr/>
          <p:nvPr/>
        </p:nvSpPr>
        <p:spPr>
          <a:xfrm rot="5400000">
            <a:off x="1849493" y="3663300"/>
            <a:ext cx="893172" cy="327277"/>
          </a:xfrm>
          <a:prstGeom prst="leftRightArrow">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Cylinder 38">
            <a:extLst>
              <a:ext uri="{FF2B5EF4-FFF2-40B4-BE49-F238E27FC236}">
                <a16:creationId xmlns:a16="http://schemas.microsoft.com/office/drawing/2014/main" id="{1BA9D37A-7F93-4C32-8EF4-92DFFDF03C9B}"/>
              </a:ext>
            </a:extLst>
          </p:cNvPr>
          <p:cNvSpPr/>
          <p:nvPr/>
        </p:nvSpPr>
        <p:spPr>
          <a:xfrm>
            <a:off x="5021915" y="2929437"/>
            <a:ext cx="1998318" cy="1754414"/>
          </a:xfrm>
          <a:prstGeom prst="can">
            <a:avLst/>
          </a:prstGeom>
          <a:solidFill>
            <a:schemeClr val="tx2">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err="1">
                <a:solidFill>
                  <a:schemeClr val="tx1"/>
                </a:solidFill>
              </a:rPr>
              <a:t>TensorREC</a:t>
            </a:r>
            <a:r>
              <a:rPr lang="en-US" sz="1050">
                <a:solidFill>
                  <a:schemeClr val="tx1"/>
                </a:solidFill>
              </a:rPr>
              <a:t> / Deep Learning</a:t>
            </a:r>
          </a:p>
          <a:p>
            <a:pPr algn="ctr"/>
            <a:r>
              <a:rPr lang="en-US" sz="1050" b="1">
                <a:solidFill>
                  <a:schemeClr val="tx1"/>
                </a:solidFill>
              </a:rPr>
              <a:t>Recommender System</a:t>
            </a:r>
          </a:p>
        </p:txBody>
      </p:sp>
      <p:grpSp>
        <p:nvGrpSpPr>
          <p:cNvPr id="49" name="Group 48">
            <a:extLst>
              <a:ext uri="{FF2B5EF4-FFF2-40B4-BE49-F238E27FC236}">
                <a16:creationId xmlns:a16="http://schemas.microsoft.com/office/drawing/2014/main" id="{AE7F72C8-9745-4494-9D0B-0A18D9A04A20}"/>
              </a:ext>
            </a:extLst>
          </p:cNvPr>
          <p:cNvGrpSpPr/>
          <p:nvPr/>
        </p:nvGrpSpPr>
        <p:grpSpPr>
          <a:xfrm>
            <a:off x="8899593" y="2368023"/>
            <a:ext cx="828203" cy="740071"/>
            <a:chOff x="4478035" y="2542584"/>
            <a:chExt cx="828203" cy="740071"/>
          </a:xfrm>
        </p:grpSpPr>
        <p:pic>
          <p:nvPicPr>
            <p:cNvPr id="50" name="Picture 49">
              <a:extLst>
                <a:ext uri="{FF2B5EF4-FFF2-40B4-BE49-F238E27FC236}">
                  <a16:creationId xmlns:a16="http://schemas.microsoft.com/office/drawing/2014/main" id="{89C2F314-B647-4CC9-9ADA-40F5747C50B9}"/>
                </a:ext>
              </a:extLst>
            </p:cNvPr>
            <p:cNvPicPr>
              <a:picLocks noChangeAspect="1"/>
            </p:cNvPicPr>
            <p:nvPr/>
          </p:nvPicPr>
          <p:blipFill>
            <a:blip r:embed="rId18"/>
            <a:stretch>
              <a:fillRect/>
            </a:stretch>
          </p:blipFill>
          <p:spPr>
            <a:xfrm>
              <a:off x="4478035" y="2542584"/>
              <a:ext cx="828203" cy="740071"/>
            </a:xfrm>
            <a:prstGeom prst="rect">
              <a:avLst/>
            </a:prstGeom>
          </p:spPr>
        </p:pic>
        <p:sp>
          <p:nvSpPr>
            <p:cNvPr id="51" name="TextBox 50">
              <a:extLst>
                <a:ext uri="{FF2B5EF4-FFF2-40B4-BE49-F238E27FC236}">
                  <a16:creationId xmlns:a16="http://schemas.microsoft.com/office/drawing/2014/main" id="{944AE797-8FDE-4B6D-AF0D-A85455ADE91A}"/>
                </a:ext>
              </a:extLst>
            </p:cNvPr>
            <p:cNvSpPr txBox="1"/>
            <p:nvPr/>
          </p:nvSpPr>
          <p:spPr>
            <a:xfrm>
              <a:off x="4554620" y="2707340"/>
              <a:ext cx="642821" cy="223684"/>
            </a:xfrm>
            <a:prstGeom prst="rect">
              <a:avLst/>
            </a:prstGeom>
            <a:noFill/>
          </p:spPr>
          <p:txBody>
            <a:bodyPr wrap="none" rtlCol="0">
              <a:spAutoFit/>
            </a:bodyPr>
            <a:lstStyle/>
            <a:p>
              <a:r>
                <a:rPr lang="en-US" sz="1100">
                  <a:solidFill>
                    <a:schemeClr val="bg1"/>
                  </a:solidFill>
                </a:rPr>
                <a:t>marriage</a:t>
              </a:r>
              <a:endParaRPr lang="en-MY" sz="1100">
                <a:solidFill>
                  <a:schemeClr val="bg1"/>
                </a:solidFill>
              </a:endParaRPr>
            </a:p>
          </p:txBody>
        </p:sp>
      </p:grpSp>
      <p:grpSp>
        <p:nvGrpSpPr>
          <p:cNvPr id="52" name="Group 51">
            <a:extLst>
              <a:ext uri="{FF2B5EF4-FFF2-40B4-BE49-F238E27FC236}">
                <a16:creationId xmlns:a16="http://schemas.microsoft.com/office/drawing/2014/main" id="{948157A4-538C-4799-B2E9-E2110A4B5311}"/>
              </a:ext>
            </a:extLst>
          </p:cNvPr>
          <p:cNvGrpSpPr/>
          <p:nvPr/>
        </p:nvGrpSpPr>
        <p:grpSpPr>
          <a:xfrm>
            <a:off x="8921533" y="4683851"/>
            <a:ext cx="900880" cy="865551"/>
            <a:chOff x="5501060" y="2484013"/>
            <a:chExt cx="900880" cy="865551"/>
          </a:xfrm>
        </p:grpSpPr>
        <p:pic>
          <p:nvPicPr>
            <p:cNvPr id="53" name="Picture 52">
              <a:extLst>
                <a:ext uri="{FF2B5EF4-FFF2-40B4-BE49-F238E27FC236}">
                  <a16:creationId xmlns:a16="http://schemas.microsoft.com/office/drawing/2014/main" id="{BA73A150-23CC-487D-8ACB-E35C74C7E2CC}"/>
                </a:ext>
              </a:extLst>
            </p:cNvPr>
            <p:cNvPicPr>
              <a:picLocks noChangeAspect="1"/>
            </p:cNvPicPr>
            <p:nvPr/>
          </p:nvPicPr>
          <p:blipFill>
            <a:blip r:embed="rId18"/>
            <a:stretch>
              <a:fillRect/>
            </a:stretch>
          </p:blipFill>
          <p:spPr>
            <a:xfrm>
              <a:off x="5501060" y="2484013"/>
              <a:ext cx="900880" cy="865551"/>
            </a:xfrm>
            <a:prstGeom prst="rect">
              <a:avLst/>
            </a:prstGeom>
          </p:spPr>
        </p:pic>
        <p:sp>
          <p:nvSpPr>
            <p:cNvPr id="54" name="TextBox 53">
              <a:extLst>
                <a:ext uri="{FF2B5EF4-FFF2-40B4-BE49-F238E27FC236}">
                  <a16:creationId xmlns:a16="http://schemas.microsoft.com/office/drawing/2014/main" id="{3C0A7460-A7C1-482C-88A5-CA8765E95EB3}"/>
                </a:ext>
              </a:extLst>
            </p:cNvPr>
            <p:cNvSpPr txBox="1"/>
            <p:nvPr/>
          </p:nvSpPr>
          <p:spPr>
            <a:xfrm>
              <a:off x="5739978" y="2741242"/>
              <a:ext cx="455574" cy="261610"/>
            </a:xfrm>
            <a:prstGeom prst="rect">
              <a:avLst/>
            </a:prstGeom>
            <a:noFill/>
          </p:spPr>
          <p:txBody>
            <a:bodyPr wrap="none" rtlCol="0">
              <a:spAutoFit/>
            </a:bodyPr>
            <a:lstStyle/>
            <a:p>
              <a:r>
                <a:rPr lang="en-US" sz="1100">
                  <a:solidFill>
                    <a:schemeClr val="bg1"/>
                  </a:solidFill>
                </a:rPr>
                <a:t>child</a:t>
              </a:r>
              <a:endParaRPr lang="en-MY" sz="1100">
                <a:solidFill>
                  <a:schemeClr val="bg1"/>
                </a:solidFill>
              </a:endParaRPr>
            </a:p>
          </p:txBody>
        </p:sp>
      </p:grpSp>
      <p:grpSp>
        <p:nvGrpSpPr>
          <p:cNvPr id="55" name="Group 54">
            <a:extLst>
              <a:ext uri="{FF2B5EF4-FFF2-40B4-BE49-F238E27FC236}">
                <a16:creationId xmlns:a16="http://schemas.microsoft.com/office/drawing/2014/main" id="{3AF19600-9187-4D2D-B16D-646F4CE4FFF6}"/>
              </a:ext>
            </a:extLst>
          </p:cNvPr>
          <p:cNvGrpSpPr/>
          <p:nvPr/>
        </p:nvGrpSpPr>
        <p:grpSpPr>
          <a:xfrm>
            <a:off x="8809752" y="3382834"/>
            <a:ext cx="1131504" cy="988003"/>
            <a:chOff x="1569310" y="787080"/>
            <a:chExt cx="1006605" cy="865551"/>
          </a:xfrm>
        </p:grpSpPr>
        <p:pic>
          <p:nvPicPr>
            <p:cNvPr id="56" name="Picture 55">
              <a:extLst>
                <a:ext uri="{FF2B5EF4-FFF2-40B4-BE49-F238E27FC236}">
                  <a16:creationId xmlns:a16="http://schemas.microsoft.com/office/drawing/2014/main" id="{B9D78353-6B4B-4817-8134-1944672898ED}"/>
                </a:ext>
              </a:extLst>
            </p:cNvPr>
            <p:cNvPicPr>
              <a:picLocks noChangeAspect="1"/>
            </p:cNvPicPr>
            <p:nvPr/>
          </p:nvPicPr>
          <p:blipFill>
            <a:blip r:embed="rId18"/>
            <a:stretch>
              <a:fillRect/>
            </a:stretch>
          </p:blipFill>
          <p:spPr>
            <a:xfrm>
              <a:off x="1569310" y="787080"/>
              <a:ext cx="900880" cy="865551"/>
            </a:xfrm>
            <a:prstGeom prst="rect">
              <a:avLst/>
            </a:prstGeom>
          </p:spPr>
        </p:pic>
        <p:sp>
          <p:nvSpPr>
            <p:cNvPr id="57" name="TextBox 56">
              <a:extLst>
                <a:ext uri="{FF2B5EF4-FFF2-40B4-BE49-F238E27FC236}">
                  <a16:creationId xmlns:a16="http://schemas.microsoft.com/office/drawing/2014/main" id="{87DA64CE-1F5F-4DF7-BD7D-46692045618C}"/>
                </a:ext>
              </a:extLst>
            </p:cNvPr>
            <p:cNvSpPr txBox="1"/>
            <p:nvPr/>
          </p:nvSpPr>
          <p:spPr>
            <a:xfrm>
              <a:off x="1631098" y="1061299"/>
              <a:ext cx="944817" cy="233538"/>
            </a:xfrm>
            <a:prstGeom prst="rect">
              <a:avLst/>
            </a:prstGeom>
            <a:noFill/>
          </p:spPr>
          <p:txBody>
            <a:bodyPr wrap="none" rtlCol="0">
              <a:spAutoFit/>
            </a:bodyPr>
            <a:lstStyle/>
            <a:p>
              <a:r>
                <a:rPr lang="en-US" sz="800">
                  <a:solidFill>
                    <a:schemeClr val="bg1"/>
                  </a:solidFill>
                </a:rPr>
                <a:t>Income change</a:t>
              </a:r>
              <a:endParaRPr lang="en-MY" sz="800">
                <a:solidFill>
                  <a:schemeClr val="bg1"/>
                </a:solidFill>
              </a:endParaRPr>
            </a:p>
          </p:txBody>
        </p:sp>
      </p:grpSp>
      <p:sp>
        <p:nvSpPr>
          <p:cNvPr id="58" name="TextBox 57">
            <a:extLst>
              <a:ext uri="{FF2B5EF4-FFF2-40B4-BE49-F238E27FC236}">
                <a16:creationId xmlns:a16="http://schemas.microsoft.com/office/drawing/2014/main" id="{27BA29FF-BF6B-4000-9888-ED4D8A152E76}"/>
              </a:ext>
            </a:extLst>
          </p:cNvPr>
          <p:cNvSpPr txBox="1"/>
          <p:nvPr/>
        </p:nvSpPr>
        <p:spPr>
          <a:xfrm>
            <a:off x="8169554" y="1919577"/>
            <a:ext cx="2161594" cy="307777"/>
          </a:xfrm>
          <a:prstGeom prst="rect">
            <a:avLst/>
          </a:prstGeom>
          <a:solidFill>
            <a:schemeClr val="accent4">
              <a:lumMod val="40000"/>
              <a:lumOff val="60000"/>
            </a:schemeClr>
          </a:solidFill>
          <a:effectLst>
            <a:glow rad="139700">
              <a:schemeClr val="accent4">
                <a:satMod val="175000"/>
                <a:alpha val="40000"/>
              </a:schemeClr>
            </a:glow>
          </a:effectLst>
        </p:spPr>
        <p:txBody>
          <a:bodyPr wrap="square" rtlCol="0">
            <a:spAutoFit/>
          </a:bodyPr>
          <a:lstStyle/>
          <a:p>
            <a:r>
              <a:rPr lang="en-US" sz="1400" b="1">
                <a:latin typeface="Arial" panose="020B0604020202020204" pitchFamily="34" charset="0"/>
                <a:cs typeface="Arial" panose="020B0604020202020204" pitchFamily="34" charset="0"/>
              </a:rPr>
              <a:t>Personalize Top 3 flags</a:t>
            </a:r>
          </a:p>
        </p:txBody>
      </p:sp>
      <p:cxnSp>
        <p:nvCxnSpPr>
          <p:cNvPr id="60" name="Straight Arrow Connector 59">
            <a:extLst>
              <a:ext uri="{FF2B5EF4-FFF2-40B4-BE49-F238E27FC236}">
                <a16:creationId xmlns:a16="http://schemas.microsoft.com/office/drawing/2014/main" id="{EE18B682-CB3D-4711-BFB5-D272E6FCF517}"/>
              </a:ext>
            </a:extLst>
          </p:cNvPr>
          <p:cNvCxnSpPr>
            <a:cxnSpLocks/>
            <a:stCxn id="39" idx="4"/>
            <a:endCxn id="50" idx="1"/>
          </p:cNvCxnSpPr>
          <p:nvPr/>
        </p:nvCxnSpPr>
        <p:spPr>
          <a:xfrm flipV="1">
            <a:off x="7020233" y="2738059"/>
            <a:ext cx="1879360" cy="10685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6FF396D9-0066-4A50-A38E-16CAB82D713A}"/>
              </a:ext>
            </a:extLst>
          </p:cNvPr>
          <p:cNvCxnSpPr>
            <a:cxnSpLocks/>
            <a:stCxn id="39" idx="4"/>
            <a:endCxn id="56" idx="1"/>
          </p:cNvCxnSpPr>
          <p:nvPr/>
        </p:nvCxnSpPr>
        <p:spPr>
          <a:xfrm>
            <a:off x="7020233" y="3806644"/>
            <a:ext cx="1789519" cy="701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283E4C4D-F7BC-4358-86BB-BB1C08654D88}"/>
              </a:ext>
            </a:extLst>
          </p:cNvPr>
          <p:cNvCxnSpPr>
            <a:cxnSpLocks/>
            <a:stCxn id="39" idx="4"/>
            <a:endCxn id="53" idx="1"/>
          </p:cNvCxnSpPr>
          <p:nvPr/>
        </p:nvCxnSpPr>
        <p:spPr>
          <a:xfrm>
            <a:off x="7020233" y="3806644"/>
            <a:ext cx="1901300" cy="13099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C6F6F4B-678E-4DEF-B726-E7E949BF89DE}"/>
              </a:ext>
            </a:extLst>
          </p:cNvPr>
          <p:cNvSpPr/>
          <p:nvPr/>
        </p:nvSpPr>
        <p:spPr>
          <a:xfrm>
            <a:off x="1417823" y="3669379"/>
            <a:ext cx="1665841" cy="276999"/>
          </a:xfrm>
          <a:prstGeom prst="rect">
            <a:avLst/>
          </a:prstGeom>
          <a:effectLst>
            <a:outerShdw blurRad="50800" dist="38100" dir="5400000" algn="t" rotWithShape="0">
              <a:prstClr val="black">
                <a:alpha val="40000"/>
              </a:prstClr>
            </a:outerShdw>
          </a:effectLst>
        </p:spPr>
        <p:txBody>
          <a:bodyPr wrap="none">
            <a:spAutoFit/>
          </a:bodyPr>
          <a:lstStyle/>
          <a:p>
            <a:r>
              <a:rPr lang="en-US" sz="1200">
                <a:highlight>
                  <a:srgbClr val="00FFFF"/>
                </a:highlight>
                <a:latin typeface="Arial" panose="020B0604020202020204" pitchFamily="34" charset="0"/>
                <a:cs typeface="Arial" panose="020B0604020202020204" pitchFamily="34" charset="0"/>
              </a:rPr>
              <a:t>Collaborative Filtering</a:t>
            </a:r>
          </a:p>
        </p:txBody>
      </p:sp>
    </p:spTree>
    <p:extLst>
      <p:ext uri="{BB962C8B-B14F-4D97-AF65-F5344CB8AC3E}">
        <p14:creationId xmlns:p14="http://schemas.microsoft.com/office/powerpoint/2010/main" val="37662546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51E935FC-1A66-4EF7-87EE-804D53F50032}"/>
              </a:ext>
            </a:extLst>
          </p:cNvPr>
          <p:cNvSpPr txBox="1">
            <a:spLocks/>
          </p:cNvSpPr>
          <p:nvPr/>
        </p:nvSpPr>
        <p:spPr>
          <a:xfrm>
            <a:off x="256772" y="72027"/>
            <a:ext cx="11678456" cy="758577"/>
          </a:xfrm>
          <a:prstGeom prst="rect">
            <a:avLst/>
          </a:prstGeom>
        </p:spPr>
        <p:txBody>
          <a:bodyPr lIns="0" tIns="0" rIns="0" bIns="0" anchor="ctr"/>
          <a:lstStyle>
            <a:lvl1pPr algn="l" rtl="0" fontAlgn="base">
              <a:lnSpc>
                <a:spcPts val="2400"/>
              </a:lnSpc>
              <a:spcBef>
                <a:spcPct val="20000"/>
              </a:spcBef>
              <a:spcAft>
                <a:spcPct val="0"/>
              </a:spcAft>
              <a:buFont typeface="Arial" panose="020B0604020202020204" pitchFamily="34" charset="0"/>
              <a:defRPr sz="2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2200">
                <a:solidFill>
                  <a:srgbClr val="D31145"/>
                </a:solidFill>
              </a:rPr>
              <a:t>Vitality</a:t>
            </a:r>
            <a:r>
              <a:rPr lang="en-GB" sz="2200" b="0">
                <a:solidFill>
                  <a:srgbClr val="D31145"/>
                </a:solidFill>
              </a:rPr>
              <a:t> members are with higher likelihood for both actions and conversion rate after the respective actions</a:t>
            </a:r>
          </a:p>
        </p:txBody>
      </p:sp>
      <p:sp>
        <p:nvSpPr>
          <p:cNvPr id="3" name="TextBox 2">
            <a:extLst>
              <a:ext uri="{FF2B5EF4-FFF2-40B4-BE49-F238E27FC236}">
                <a16:creationId xmlns:a16="http://schemas.microsoft.com/office/drawing/2014/main" id="{C60D038D-4A31-4844-A1C1-112F4FAB908D}"/>
              </a:ext>
            </a:extLst>
          </p:cNvPr>
          <p:cNvSpPr txBox="1"/>
          <p:nvPr/>
        </p:nvSpPr>
        <p:spPr>
          <a:xfrm>
            <a:off x="325120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Download My AIA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C3C2919-B01B-4076-979D-ECEDF4BE576C}"/>
              </a:ext>
            </a:extLst>
          </p:cNvPr>
          <p:cNvSpPr txBox="1"/>
          <p:nvPr/>
        </p:nvSpPr>
        <p:spPr>
          <a:xfrm>
            <a:off x="639064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Download My AIA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27F2CD6-6F35-47B5-BC66-62DD75A31B81}"/>
              </a:ext>
            </a:extLst>
          </p:cNvPr>
          <p:cNvSpPr txBox="1"/>
          <p:nvPr/>
        </p:nvSpPr>
        <p:spPr>
          <a:xfrm>
            <a:off x="325120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Complete FHC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5106493-0153-4DAA-BEE9-C1620B64FF35}"/>
              </a:ext>
            </a:extLst>
          </p:cNvPr>
          <p:cNvSpPr txBox="1"/>
          <p:nvPr/>
        </p:nvSpPr>
        <p:spPr>
          <a:xfrm>
            <a:off x="639064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0F77D345-8BB7-45C8-9C3D-5653A4C92776}"/>
              </a:ext>
            </a:extLst>
          </p:cNvPr>
          <p:cNvPicPr>
            <a:picLocks noChangeAspect="1"/>
          </p:cNvPicPr>
          <p:nvPr/>
        </p:nvPicPr>
        <p:blipFill>
          <a:blip r:embed="rId3"/>
          <a:stretch>
            <a:fillRect/>
          </a:stretch>
        </p:blipFill>
        <p:spPr>
          <a:xfrm>
            <a:off x="2660893" y="1133836"/>
            <a:ext cx="7459494" cy="2392456"/>
          </a:xfrm>
          <a:prstGeom prst="rect">
            <a:avLst/>
          </a:prstGeom>
        </p:spPr>
      </p:pic>
      <p:sp>
        <p:nvSpPr>
          <p:cNvPr id="9" name="Rectangle 8">
            <a:extLst>
              <a:ext uri="{FF2B5EF4-FFF2-40B4-BE49-F238E27FC236}">
                <a16:creationId xmlns:a16="http://schemas.microsoft.com/office/drawing/2014/main" id="{4C01E5D9-1509-4F1B-8760-FC30CAB502BF}"/>
              </a:ext>
            </a:extLst>
          </p:cNvPr>
          <p:cNvSpPr/>
          <p:nvPr/>
        </p:nvSpPr>
        <p:spPr>
          <a:xfrm>
            <a:off x="2902986" y="1182490"/>
            <a:ext cx="7068354" cy="78477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14" name="Picture 13">
            <a:extLst>
              <a:ext uri="{FF2B5EF4-FFF2-40B4-BE49-F238E27FC236}">
                <a16:creationId xmlns:a16="http://schemas.microsoft.com/office/drawing/2014/main" id="{45B37324-4CFC-4E05-BF60-2609206FFF9E}"/>
              </a:ext>
            </a:extLst>
          </p:cNvPr>
          <p:cNvPicPr>
            <a:picLocks noChangeAspect="1"/>
          </p:cNvPicPr>
          <p:nvPr/>
        </p:nvPicPr>
        <p:blipFill>
          <a:blip r:embed="rId4"/>
          <a:stretch>
            <a:fillRect/>
          </a:stretch>
        </p:blipFill>
        <p:spPr>
          <a:xfrm>
            <a:off x="2732971" y="3982720"/>
            <a:ext cx="7315337" cy="2548410"/>
          </a:xfrm>
          <a:prstGeom prst="rect">
            <a:avLst/>
          </a:prstGeom>
        </p:spPr>
      </p:pic>
      <p:sp>
        <p:nvSpPr>
          <p:cNvPr id="18" name="Rectangle 17">
            <a:extLst>
              <a:ext uri="{FF2B5EF4-FFF2-40B4-BE49-F238E27FC236}">
                <a16:creationId xmlns:a16="http://schemas.microsoft.com/office/drawing/2014/main" id="{ABA0EE18-D5D1-4AFF-81B8-A8CE4C3E24DB}"/>
              </a:ext>
            </a:extLst>
          </p:cNvPr>
          <p:cNvSpPr/>
          <p:nvPr/>
        </p:nvSpPr>
        <p:spPr>
          <a:xfrm>
            <a:off x="2902986" y="3982720"/>
            <a:ext cx="7068354" cy="78477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Tree>
    <p:extLst>
      <p:ext uri="{BB962C8B-B14F-4D97-AF65-F5344CB8AC3E}">
        <p14:creationId xmlns:p14="http://schemas.microsoft.com/office/powerpoint/2010/main" val="9989134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7E465E4-AA25-48D8-824C-E42D26EA95D5}"/>
              </a:ext>
            </a:extLst>
          </p:cNvPr>
          <p:cNvPicPr>
            <a:picLocks noChangeAspect="1"/>
          </p:cNvPicPr>
          <p:nvPr/>
        </p:nvPicPr>
        <p:blipFill>
          <a:blip r:embed="rId3"/>
          <a:stretch>
            <a:fillRect/>
          </a:stretch>
        </p:blipFill>
        <p:spPr>
          <a:xfrm>
            <a:off x="2261552" y="1212524"/>
            <a:ext cx="7953375" cy="2577155"/>
          </a:xfrm>
          <a:prstGeom prst="rect">
            <a:avLst/>
          </a:prstGeom>
        </p:spPr>
      </p:pic>
      <p:sp>
        <p:nvSpPr>
          <p:cNvPr id="6" name="Text Placeholder 2">
            <a:extLst>
              <a:ext uri="{FF2B5EF4-FFF2-40B4-BE49-F238E27FC236}">
                <a16:creationId xmlns:a16="http://schemas.microsoft.com/office/drawing/2014/main" id="{51E935FC-1A66-4EF7-87EE-804D53F50032}"/>
              </a:ext>
            </a:extLst>
          </p:cNvPr>
          <p:cNvSpPr txBox="1">
            <a:spLocks/>
          </p:cNvSpPr>
          <p:nvPr/>
        </p:nvSpPr>
        <p:spPr>
          <a:xfrm>
            <a:off x="259544" y="0"/>
            <a:ext cx="11790216" cy="758577"/>
          </a:xfrm>
          <a:prstGeom prst="rect">
            <a:avLst/>
          </a:prstGeom>
        </p:spPr>
        <p:txBody>
          <a:bodyPr lIns="0" tIns="0" rIns="0" bIns="0" anchor="ctr"/>
          <a:lstStyle>
            <a:lvl1pPr algn="l" rtl="0" fontAlgn="base">
              <a:lnSpc>
                <a:spcPts val="2400"/>
              </a:lnSpc>
              <a:spcBef>
                <a:spcPct val="20000"/>
              </a:spcBef>
              <a:spcAft>
                <a:spcPct val="0"/>
              </a:spcAft>
              <a:buFont typeface="Arial" panose="020B0604020202020204" pitchFamily="34" charset="0"/>
              <a:defRPr sz="2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2200" b="0">
                <a:solidFill>
                  <a:srgbClr val="D31145"/>
                </a:solidFill>
              </a:rPr>
              <a:t>Customers with total ANP of </a:t>
            </a:r>
            <a:r>
              <a:rPr lang="en-GB" sz="2200">
                <a:solidFill>
                  <a:srgbClr val="D31145"/>
                </a:solidFill>
              </a:rPr>
              <a:t>RM8k+</a:t>
            </a:r>
            <a:r>
              <a:rPr lang="en-GB" sz="2200" b="0">
                <a:solidFill>
                  <a:srgbClr val="D31145"/>
                </a:solidFill>
              </a:rPr>
              <a:t> are having higher likelihood for both actions and conversion rate after the respective actions </a:t>
            </a:r>
          </a:p>
        </p:txBody>
      </p:sp>
      <p:sp>
        <p:nvSpPr>
          <p:cNvPr id="3" name="TextBox 2">
            <a:extLst>
              <a:ext uri="{FF2B5EF4-FFF2-40B4-BE49-F238E27FC236}">
                <a16:creationId xmlns:a16="http://schemas.microsoft.com/office/drawing/2014/main" id="{C60D038D-4A31-4844-A1C1-112F4FAB908D}"/>
              </a:ext>
            </a:extLst>
          </p:cNvPr>
          <p:cNvSpPr txBox="1"/>
          <p:nvPr/>
        </p:nvSpPr>
        <p:spPr>
          <a:xfrm>
            <a:off x="325120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Download My AIA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C3C2919-B01B-4076-979D-ECEDF4BE576C}"/>
              </a:ext>
            </a:extLst>
          </p:cNvPr>
          <p:cNvSpPr txBox="1"/>
          <p:nvPr/>
        </p:nvSpPr>
        <p:spPr>
          <a:xfrm>
            <a:off x="639064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Download My AIA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27F2CD6-6F35-47B5-BC66-62DD75A31B81}"/>
              </a:ext>
            </a:extLst>
          </p:cNvPr>
          <p:cNvSpPr txBox="1"/>
          <p:nvPr/>
        </p:nvSpPr>
        <p:spPr>
          <a:xfrm>
            <a:off x="325120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Complete FHC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5106493-0153-4DAA-BEE9-C1620B64FF35}"/>
              </a:ext>
            </a:extLst>
          </p:cNvPr>
          <p:cNvSpPr txBox="1"/>
          <p:nvPr/>
        </p:nvSpPr>
        <p:spPr>
          <a:xfrm>
            <a:off x="639064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AC6EC2BB-715F-4A3C-95FF-3365ECB6600B}"/>
              </a:ext>
            </a:extLst>
          </p:cNvPr>
          <p:cNvPicPr>
            <a:picLocks noChangeAspect="1"/>
          </p:cNvPicPr>
          <p:nvPr/>
        </p:nvPicPr>
        <p:blipFill>
          <a:blip r:embed="rId4"/>
          <a:stretch>
            <a:fillRect/>
          </a:stretch>
        </p:blipFill>
        <p:spPr>
          <a:xfrm>
            <a:off x="2261552" y="3927795"/>
            <a:ext cx="7953375" cy="2428875"/>
          </a:xfrm>
          <a:prstGeom prst="rect">
            <a:avLst/>
          </a:prstGeom>
        </p:spPr>
      </p:pic>
      <p:pic>
        <p:nvPicPr>
          <p:cNvPr id="11" name="Picture 10">
            <a:extLst>
              <a:ext uri="{FF2B5EF4-FFF2-40B4-BE49-F238E27FC236}">
                <a16:creationId xmlns:a16="http://schemas.microsoft.com/office/drawing/2014/main" id="{FFF30171-0502-4360-B053-26CA641C1C87}"/>
              </a:ext>
            </a:extLst>
          </p:cNvPr>
          <p:cNvPicPr>
            <a:picLocks noChangeAspect="1"/>
          </p:cNvPicPr>
          <p:nvPr/>
        </p:nvPicPr>
        <p:blipFill>
          <a:blip r:embed="rId5"/>
          <a:stretch>
            <a:fillRect/>
          </a:stretch>
        </p:blipFill>
        <p:spPr>
          <a:xfrm>
            <a:off x="2231072" y="2059145"/>
            <a:ext cx="266700" cy="771525"/>
          </a:xfrm>
          <a:prstGeom prst="rect">
            <a:avLst/>
          </a:prstGeom>
        </p:spPr>
      </p:pic>
      <p:sp>
        <p:nvSpPr>
          <p:cNvPr id="12" name="Rectangle 11">
            <a:extLst>
              <a:ext uri="{FF2B5EF4-FFF2-40B4-BE49-F238E27FC236}">
                <a16:creationId xmlns:a16="http://schemas.microsoft.com/office/drawing/2014/main" id="{E4572A0F-A3F1-4F0C-A70F-321D981F652A}"/>
              </a:ext>
            </a:extLst>
          </p:cNvPr>
          <p:cNvSpPr/>
          <p:nvPr/>
        </p:nvSpPr>
        <p:spPr>
          <a:xfrm>
            <a:off x="2507932" y="3917162"/>
            <a:ext cx="7804001" cy="121669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9" name="Rectangle 8">
            <a:extLst>
              <a:ext uri="{FF2B5EF4-FFF2-40B4-BE49-F238E27FC236}">
                <a16:creationId xmlns:a16="http://schemas.microsoft.com/office/drawing/2014/main" id="{4C01E5D9-1509-4F1B-8760-FC30CAB502BF}"/>
              </a:ext>
            </a:extLst>
          </p:cNvPr>
          <p:cNvSpPr/>
          <p:nvPr/>
        </p:nvSpPr>
        <p:spPr>
          <a:xfrm>
            <a:off x="2441405" y="1205861"/>
            <a:ext cx="7804001" cy="130518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Tree>
    <p:extLst>
      <p:ext uri="{BB962C8B-B14F-4D97-AF65-F5344CB8AC3E}">
        <p14:creationId xmlns:p14="http://schemas.microsoft.com/office/powerpoint/2010/main" val="19914617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51E935FC-1A66-4EF7-87EE-804D53F50032}"/>
              </a:ext>
            </a:extLst>
          </p:cNvPr>
          <p:cNvSpPr txBox="1">
            <a:spLocks/>
          </p:cNvSpPr>
          <p:nvPr/>
        </p:nvSpPr>
        <p:spPr>
          <a:xfrm>
            <a:off x="259544" y="0"/>
            <a:ext cx="11790216" cy="758577"/>
          </a:xfrm>
          <a:prstGeom prst="rect">
            <a:avLst/>
          </a:prstGeom>
        </p:spPr>
        <p:txBody>
          <a:bodyPr lIns="0" tIns="0" rIns="0" bIns="0" anchor="ctr"/>
          <a:lstStyle>
            <a:lvl1pPr algn="l" rtl="0" fontAlgn="base">
              <a:lnSpc>
                <a:spcPts val="2400"/>
              </a:lnSpc>
              <a:spcBef>
                <a:spcPct val="20000"/>
              </a:spcBef>
              <a:spcAft>
                <a:spcPct val="0"/>
              </a:spcAft>
              <a:buFont typeface="Arial" panose="020B0604020202020204" pitchFamily="34" charset="0"/>
              <a:defRPr sz="2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2200" b="0">
                <a:solidFill>
                  <a:srgbClr val="D31145"/>
                </a:solidFill>
              </a:rPr>
              <a:t>Customers with total ANP of </a:t>
            </a:r>
            <a:r>
              <a:rPr lang="en-GB" sz="2200">
                <a:solidFill>
                  <a:srgbClr val="D31145"/>
                </a:solidFill>
              </a:rPr>
              <a:t>RM8k+</a:t>
            </a:r>
            <a:r>
              <a:rPr lang="en-GB" sz="2200" b="0">
                <a:solidFill>
                  <a:srgbClr val="D31145"/>
                </a:solidFill>
              </a:rPr>
              <a:t> are having higher likelihood for both actions and conversion rate after the respective actions </a:t>
            </a:r>
          </a:p>
        </p:txBody>
      </p:sp>
      <p:sp>
        <p:nvSpPr>
          <p:cNvPr id="3" name="TextBox 2">
            <a:extLst>
              <a:ext uri="{FF2B5EF4-FFF2-40B4-BE49-F238E27FC236}">
                <a16:creationId xmlns:a16="http://schemas.microsoft.com/office/drawing/2014/main" id="{C60D038D-4A31-4844-A1C1-112F4FAB908D}"/>
              </a:ext>
            </a:extLst>
          </p:cNvPr>
          <p:cNvSpPr txBox="1"/>
          <p:nvPr/>
        </p:nvSpPr>
        <p:spPr>
          <a:xfrm>
            <a:off x="325120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Download My AIA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C3C2919-B01B-4076-979D-ECEDF4BE576C}"/>
              </a:ext>
            </a:extLst>
          </p:cNvPr>
          <p:cNvSpPr txBox="1"/>
          <p:nvPr/>
        </p:nvSpPr>
        <p:spPr>
          <a:xfrm>
            <a:off x="639064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Download My AIA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27F2CD6-6F35-47B5-BC66-62DD75A31B81}"/>
              </a:ext>
            </a:extLst>
          </p:cNvPr>
          <p:cNvSpPr txBox="1"/>
          <p:nvPr/>
        </p:nvSpPr>
        <p:spPr>
          <a:xfrm>
            <a:off x="325120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Complete FHC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5106493-0153-4DAA-BEE9-C1620B64FF35}"/>
              </a:ext>
            </a:extLst>
          </p:cNvPr>
          <p:cNvSpPr txBox="1"/>
          <p:nvPr/>
        </p:nvSpPr>
        <p:spPr>
          <a:xfrm>
            <a:off x="639064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FFF30171-0502-4360-B053-26CA641C1C87}"/>
              </a:ext>
            </a:extLst>
          </p:cNvPr>
          <p:cNvPicPr>
            <a:picLocks noChangeAspect="1"/>
          </p:cNvPicPr>
          <p:nvPr/>
        </p:nvPicPr>
        <p:blipFill>
          <a:blip r:embed="rId3"/>
          <a:stretch>
            <a:fillRect/>
          </a:stretch>
        </p:blipFill>
        <p:spPr>
          <a:xfrm>
            <a:off x="2231072" y="2059145"/>
            <a:ext cx="266700" cy="771525"/>
          </a:xfrm>
          <a:prstGeom prst="rect">
            <a:avLst/>
          </a:prstGeom>
        </p:spPr>
      </p:pic>
      <p:pic>
        <p:nvPicPr>
          <p:cNvPr id="13" name="Picture 12">
            <a:extLst>
              <a:ext uri="{FF2B5EF4-FFF2-40B4-BE49-F238E27FC236}">
                <a16:creationId xmlns:a16="http://schemas.microsoft.com/office/drawing/2014/main" id="{E2E339C7-77F8-42EE-8CC6-02EF8DCFA187}"/>
              </a:ext>
            </a:extLst>
          </p:cNvPr>
          <p:cNvPicPr>
            <a:picLocks noChangeAspect="1"/>
          </p:cNvPicPr>
          <p:nvPr/>
        </p:nvPicPr>
        <p:blipFill>
          <a:blip r:embed="rId4"/>
          <a:stretch>
            <a:fillRect/>
          </a:stretch>
        </p:blipFill>
        <p:spPr>
          <a:xfrm>
            <a:off x="1630365" y="3917162"/>
            <a:ext cx="9120753" cy="2850799"/>
          </a:xfrm>
          <a:prstGeom prst="rect">
            <a:avLst/>
          </a:prstGeom>
        </p:spPr>
      </p:pic>
      <p:sp>
        <p:nvSpPr>
          <p:cNvPr id="12" name="Rectangle 11">
            <a:extLst>
              <a:ext uri="{FF2B5EF4-FFF2-40B4-BE49-F238E27FC236}">
                <a16:creationId xmlns:a16="http://schemas.microsoft.com/office/drawing/2014/main" id="{E4572A0F-A3F1-4F0C-A70F-321D981F652A}"/>
              </a:ext>
            </a:extLst>
          </p:cNvPr>
          <p:cNvSpPr/>
          <p:nvPr/>
        </p:nvSpPr>
        <p:spPr>
          <a:xfrm>
            <a:off x="2507932" y="3917162"/>
            <a:ext cx="7804001" cy="148002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8" name="Picture 7">
            <a:extLst>
              <a:ext uri="{FF2B5EF4-FFF2-40B4-BE49-F238E27FC236}">
                <a16:creationId xmlns:a16="http://schemas.microsoft.com/office/drawing/2014/main" id="{2E143054-CD07-457F-9DAB-B579A7B822FC}"/>
              </a:ext>
            </a:extLst>
          </p:cNvPr>
          <p:cNvPicPr>
            <a:picLocks noChangeAspect="1"/>
          </p:cNvPicPr>
          <p:nvPr/>
        </p:nvPicPr>
        <p:blipFill>
          <a:blip r:embed="rId5"/>
          <a:stretch>
            <a:fillRect/>
          </a:stretch>
        </p:blipFill>
        <p:spPr>
          <a:xfrm>
            <a:off x="1741878" y="1109395"/>
            <a:ext cx="8845332" cy="2574560"/>
          </a:xfrm>
          <a:prstGeom prst="rect">
            <a:avLst/>
          </a:prstGeom>
        </p:spPr>
      </p:pic>
      <p:sp>
        <p:nvSpPr>
          <p:cNvPr id="9" name="Rectangle 8">
            <a:extLst>
              <a:ext uri="{FF2B5EF4-FFF2-40B4-BE49-F238E27FC236}">
                <a16:creationId xmlns:a16="http://schemas.microsoft.com/office/drawing/2014/main" id="{4C01E5D9-1509-4F1B-8760-FC30CAB502BF}"/>
              </a:ext>
            </a:extLst>
          </p:cNvPr>
          <p:cNvSpPr/>
          <p:nvPr/>
        </p:nvSpPr>
        <p:spPr>
          <a:xfrm>
            <a:off x="2373592" y="1139718"/>
            <a:ext cx="7804001" cy="130518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Tree>
    <p:extLst>
      <p:ext uri="{BB962C8B-B14F-4D97-AF65-F5344CB8AC3E}">
        <p14:creationId xmlns:p14="http://schemas.microsoft.com/office/powerpoint/2010/main" val="36759895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C2C029C-56A2-49D5-92B1-05BC0ABF35C5}"/>
              </a:ext>
            </a:extLst>
          </p:cNvPr>
          <p:cNvPicPr>
            <a:picLocks noChangeAspect="1"/>
          </p:cNvPicPr>
          <p:nvPr/>
        </p:nvPicPr>
        <p:blipFill>
          <a:blip r:embed="rId3"/>
          <a:stretch>
            <a:fillRect/>
          </a:stretch>
        </p:blipFill>
        <p:spPr>
          <a:xfrm>
            <a:off x="2926081" y="1312508"/>
            <a:ext cx="6949440" cy="2515180"/>
          </a:xfrm>
          <a:prstGeom prst="rect">
            <a:avLst/>
          </a:prstGeom>
        </p:spPr>
      </p:pic>
      <p:sp>
        <p:nvSpPr>
          <p:cNvPr id="6" name="Text Placeholder 2">
            <a:extLst>
              <a:ext uri="{FF2B5EF4-FFF2-40B4-BE49-F238E27FC236}">
                <a16:creationId xmlns:a16="http://schemas.microsoft.com/office/drawing/2014/main" id="{51E935FC-1A66-4EF7-87EE-804D53F50032}"/>
              </a:ext>
            </a:extLst>
          </p:cNvPr>
          <p:cNvSpPr txBox="1">
            <a:spLocks/>
          </p:cNvSpPr>
          <p:nvPr/>
        </p:nvSpPr>
        <p:spPr>
          <a:xfrm>
            <a:off x="101600" y="319074"/>
            <a:ext cx="12090400" cy="758577"/>
          </a:xfrm>
          <a:prstGeom prst="rect">
            <a:avLst/>
          </a:prstGeom>
        </p:spPr>
        <p:txBody>
          <a:bodyPr lIns="0" tIns="0" rIns="0" bIns="0" anchor="ctr"/>
          <a:lstStyle>
            <a:lvl1pPr algn="l" rtl="0" fontAlgn="base">
              <a:lnSpc>
                <a:spcPts val="2400"/>
              </a:lnSpc>
              <a:spcBef>
                <a:spcPct val="20000"/>
              </a:spcBef>
              <a:spcAft>
                <a:spcPct val="0"/>
              </a:spcAft>
              <a:buFont typeface="Arial" panose="020B0604020202020204" pitchFamily="34" charset="0"/>
              <a:defRPr sz="2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2200" b="0">
                <a:solidFill>
                  <a:srgbClr val="D31145"/>
                </a:solidFill>
              </a:rPr>
              <a:t>Customers with Life coverage of </a:t>
            </a:r>
            <a:r>
              <a:rPr lang="en-GB" sz="2200">
                <a:solidFill>
                  <a:srgbClr val="D31145"/>
                </a:solidFill>
              </a:rPr>
              <a:t>RM300k+</a:t>
            </a:r>
            <a:r>
              <a:rPr lang="en-GB" sz="2200" b="0">
                <a:solidFill>
                  <a:srgbClr val="D31145"/>
                </a:solidFill>
              </a:rPr>
              <a:t> are having higher likelihood to </a:t>
            </a:r>
            <a:r>
              <a:rPr lang="en-GB" sz="2200">
                <a:solidFill>
                  <a:srgbClr val="D31145"/>
                </a:solidFill>
              </a:rPr>
              <a:t>download My AIA </a:t>
            </a:r>
            <a:r>
              <a:rPr lang="en-GB" sz="2200" b="0">
                <a:solidFill>
                  <a:srgbClr val="D31145"/>
                </a:solidFill>
              </a:rPr>
              <a:t>and post repurchase with higher ANP</a:t>
            </a:r>
          </a:p>
          <a:p>
            <a:pPr marL="342900" indent="-342900">
              <a:buFont typeface="Arial" panose="020B0604020202020204" pitchFamily="34" charset="0"/>
              <a:buChar char="•"/>
            </a:pPr>
            <a:r>
              <a:rPr lang="en-GB" sz="2000" b="0">
                <a:solidFill>
                  <a:srgbClr val="D31145"/>
                </a:solidFill>
              </a:rPr>
              <a:t>When referring to those </a:t>
            </a:r>
            <a:r>
              <a:rPr lang="en-GB" sz="2000">
                <a:solidFill>
                  <a:srgbClr val="D31145"/>
                </a:solidFill>
              </a:rPr>
              <a:t>completing FHC</a:t>
            </a:r>
            <a:r>
              <a:rPr lang="en-GB" sz="2000" b="0">
                <a:solidFill>
                  <a:srgbClr val="D31145"/>
                </a:solidFill>
              </a:rPr>
              <a:t>, this only applicable to customers with Life coverage of </a:t>
            </a:r>
            <a:r>
              <a:rPr lang="en-GB" sz="2000">
                <a:solidFill>
                  <a:srgbClr val="D31145"/>
                </a:solidFill>
              </a:rPr>
              <a:t>RM500k+</a:t>
            </a:r>
          </a:p>
        </p:txBody>
      </p:sp>
      <p:sp>
        <p:nvSpPr>
          <p:cNvPr id="3" name="TextBox 2">
            <a:extLst>
              <a:ext uri="{FF2B5EF4-FFF2-40B4-BE49-F238E27FC236}">
                <a16:creationId xmlns:a16="http://schemas.microsoft.com/office/drawing/2014/main" id="{C60D038D-4A31-4844-A1C1-112F4FAB908D}"/>
              </a:ext>
            </a:extLst>
          </p:cNvPr>
          <p:cNvSpPr txBox="1"/>
          <p:nvPr/>
        </p:nvSpPr>
        <p:spPr>
          <a:xfrm>
            <a:off x="3251200" y="100754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Download My AIA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C3C2919-B01B-4076-979D-ECEDF4BE576C}"/>
              </a:ext>
            </a:extLst>
          </p:cNvPr>
          <p:cNvSpPr txBox="1"/>
          <p:nvPr/>
        </p:nvSpPr>
        <p:spPr>
          <a:xfrm>
            <a:off x="6390640" y="100754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Download My AIA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27F2CD6-6F35-47B5-BC66-62DD75A31B81}"/>
              </a:ext>
            </a:extLst>
          </p:cNvPr>
          <p:cNvSpPr txBox="1"/>
          <p:nvPr/>
        </p:nvSpPr>
        <p:spPr>
          <a:xfrm>
            <a:off x="3251200" y="384651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Complete FHC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5106493-0153-4DAA-BEE9-C1620B64FF35}"/>
              </a:ext>
            </a:extLst>
          </p:cNvPr>
          <p:cNvSpPr txBox="1"/>
          <p:nvPr/>
        </p:nvSpPr>
        <p:spPr>
          <a:xfrm>
            <a:off x="6390640" y="384651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4C01E5D9-1509-4F1B-8760-FC30CAB502BF}"/>
              </a:ext>
            </a:extLst>
          </p:cNvPr>
          <p:cNvSpPr/>
          <p:nvPr/>
        </p:nvSpPr>
        <p:spPr>
          <a:xfrm>
            <a:off x="2985173" y="1326879"/>
            <a:ext cx="6949440" cy="115189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2" name="Picture 1">
            <a:extLst>
              <a:ext uri="{FF2B5EF4-FFF2-40B4-BE49-F238E27FC236}">
                <a16:creationId xmlns:a16="http://schemas.microsoft.com/office/drawing/2014/main" id="{0BCA0879-362E-4853-9184-0FAEEEB3BA83}"/>
              </a:ext>
            </a:extLst>
          </p:cNvPr>
          <p:cNvPicPr>
            <a:picLocks noChangeAspect="1"/>
          </p:cNvPicPr>
          <p:nvPr/>
        </p:nvPicPr>
        <p:blipFill>
          <a:blip r:embed="rId4"/>
          <a:stretch>
            <a:fillRect/>
          </a:stretch>
        </p:blipFill>
        <p:spPr>
          <a:xfrm>
            <a:off x="2923393" y="4084320"/>
            <a:ext cx="7014651" cy="2454605"/>
          </a:xfrm>
          <a:prstGeom prst="rect">
            <a:avLst/>
          </a:prstGeom>
        </p:spPr>
      </p:pic>
      <p:sp>
        <p:nvSpPr>
          <p:cNvPr id="11" name="Rectangle 10">
            <a:extLst>
              <a:ext uri="{FF2B5EF4-FFF2-40B4-BE49-F238E27FC236}">
                <a16:creationId xmlns:a16="http://schemas.microsoft.com/office/drawing/2014/main" id="{4A73057C-69C2-45B4-A652-99E6BDD28001}"/>
              </a:ext>
            </a:extLst>
          </p:cNvPr>
          <p:cNvSpPr/>
          <p:nvPr/>
        </p:nvSpPr>
        <p:spPr>
          <a:xfrm>
            <a:off x="2985173" y="4099598"/>
            <a:ext cx="6949440" cy="78612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Tree>
    <p:extLst>
      <p:ext uri="{BB962C8B-B14F-4D97-AF65-F5344CB8AC3E}">
        <p14:creationId xmlns:p14="http://schemas.microsoft.com/office/powerpoint/2010/main" val="20293579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51E935FC-1A66-4EF7-87EE-804D53F50032}"/>
              </a:ext>
            </a:extLst>
          </p:cNvPr>
          <p:cNvSpPr txBox="1">
            <a:spLocks/>
          </p:cNvSpPr>
          <p:nvPr/>
        </p:nvSpPr>
        <p:spPr>
          <a:xfrm>
            <a:off x="101600" y="319074"/>
            <a:ext cx="12090400" cy="758577"/>
          </a:xfrm>
          <a:prstGeom prst="rect">
            <a:avLst/>
          </a:prstGeom>
        </p:spPr>
        <p:txBody>
          <a:bodyPr lIns="0" tIns="0" rIns="0" bIns="0" anchor="ctr"/>
          <a:lstStyle>
            <a:lvl1pPr algn="l" rtl="0" fontAlgn="base">
              <a:lnSpc>
                <a:spcPts val="2400"/>
              </a:lnSpc>
              <a:spcBef>
                <a:spcPct val="20000"/>
              </a:spcBef>
              <a:spcAft>
                <a:spcPct val="0"/>
              </a:spcAft>
              <a:buFont typeface="Arial" panose="020B0604020202020204" pitchFamily="34" charset="0"/>
              <a:defRPr sz="2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2200" b="0">
                <a:solidFill>
                  <a:srgbClr val="D31145"/>
                </a:solidFill>
              </a:rPr>
              <a:t>Customers with Life coverage of </a:t>
            </a:r>
            <a:r>
              <a:rPr lang="en-GB" sz="2200">
                <a:solidFill>
                  <a:srgbClr val="D31145"/>
                </a:solidFill>
              </a:rPr>
              <a:t>RM300k+</a:t>
            </a:r>
            <a:r>
              <a:rPr lang="en-GB" sz="2200" b="0">
                <a:solidFill>
                  <a:srgbClr val="D31145"/>
                </a:solidFill>
              </a:rPr>
              <a:t> are having higher likelihood to </a:t>
            </a:r>
            <a:r>
              <a:rPr lang="en-GB" sz="2200">
                <a:solidFill>
                  <a:srgbClr val="D31145"/>
                </a:solidFill>
              </a:rPr>
              <a:t>download My AIA </a:t>
            </a:r>
            <a:r>
              <a:rPr lang="en-GB" sz="2200" b="0">
                <a:solidFill>
                  <a:srgbClr val="D31145"/>
                </a:solidFill>
              </a:rPr>
              <a:t>and post repurchase with higher ANP</a:t>
            </a:r>
          </a:p>
          <a:p>
            <a:pPr marL="342900" indent="-342900">
              <a:buFont typeface="Arial" panose="020B0604020202020204" pitchFamily="34" charset="0"/>
              <a:buChar char="•"/>
            </a:pPr>
            <a:r>
              <a:rPr lang="en-GB" sz="2000" b="0">
                <a:solidFill>
                  <a:srgbClr val="D31145"/>
                </a:solidFill>
              </a:rPr>
              <a:t>When referring to those </a:t>
            </a:r>
            <a:r>
              <a:rPr lang="en-GB" sz="2000">
                <a:solidFill>
                  <a:srgbClr val="D31145"/>
                </a:solidFill>
              </a:rPr>
              <a:t>completing FHC</a:t>
            </a:r>
            <a:r>
              <a:rPr lang="en-GB" sz="2000" b="0">
                <a:solidFill>
                  <a:srgbClr val="D31145"/>
                </a:solidFill>
              </a:rPr>
              <a:t>, this only applicable to customers with Life coverage of </a:t>
            </a:r>
            <a:r>
              <a:rPr lang="en-GB" sz="2000">
                <a:solidFill>
                  <a:srgbClr val="D31145"/>
                </a:solidFill>
              </a:rPr>
              <a:t>RM500k+</a:t>
            </a:r>
          </a:p>
        </p:txBody>
      </p:sp>
      <p:sp>
        <p:nvSpPr>
          <p:cNvPr id="3" name="TextBox 2">
            <a:extLst>
              <a:ext uri="{FF2B5EF4-FFF2-40B4-BE49-F238E27FC236}">
                <a16:creationId xmlns:a16="http://schemas.microsoft.com/office/drawing/2014/main" id="{C60D038D-4A31-4844-A1C1-112F4FAB908D}"/>
              </a:ext>
            </a:extLst>
          </p:cNvPr>
          <p:cNvSpPr txBox="1"/>
          <p:nvPr/>
        </p:nvSpPr>
        <p:spPr>
          <a:xfrm>
            <a:off x="3251200" y="100754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Download My AIA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C3C2919-B01B-4076-979D-ECEDF4BE576C}"/>
              </a:ext>
            </a:extLst>
          </p:cNvPr>
          <p:cNvSpPr txBox="1"/>
          <p:nvPr/>
        </p:nvSpPr>
        <p:spPr>
          <a:xfrm>
            <a:off x="6390640" y="100754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Download My AIA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27F2CD6-6F35-47B5-BC66-62DD75A31B81}"/>
              </a:ext>
            </a:extLst>
          </p:cNvPr>
          <p:cNvSpPr txBox="1"/>
          <p:nvPr/>
        </p:nvSpPr>
        <p:spPr>
          <a:xfrm>
            <a:off x="3251200" y="384651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Complete FHC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5106493-0153-4DAA-BEE9-C1620B64FF35}"/>
              </a:ext>
            </a:extLst>
          </p:cNvPr>
          <p:cNvSpPr txBox="1"/>
          <p:nvPr/>
        </p:nvSpPr>
        <p:spPr>
          <a:xfrm>
            <a:off x="6390640" y="384651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DE9A757E-9667-4B53-8F23-D2B6E93C36B3}"/>
              </a:ext>
            </a:extLst>
          </p:cNvPr>
          <p:cNvPicPr>
            <a:picLocks noChangeAspect="1"/>
          </p:cNvPicPr>
          <p:nvPr/>
        </p:nvPicPr>
        <p:blipFill>
          <a:blip r:embed="rId3"/>
          <a:stretch>
            <a:fillRect/>
          </a:stretch>
        </p:blipFill>
        <p:spPr>
          <a:xfrm>
            <a:off x="2682240" y="1229317"/>
            <a:ext cx="7161859" cy="2617197"/>
          </a:xfrm>
          <a:prstGeom prst="rect">
            <a:avLst/>
          </a:prstGeom>
        </p:spPr>
      </p:pic>
      <p:sp>
        <p:nvSpPr>
          <p:cNvPr id="9" name="Rectangle 8">
            <a:extLst>
              <a:ext uri="{FF2B5EF4-FFF2-40B4-BE49-F238E27FC236}">
                <a16:creationId xmlns:a16="http://schemas.microsoft.com/office/drawing/2014/main" id="{4C01E5D9-1509-4F1B-8760-FC30CAB502BF}"/>
              </a:ext>
            </a:extLst>
          </p:cNvPr>
          <p:cNvSpPr/>
          <p:nvPr/>
        </p:nvSpPr>
        <p:spPr>
          <a:xfrm>
            <a:off x="2985173" y="1326879"/>
            <a:ext cx="6949440" cy="115189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12" name="Picture 11">
            <a:extLst>
              <a:ext uri="{FF2B5EF4-FFF2-40B4-BE49-F238E27FC236}">
                <a16:creationId xmlns:a16="http://schemas.microsoft.com/office/drawing/2014/main" id="{8D101C12-E37C-45D3-B01F-A09DAAC62C3D}"/>
              </a:ext>
            </a:extLst>
          </p:cNvPr>
          <p:cNvPicPr>
            <a:picLocks noChangeAspect="1"/>
          </p:cNvPicPr>
          <p:nvPr/>
        </p:nvPicPr>
        <p:blipFill>
          <a:blip r:embed="rId4"/>
          <a:stretch>
            <a:fillRect/>
          </a:stretch>
        </p:blipFill>
        <p:spPr>
          <a:xfrm>
            <a:off x="2682240" y="4123512"/>
            <a:ext cx="7161859" cy="2500075"/>
          </a:xfrm>
          <a:prstGeom prst="rect">
            <a:avLst/>
          </a:prstGeom>
        </p:spPr>
      </p:pic>
      <p:sp>
        <p:nvSpPr>
          <p:cNvPr id="13" name="Rectangle 12">
            <a:extLst>
              <a:ext uri="{FF2B5EF4-FFF2-40B4-BE49-F238E27FC236}">
                <a16:creationId xmlns:a16="http://schemas.microsoft.com/office/drawing/2014/main" id="{823D6B3D-09F6-4012-8C59-F5FA4A6A3047}"/>
              </a:ext>
            </a:extLst>
          </p:cNvPr>
          <p:cNvSpPr/>
          <p:nvPr/>
        </p:nvSpPr>
        <p:spPr>
          <a:xfrm>
            <a:off x="2985173" y="4194356"/>
            <a:ext cx="6949440" cy="78612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Tree>
    <p:extLst>
      <p:ext uri="{BB962C8B-B14F-4D97-AF65-F5344CB8AC3E}">
        <p14:creationId xmlns:p14="http://schemas.microsoft.com/office/powerpoint/2010/main" val="40129774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C919F8C-F115-4CB2-B344-810886D48531}"/>
              </a:ext>
            </a:extLst>
          </p:cNvPr>
          <p:cNvPicPr>
            <a:picLocks noChangeAspect="1"/>
          </p:cNvPicPr>
          <p:nvPr/>
        </p:nvPicPr>
        <p:blipFill>
          <a:blip r:embed="rId3"/>
          <a:stretch>
            <a:fillRect/>
          </a:stretch>
        </p:blipFill>
        <p:spPr>
          <a:xfrm>
            <a:off x="2384094" y="1143756"/>
            <a:ext cx="7407132" cy="2422403"/>
          </a:xfrm>
          <a:prstGeom prst="rect">
            <a:avLst/>
          </a:prstGeom>
        </p:spPr>
      </p:pic>
      <p:sp>
        <p:nvSpPr>
          <p:cNvPr id="6" name="Text Placeholder 2">
            <a:extLst>
              <a:ext uri="{FF2B5EF4-FFF2-40B4-BE49-F238E27FC236}">
                <a16:creationId xmlns:a16="http://schemas.microsoft.com/office/drawing/2014/main" id="{51E935FC-1A66-4EF7-87EE-804D53F50032}"/>
              </a:ext>
            </a:extLst>
          </p:cNvPr>
          <p:cNvSpPr txBox="1">
            <a:spLocks/>
          </p:cNvSpPr>
          <p:nvPr/>
        </p:nvSpPr>
        <p:spPr>
          <a:xfrm>
            <a:off x="259544" y="0"/>
            <a:ext cx="11790216" cy="758577"/>
          </a:xfrm>
          <a:prstGeom prst="rect">
            <a:avLst/>
          </a:prstGeom>
        </p:spPr>
        <p:txBody>
          <a:bodyPr lIns="0" tIns="0" rIns="0" bIns="0" anchor="ctr"/>
          <a:lstStyle>
            <a:lvl1pPr algn="l" rtl="0" fontAlgn="base">
              <a:lnSpc>
                <a:spcPts val="2400"/>
              </a:lnSpc>
              <a:spcBef>
                <a:spcPct val="20000"/>
              </a:spcBef>
              <a:spcAft>
                <a:spcPct val="0"/>
              </a:spcAft>
              <a:buFont typeface="Arial" panose="020B0604020202020204" pitchFamily="34" charset="0"/>
              <a:defRPr sz="2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2200" b="0">
                <a:solidFill>
                  <a:srgbClr val="D31145"/>
                </a:solidFill>
              </a:rPr>
              <a:t>Customers with CI coverage of </a:t>
            </a:r>
            <a:r>
              <a:rPr lang="en-GB" sz="2200">
                <a:solidFill>
                  <a:srgbClr val="D31145"/>
                </a:solidFill>
              </a:rPr>
              <a:t>RM300k+</a:t>
            </a:r>
            <a:r>
              <a:rPr lang="en-GB" sz="2200" b="0">
                <a:solidFill>
                  <a:srgbClr val="D31145"/>
                </a:solidFill>
              </a:rPr>
              <a:t> are having higher likelihood for </a:t>
            </a:r>
            <a:r>
              <a:rPr lang="en-GB" sz="2200">
                <a:solidFill>
                  <a:srgbClr val="D31145"/>
                </a:solidFill>
              </a:rPr>
              <a:t>both</a:t>
            </a:r>
            <a:r>
              <a:rPr lang="en-GB" sz="2200" b="0">
                <a:solidFill>
                  <a:srgbClr val="D31145"/>
                </a:solidFill>
              </a:rPr>
              <a:t> actions and post repurchase with higher ANP</a:t>
            </a:r>
          </a:p>
        </p:txBody>
      </p:sp>
      <p:sp>
        <p:nvSpPr>
          <p:cNvPr id="3" name="TextBox 2">
            <a:extLst>
              <a:ext uri="{FF2B5EF4-FFF2-40B4-BE49-F238E27FC236}">
                <a16:creationId xmlns:a16="http://schemas.microsoft.com/office/drawing/2014/main" id="{C60D038D-4A31-4844-A1C1-112F4FAB908D}"/>
              </a:ext>
            </a:extLst>
          </p:cNvPr>
          <p:cNvSpPr txBox="1"/>
          <p:nvPr/>
        </p:nvSpPr>
        <p:spPr>
          <a:xfrm>
            <a:off x="325120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Download My AIA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C3C2919-B01B-4076-979D-ECEDF4BE576C}"/>
              </a:ext>
            </a:extLst>
          </p:cNvPr>
          <p:cNvSpPr txBox="1"/>
          <p:nvPr/>
        </p:nvSpPr>
        <p:spPr>
          <a:xfrm>
            <a:off x="639064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Download My AIA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27F2CD6-6F35-47B5-BC66-62DD75A31B81}"/>
              </a:ext>
            </a:extLst>
          </p:cNvPr>
          <p:cNvSpPr txBox="1"/>
          <p:nvPr/>
        </p:nvSpPr>
        <p:spPr>
          <a:xfrm>
            <a:off x="325120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Complete FHC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5106493-0153-4DAA-BEE9-C1620B64FF35}"/>
              </a:ext>
            </a:extLst>
          </p:cNvPr>
          <p:cNvSpPr txBox="1"/>
          <p:nvPr/>
        </p:nvSpPr>
        <p:spPr>
          <a:xfrm>
            <a:off x="639064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4C01E5D9-1509-4F1B-8760-FC30CAB502BF}"/>
              </a:ext>
            </a:extLst>
          </p:cNvPr>
          <p:cNvSpPr/>
          <p:nvPr/>
        </p:nvSpPr>
        <p:spPr>
          <a:xfrm>
            <a:off x="2503950" y="1175139"/>
            <a:ext cx="7407132" cy="100926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2" name="Picture 1">
            <a:extLst>
              <a:ext uri="{FF2B5EF4-FFF2-40B4-BE49-F238E27FC236}">
                <a16:creationId xmlns:a16="http://schemas.microsoft.com/office/drawing/2014/main" id="{39C6541C-7D62-4D6E-B129-90608D58B231}"/>
              </a:ext>
            </a:extLst>
          </p:cNvPr>
          <p:cNvPicPr>
            <a:picLocks noChangeAspect="1"/>
          </p:cNvPicPr>
          <p:nvPr/>
        </p:nvPicPr>
        <p:blipFill>
          <a:blip r:embed="rId4"/>
          <a:stretch>
            <a:fillRect/>
          </a:stretch>
        </p:blipFill>
        <p:spPr>
          <a:xfrm>
            <a:off x="2519680" y="3982721"/>
            <a:ext cx="7264400" cy="2279914"/>
          </a:xfrm>
          <a:prstGeom prst="rect">
            <a:avLst/>
          </a:prstGeom>
        </p:spPr>
      </p:pic>
      <p:sp>
        <p:nvSpPr>
          <p:cNvPr id="13" name="Rectangle 12">
            <a:extLst>
              <a:ext uri="{FF2B5EF4-FFF2-40B4-BE49-F238E27FC236}">
                <a16:creationId xmlns:a16="http://schemas.microsoft.com/office/drawing/2014/main" id="{1130A26C-E8DC-4250-B00F-32B217ABD5C0}"/>
              </a:ext>
            </a:extLst>
          </p:cNvPr>
          <p:cNvSpPr/>
          <p:nvPr/>
        </p:nvSpPr>
        <p:spPr>
          <a:xfrm>
            <a:off x="2503950" y="3982721"/>
            <a:ext cx="7407132" cy="100926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Tree>
    <p:extLst>
      <p:ext uri="{BB962C8B-B14F-4D97-AF65-F5344CB8AC3E}">
        <p14:creationId xmlns:p14="http://schemas.microsoft.com/office/powerpoint/2010/main" val="19742960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51E935FC-1A66-4EF7-87EE-804D53F50032}"/>
              </a:ext>
            </a:extLst>
          </p:cNvPr>
          <p:cNvSpPr txBox="1">
            <a:spLocks/>
          </p:cNvSpPr>
          <p:nvPr/>
        </p:nvSpPr>
        <p:spPr>
          <a:xfrm>
            <a:off x="259544" y="0"/>
            <a:ext cx="11790216" cy="758577"/>
          </a:xfrm>
          <a:prstGeom prst="rect">
            <a:avLst/>
          </a:prstGeom>
        </p:spPr>
        <p:txBody>
          <a:bodyPr lIns="0" tIns="0" rIns="0" bIns="0" anchor="ctr"/>
          <a:lstStyle>
            <a:lvl1pPr algn="l" rtl="0" fontAlgn="base">
              <a:lnSpc>
                <a:spcPts val="2400"/>
              </a:lnSpc>
              <a:spcBef>
                <a:spcPct val="20000"/>
              </a:spcBef>
              <a:spcAft>
                <a:spcPct val="0"/>
              </a:spcAft>
              <a:buFont typeface="Arial" panose="020B0604020202020204" pitchFamily="34" charset="0"/>
              <a:defRPr sz="2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2200" b="0">
                <a:solidFill>
                  <a:srgbClr val="D31145"/>
                </a:solidFill>
              </a:rPr>
              <a:t>Customers with CI coverage of </a:t>
            </a:r>
            <a:r>
              <a:rPr lang="en-GB" sz="2200">
                <a:solidFill>
                  <a:srgbClr val="D31145"/>
                </a:solidFill>
              </a:rPr>
              <a:t>RM300k+</a:t>
            </a:r>
            <a:r>
              <a:rPr lang="en-GB" sz="2200" b="0">
                <a:solidFill>
                  <a:srgbClr val="D31145"/>
                </a:solidFill>
              </a:rPr>
              <a:t> are having higher likelihood for </a:t>
            </a:r>
            <a:r>
              <a:rPr lang="en-GB" sz="2200">
                <a:solidFill>
                  <a:srgbClr val="D31145"/>
                </a:solidFill>
              </a:rPr>
              <a:t>both</a:t>
            </a:r>
            <a:r>
              <a:rPr lang="en-GB" sz="2200" b="0">
                <a:solidFill>
                  <a:srgbClr val="D31145"/>
                </a:solidFill>
              </a:rPr>
              <a:t> actions and post repurchase with higher ANP</a:t>
            </a:r>
          </a:p>
        </p:txBody>
      </p:sp>
      <p:sp>
        <p:nvSpPr>
          <p:cNvPr id="3" name="TextBox 2">
            <a:extLst>
              <a:ext uri="{FF2B5EF4-FFF2-40B4-BE49-F238E27FC236}">
                <a16:creationId xmlns:a16="http://schemas.microsoft.com/office/drawing/2014/main" id="{C60D038D-4A31-4844-A1C1-112F4FAB908D}"/>
              </a:ext>
            </a:extLst>
          </p:cNvPr>
          <p:cNvSpPr txBox="1"/>
          <p:nvPr/>
        </p:nvSpPr>
        <p:spPr>
          <a:xfrm>
            <a:off x="325120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Download My AIA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C3C2919-B01B-4076-979D-ECEDF4BE576C}"/>
              </a:ext>
            </a:extLst>
          </p:cNvPr>
          <p:cNvSpPr txBox="1"/>
          <p:nvPr/>
        </p:nvSpPr>
        <p:spPr>
          <a:xfrm>
            <a:off x="639064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Download My AIA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27F2CD6-6F35-47B5-BC66-62DD75A31B81}"/>
              </a:ext>
            </a:extLst>
          </p:cNvPr>
          <p:cNvSpPr txBox="1"/>
          <p:nvPr/>
        </p:nvSpPr>
        <p:spPr>
          <a:xfrm>
            <a:off x="325120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Complete FHC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5106493-0153-4DAA-BEE9-C1620B64FF35}"/>
              </a:ext>
            </a:extLst>
          </p:cNvPr>
          <p:cNvSpPr txBox="1"/>
          <p:nvPr/>
        </p:nvSpPr>
        <p:spPr>
          <a:xfrm>
            <a:off x="639064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DA5B9119-021C-4CD5-8F9F-618F2A65EDC7}"/>
              </a:ext>
            </a:extLst>
          </p:cNvPr>
          <p:cNvPicPr>
            <a:picLocks noChangeAspect="1"/>
          </p:cNvPicPr>
          <p:nvPr/>
        </p:nvPicPr>
        <p:blipFill>
          <a:blip r:embed="rId3"/>
          <a:stretch>
            <a:fillRect/>
          </a:stretch>
        </p:blipFill>
        <p:spPr>
          <a:xfrm>
            <a:off x="2575558" y="1121988"/>
            <a:ext cx="7630164" cy="2475553"/>
          </a:xfrm>
          <a:prstGeom prst="rect">
            <a:avLst/>
          </a:prstGeom>
        </p:spPr>
      </p:pic>
      <p:sp>
        <p:nvSpPr>
          <p:cNvPr id="9" name="Rectangle 8">
            <a:extLst>
              <a:ext uri="{FF2B5EF4-FFF2-40B4-BE49-F238E27FC236}">
                <a16:creationId xmlns:a16="http://schemas.microsoft.com/office/drawing/2014/main" id="{4C01E5D9-1509-4F1B-8760-FC30CAB502BF}"/>
              </a:ext>
            </a:extLst>
          </p:cNvPr>
          <p:cNvSpPr/>
          <p:nvPr/>
        </p:nvSpPr>
        <p:spPr>
          <a:xfrm>
            <a:off x="2687074" y="1208400"/>
            <a:ext cx="7407132" cy="100926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10" name="Picture 9">
            <a:extLst>
              <a:ext uri="{FF2B5EF4-FFF2-40B4-BE49-F238E27FC236}">
                <a16:creationId xmlns:a16="http://schemas.microsoft.com/office/drawing/2014/main" id="{F6E7C5CE-6C4D-4F0F-B68E-8B67D6B7DBBA}"/>
              </a:ext>
            </a:extLst>
          </p:cNvPr>
          <p:cNvPicPr>
            <a:picLocks noChangeAspect="1"/>
          </p:cNvPicPr>
          <p:nvPr/>
        </p:nvPicPr>
        <p:blipFill>
          <a:blip r:embed="rId4"/>
          <a:stretch>
            <a:fillRect/>
          </a:stretch>
        </p:blipFill>
        <p:spPr>
          <a:xfrm>
            <a:off x="2575558" y="3874539"/>
            <a:ext cx="7543624" cy="2392445"/>
          </a:xfrm>
          <a:prstGeom prst="rect">
            <a:avLst/>
          </a:prstGeom>
        </p:spPr>
      </p:pic>
      <p:sp>
        <p:nvSpPr>
          <p:cNvPr id="13" name="Rectangle 12">
            <a:extLst>
              <a:ext uri="{FF2B5EF4-FFF2-40B4-BE49-F238E27FC236}">
                <a16:creationId xmlns:a16="http://schemas.microsoft.com/office/drawing/2014/main" id="{1130A26C-E8DC-4250-B00F-32B217ABD5C0}"/>
              </a:ext>
            </a:extLst>
          </p:cNvPr>
          <p:cNvSpPr/>
          <p:nvPr/>
        </p:nvSpPr>
        <p:spPr>
          <a:xfrm>
            <a:off x="2712050" y="3960952"/>
            <a:ext cx="7407132" cy="100926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Tree>
    <p:extLst>
      <p:ext uri="{BB962C8B-B14F-4D97-AF65-F5344CB8AC3E}">
        <p14:creationId xmlns:p14="http://schemas.microsoft.com/office/powerpoint/2010/main" val="35876755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082E85C-29EF-4086-9E4F-5631C7FB932A}"/>
              </a:ext>
            </a:extLst>
          </p:cNvPr>
          <p:cNvPicPr>
            <a:picLocks noChangeAspect="1"/>
          </p:cNvPicPr>
          <p:nvPr/>
        </p:nvPicPr>
        <p:blipFill>
          <a:blip r:embed="rId3"/>
          <a:stretch>
            <a:fillRect/>
          </a:stretch>
        </p:blipFill>
        <p:spPr>
          <a:xfrm>
            <a:off x="1627562" y="1232190"/>
            <a:ext cx="8860262" cy="2441584"/>
          </a:xfrm>
          <a:prstGeom prst="rect">
            <a:avLst/>
          </a:prstGeom>
        </p:spPr>
      </p:pic>
      <p:sp>
        <p:nvSpPr>
          <p:cNvPr id="6" name="Text Placeholder 2">
            <a:extLst>
              <a:ext uri="{FF2B5EF4-FFF2-40B4-BE49-F238E27FC236}">
                <a16:creationId xmlns:a16="http://schemas.microsoft.com/office/drawing/2014/main" id="{51E935FC-1A66-4EF7-87EE-804D53F50032}"/>
              </a:ext>
            </a:extLst>
          </p:cNvPr>
          <p:cNvSpPr txBox="1">
            <a:spLocks/>
          </p:cNvSpPr>
          <p:nvPr/>
        </p:nvSpPr>
        <p:spPr>
          <a:xfrm>
            <a:off x="259544" y="0"/>
            <a:ext cx="11800376" cy="758577"/>
          </a:xfrm>
          <a:prstGeom prst="rect">
            <a:avLst/>
          </a:prstGeom>
        </p:spPr>
        <p:txBody>
          <a:bodyPr lIns="0" tIns="0" rIns="0" bIns="0" anchor="ctr"/>
          <a:lstStyle>
            <a:lvl1pPr algn="l" rtl="0" fontAlgn="base">
              <a:lnSpc>
                <a:spcPts val="2400"/>
              </a:lnSpc>
              <a:spcBef>
                <a:spcPct val="20000"/>
              </a:spcBef>
              <a:spcAft>
                <a:spcPct val="0"/>
              </a:spcAft>
              <a:buFont typeface="Arial" panose="020B0604020202020204" pitchFamily="34" charset="0"/>
              <a:defRPr sz="2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2200" b="0">
                <a:solidFill>
                  <a:srgbClr val="D31145"/>
                </a:solidFill>
              </a:rPr>
              <a:t>Customers with Medical Annual Limit of </a:t>
            </a:r>
            <a:r>
              <a:rPr lang="en-GB" sz="2200">
                <a:solidFill>
                  <a:srgbClr val="D31145"/>
                </a:solidFill>
              </a:rPr>
              <a:t>RM1m+</a:t>
            </a:r>
            <a:r>
              <a:rPr lang="en-GB" sz="2200" b="0">
                <a:solidFill>
                  <a:srgbClr val="D31145"/>
                </a:solidFill>
              </a:rPr>
              <a:t> are having higher likelihood for </a:t>
            </a:r>
            <a:r>
              <a:rPr lang="en-GB" sz="2200">
                <a:solidFill>
                  <a:srgbClr val="D31145"/>
                </a:solidFill>
              </a:rPr>
              <a:t>both</a:t>
            </a:r>
            <a:r>
              <a:rPr lang="en-GB" sz="2200" b="0">
                <a:solidFill>
                  <a:srgbClr val="D31145"/>
                </a:solidFill>
              </a:rPr>
              <a:t> actions and post repurchase with higher ANP</a:t>
            </a:r>
          </a:p>
        </p:txBody>
      </p:sp>
      <p:sp>
        <p:nvSpPr>
          <p:cNvPr id="3" name="TextBox 2">
            <a:extLst>
              <a:ext uri="{FF2B5EF4-FFF2-40B4-BE49-F238E27FC236}">
                <a16:creationId xmlns:a16="http://schemas.microsoft.com/office/drawing/2014/main" id="{C60D038D-4A31-4844-A1C1-112F4FAB908D}"/>
              </a:ext>
            </a:extLst>
          </p:cNvPr>
          <p:cNvSpPr txBox="1"/>
          <p:nvPr/>
        </p:nvSpPr>
        <p:spPr>
          <a:xfrm>
            <a:off x="325120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Download My AIA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C3C2919-B01B-4076-979D-ECEDF4BE576C}"/>
              </a:ext>
            </a:extLst>
          </p:cNvPr>
          <p:cNvSpPr txBox="1"/>
          <p:nvPr/>
        </p:nvSpPr>
        <p:spPr>
          <a:xfrm>
            <a:off x="639064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Download My AIA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27F2CD6-6F35-47B5-BC66-62DD75A31B81}"/>
              </a:ext>
            </a:extLst>
          </p:cNvPr>
          <p:cNvSpPr txBox="1"/>
          <p:nvPr/>
        </p:nvSpPr>
        <p:spPr>
          <a:xfrm>
            <a:off x="325120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Complete FHC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5106493-0153-4DAA-BEE9-C1620B64FF35}"/>
              </a:ext>
            </a:extLst>
          </p:cNvPr>
          <p:cNvSpPr txBox="1"/>
          <p:nvPr/>
        </p:nvSpPr>
        <p:spPr>
          <a:xfrm>
            <a:off x="639064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4C01E5D9-1509-4F1B-8760-FC30CAB502BF}"/>
              </a:ext>
            </a:extLst>
          </p:cNvPr>
          <p:cNvSpPr/>
          <p:nvPr/>
        </p:nvSpPr>
        <p:spPr>
          <a:xfrm>
            <a:off x="1810883" y="1274277"/>
            <a:ext cx="8562477" cy="89996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2" name="Picture 1">
            <a:extLst>
              <a:ext uri="{FF2B5EF4-FFF2-40B4-BE49-F238E27FC236}">
                <a16:creationId xmlns:a16="http://schemas.microsoft.com/office/drawing/2014/main" id="{1B812FE1-CE76-4529-827C-4A62F02934B1}"/>
              </a:ext>
            </a:extLst>
          </p:cNvPr>
          <p:cNvPicPr>
            <a:picLocks noChangeAspect="1"/>
          </p:cNvPicPr>
          <p:nvPr/>
        </p:nvPicPr>
        <p:blipFill>
          <a:blip r:embed="rId4"/>
          <a:stretch>
            <a:fillRect/>
          </a:stretch>
        </p:blipFill>
        <p:spPr>
          <a:xfrm>
            <a:off x="1595121" y="3960953"/>
            <a:ext cx="9052560" cy="2451764"/>
          </a:xfrm>
          <a:prstGeom prst="rect">
            <a:avLst/>
          </a:prstGeom>
        </p:spPr>
      </p:pic>
      <p:pic>
        <p:nvPicPr>
          <p:cNvPr id="12" name="Picture 11">
            <a:extLst>
              <a:ext uri="{FF2B5EF4-FFF2-40B4-BE49-F238E27FC236}">
                <a16:creationId xmlns:a16="http://schemas.microsoft.com/office/drawing/2014/main" id="{66F10C2B-0C97-47A0-83A4-33C005C3BBBD}"/>
              </a:ext>
            </a:extLst>
          </p:cNvPr>
          <p:cNvPicPr>
            <a:picLocks noChangeAspect="1"/>
          </p:cNvPicPr>
          <p:nvPr/>
        </p:nvPicPr>
        <p:blipFill>
          <a:blip r:embed="rId5"/>
          <a:stretch>
            <a:fillRect/>
          </a:stretch>
        </p:blipFill>
        <p:spPr>
          <a:xfrm>
            <a:off x="1755253" y="4445557"/>
            <a:ext cx="8837770" cy="514350"/>
          </a:xfrm>
          <a:prstGeom prst="rect">
            <a:avLst/>
          </a:prstGeom>
        </p:spPr>
      </p:pic>
      <p:pic>
        <p:nvPicPr>
          <p:cNvPr id="8" name="Picture 7">
            <a:extLst>
              <a:ext uri="{FF2B5EF4-FFF2-40B4-BE49-F238E27FC236}">
                <a16:creationId xmlns:a16="http://schemas.microsoft.com/office/drawing/2014/main" id="{BE944562-59FA-4DFF-8BBC-AC7A88FBA954}"/>
              </a:ext>
            </a:extLst>
          </p:cNvPr>
          <p:cNvPicPr>
            <a:picLocks noChangeAspect="1"/>
          </p:cNvPicPr>
          <p:nvPr/>
        </p:nvPicPr>
        <p:blipFill>
          <a:blip r:embed="rId6"/>
          <a:stretch>
            <a:fillRect/>
          </a:stretch>
        </p:blipFill>
        <p:spPr>
          <a:xfrm>
            <a:off x="1845223" y="5813851"/>
            <a:ext cx="8751655" cy="447675"/>
          </a:xfrm>
          <a:prstGeom prst="rect">
            <a:avLst/>
          </a:prstGeom>
        </p:spPr>
      </p:pic>
      <p:pic>
        <p:nvPicPr>
          <p:cNvPr id="13" name="Picture 12">
            <a:extLst>
              <a:ext uri="{FF2B5EF4-FFF2-40B4-BE49-F238E27FC236}">
                <a16:creationId xmlns:a16="http://schemas.microsoft.com/office/drawing/2014/main" id="{B5C469A4-A69D-4243-8252-0324315B8E4F}"/>
              </a:ext>
            </a:extLst>
          </p:cNvPr>
          <p:cNvPicPr>
            <a:picLocks noChangeAspect="1"/>
          </p:cNvPicPr>
          <p:nvPr/>
        </p:nvPicPr>
        <p:blipFill>
          <a:blip r:embed="rId7"/>
          <a:stretch>
            <a:fillRect/>
          </a:stretch>
        </p:blipFill>
        <p:spPr>
          <a:xfrm>
            <a:off x="1728861" y="5354180"/>
            <a:ext cx="8894061" cy="485775"/>
          </a:xfrm>
          <a:prstGeom prst="rect">
            <a:avLst/>
          </a:prstGeom>
        </p:spPr>
      </p:pic>
      <p:pic>
        <p:nvPicPr>
          <p:cNvPr id="14" name="Picture 13">
            <a:extLst>
              <a:ext uri="{FF2B5EF4-FFF2-40B4-BE49-F238E27FC236}">
                <a16:creationId xmlns:a16="http://schemas.microsoft.com/office/drawing/2014/main" id="{B5F733E9-B134-49E6-902D-608017198EA4}"/>
              </a:ext>
            </a:extLst>
          </p:cNvPr>
          <p:cNvPicPr>
            <a:picLocks noChangeAspect="1"/>
          </p:cNvPicPr>
          <p:nvPr/>
        </p:nvPicPr>
        <p:blipFill>
          <a:blip r:embed="rId8"/>
          <a:stretch>
            <a:fillRect/>
          </a:stretch>
        </p:blipFill>
        <p:spPr>
          <a:xfrm>
            <a:off x="1709774" y="4898321"/>
            <a:ext cx="8837769" cy="457200"/>
          </a:xfrm>
          <a:prstGeom prst="rect">
            <a:avLst/>
          </a:prstGeom>
        </p:spPr>
      </p:pic>
      <p:pic>
        <p:nvPicPr>
          <p:cNvPr id="15" name="Picture 14">
            <a:extLst>
              <a:ext uri="{FF2B5EF4-FFF2-40B4-BE49-F238E27FC236}">
                <a16:creationId xmlns:a16="http://schemas.microsoft.com/office/drawing/2014/main" id="{B0A49DF3-620B-478D-9FAC-66A7A3672AFD}"/>
              </a:ext>
            </a:extLst>
          </p:cNvPr>
          <p:cNvPicPr>
            <a:picLocks noChangeAspect="1"/>
          </p:cNvPicPr>
          <p:nvPr/>
        </p:nvPicPr>
        <p:blipFill>
          <a:blip r:embed="rId9"/>
          <a:stretch>
            <a:fillRect/>
          </a:stretch>
        </p:blipFill>
        <p:spPr>
          <a:xfrm>
            <a:off x="1873057" y="3961511"/>
            <a:ext cx="8614767" cy="523875"/>
          </a:xfrm>
          <a:prstGeom prst="rect">
            <a:avLst/>
          </a:prstGeom>
        </p:spPr>
      </p:pic>
      <p:pic>
        <p:nvPicPr>
          <p:cNvPr id="16" name="Picture 15">
            <a:extLst>
              <a:ext uri="{FF2B5EF4-FFF2-40B4-BE49-F238E27FC236}">
                <a16:creationId xmlns:a16="http://schemas.microsoft.com/office/drawing/2014/main" id="{807F5628-F470-4621-B2D8-A120CF613CB8}"/>
              </a:ext>
            </a:extLst>
          </p:cNvPr>
          <p:cNvPicPr>
            <a:picLocks noChangeAspect="1"/>
          </p:cNvPicPr>
          <p:nvPr/>
        </p:nvPicPr>
        <p:blipFill>
          <a:blip r:embed="rId10"/>
          <a:stretch>
            <a:fillRect/>
          </a:stretch>
        </p:blipFill>
        <p:spPr>
          <a:xfrm>
            <a:off x="1582260" y="4898321"/>
            <a:ext cx="209550" cy="533400"/>
          </a:xfrm>
          <a:prstGeom prst="rect">
            <a:avLst/>
          </a:prstGeom>
        </p:spPr>
      </p:pic>
      <p:sp>
        <p:nvSpPr>
          <p:cNvPr id="11" name="Rectangle 10">
            <a:extLst>
              <a:ext uri="{FF2B5EF4-FFF2-40B4-BE49-F238E27FC236}">
                <a16:creationId xmlns:a16="http://schemas.microsoft.com/office/drawing/2014/main" id="{D6929498-42CF-4B58-8878-41E9D7E4B216}"/>
              </a:ext>
            </a:extLst>
          </p:cNvPr>
          <p:cNvSpPr/>
          <p:nvPr/>
        </p:nvSpPr>
        <p:spPr>
          <a:xfrm>
            <a:off x="1810882" y="3990009"/>
            <a:ext cx="8562477" cy="89996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Tree>
    <p:extLst>
      <p:ext uri="{BB962C8B-B14F-4D97-AF65-F5344CB8AC3E}">
        <p14:creationId xmlns:p14="http://schemas.microsoft.com/office/powerpoint/2010/main" val="160339768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CCDF7D77-71FF-4E00-A590-089F8F0DF031}"/>
              </a:ext>
            </a:extLst>
          </p:cNvPr>
          <p:cNvPicPr>
            <a:picLocks noChangeAspect="1"/>
          </p:cNvPicPr>
          <p:nvPr/>
        </p:nvPicPr>
        <p:blipFill>
          <a:blip r:embed="rId3"/>
          <a:stretch>
            <a:fillRect/>
          </a:stretch>
        </p:blipFill>
        <p:spPr>
          <a:xfrm>
            <a:off x="2682240" y="3822453"/>
            <a:ext cx="7107442" cy="2718125"/>
          </a:xfrm>
          <a:prstGeom prst="rect">
            <a:avLst/>
          </a:prstGeom>
        </p:spPr>
      </p:pic>
      <p:pic>
        <p:nvPicPr>
          <p:cNvPr id="17" name="Picture 16">
            <a:extLst>
              <a:ext uri="{FF2B5EF4-FFF2-40B4-BE49-F238E27FC236}">
                <a16:creationId xmlns:a16="http://schemas.microsoft.com/office/drawing/2014/main" id="{4DB997D5-25F6-4171-B7F3-A8D2999A203F}"/>
              </a:ext>
            </a:extLst>
          </p:cNvPr>
          <p:cNvPicPr>
            <a:picLocks noChangeAspect="1"/>
          </p:cNvPicPr>
          <p:nvPr/>
        </p:nvPicPr>
        <p:blipFill>
          <a:blip r:embed="rId4"/>
          <a:stretch>
            <a:fillRect/>
          </a:stretch>
        </p:blipFill>
        <p:spPr>
          <a:xfrm>
            <a:off x="2586856" y="983487"/>
            <a:ext cx="7607567" cy="2619717"/>
          </a:xfrm>
          <a:prstGeom prst="rect">
            <a:avLst/>
          </a:prstGeom>
        </p:spPr>
      </p:pic>
      <p:sp>
        <p:nvSpPr>
          <p:cNvPr id="6" name="Text Placeholder 2">
            <a:extLst>
              <a:ext uri="{FF2B5EF4-FFF2-40B4-BE49-F238E27FC236}">
                <a16:creationId xmlns:a16="http://schemas.microsoft.com/office/drawing/2014/main" id="{51E935FC-1A66-4EF7-87EE-804D53F50032}"/>
              </a:ext>
            </a:extLst>
          </p:cNvPr>
          <p:cNvSpPr txBox="1">
            <a:spLocks/>
          </p:cNvSpPr>
          <p:nvPr/>
        </p:nvSpPr>
        <p:spPr>
          <a:xfrm>
            <a:off x="259544" y="0"/>
            <a:ext cx="11800376" cy="758577"/>
          </a:xfrm>
          <a:prstGeom prst="rect">
            <a:avLst/>
          </a:prstGeom>
        </p:spPr>
        <p:txBody>
          <a:bodyPr lIns="0" tIns="0" rIns="0" bIns="0" anchor="ctr"/>
          <a:lstStyle>
            <a:lvl1pPr algn="l" rtl="0" fontAlgn="base">
              <a:lnSpc>
                <a:spcPts val="2400"/>
              </a:lnSpc>
              <a:spcBef>
                <a:spcPct val="20000"/>
              </a:spcBef>
              <a:spcAft>
                <a:spcPct val="0"/>
              </a:spcAft>
              <a:buFont typeface="Arial" panose="020B0604020202020204" pitchFamily="34" charset="0"/>
              <a:defRPr sz="2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2200" b="0">
                <a:solidFill>
                  <a:srgbClr val="D31145"/>
                </a:solidFill>
              </a:rPr>
              <a:t>Customers with Medical Annual Limit of </a:t>
            </a:r>
            <a:r>
              <a:rPr lang="en-GB" sz="2200">
                <a:solidFill>
                  <a:srgbClr val="D31145"/>
                </a:solidFill>
              </a:rPr>
              <a:t>RM1m+</a:t>
            </a:r>
            <a:r>
              <a:rPr lang="en-GB" sz="2200" b="0">
                <a:solidFill>
                  <a:srgbClr val="D31145"/>
                </a:solidFill>
              </a:rPr>
              <a:t> are having higher likelihood for </a:t>
            </a:r>
            <a:r>
              <a:rPr lang="en-GB" sz="2200">
                <a:solidFill>
                  <a:srgbClr val="D31145"/>
                </a:solidFill>
              </a:rPr>
              <a:t>both</a:t>
            </a:r>
            <a:r>
              <a:rPr lang="en-GB" sz="2200" b="0">
                <a:solidFill>
                  <a:srgbClr val="D31145"/>
                </a:solidFill>
              </a:rPr>
              <a:t> actions and post repurchase with higher ANP</a:t>
            </a:r>
          </a:p>
        </p:txBody>
      </p:sp>
      <p:sp>
        <p:nvSpPr>
          <p:cNvPr id="3" name="TextBox 2">
            <a:extLst>
              <a:ext uri="{FF2B5EF4-FFF2-40B4-BE49-F238E27FC236}">
                <a16:creationId xmlns:a16="http://schemas.microsoft.com/office/drawing/2014/main" id="{C60D038D-4A31-4844-A1C1-112F4FAB908D}"/>
              </a:ext>
            </a:extLst>
          </p:cNvPr>
          <p:cNvSpPr txBox="1"/>
          <p:nvPr/>
        </p:nvSpPr>
        <p:spPr>
          <a:xfrm>
            <a:off x="325120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Download My AIA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C3C2919-B01B-4076-979D-ECEDF4BE576C}"/>
              </a:ext>
            </a:extLst>
          </p:cNvPr>
          <p:cNvSpPr txBox="1"/>
          <p:nvPr/>
        </p:nvSpPr>
        <p:spPr>
          <a:xfrm>
            <a:off x="639064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Download My AIA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27F2CD6-6F35-47B5-BC66-62DD75A31B81}"/>
              </a:ext>
            </a:extLst>
          </p:cNvPr>
          <p:cNvSpPr txBox="1"/>
          <p:nvPr/>
        </p:nvSpPr>
        <p:spPr>
          <a:xfrm>
            <a:off x="325120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Complete FHC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5106493-0153-4DAA-BEE9-C1620B64FF35}"/>
              </a:ext>
            </a:extLst>
          </p:cNvPr>
          <p:cNvSpPr txBox="1"/>
          <p:nvPr/>
        </p:nvSpPr>
        <p:spPr>
          <a:xfrm>
            <a:off x="639064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4C01E5D9-1509-4F1B-8760-FC30CAB502BF}"/>
              </a:ext>
            </a:extLst>
          </p:cNvPr>
          <p:cNvSpPr/>
          <p:nvPr/>
        </p:nvSpPr>
        <p:spPr>
          <a:xfrm>
            <a:off x="1997577" y="1090938"/>
            <a:ext cx="8562477" cy="93419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16" name="Picture 15">
            <a:extLst>
              <a:ext uri="{FF2B5EF4-FFF2-40B4-BE49-F238E27FC236}">
                <a16:creationId xmlns:a16="http://schemas.microsoft.com/office/drawing/2014/main" id="{807F5628-F470-4621-B2D8-A120CF613CB8}"/>
              </a:ext>
            </a:extLst>
          </p:cNvPr>
          <p:cNvPicPr>
            <a:picLocks noChangeAspect="1"/>
          </p:cNvPicPr>
          <p:nvPr/>
        </p:nvPicPr>
        <p:blipFill>
          <a:blip r:embed="rId5"/>
          <a:stretch>
            <a:fillRect/>
          </a:stretch>
        </p:blipFill>
        <p:spPr>
          <a:xfrm>
            <a:off x="1582260" y="4898321"/>
            <a:ext cx="209550" cy="533400"/>
          </a:xfrm>
          <a:prstGeom prst="rect">
            <a:avLst/>
          </a:prstGeom>
        </p:spPr>
      </p:pic>
      <p:sp>
        <p:nvSpPr>
          <p:cNvPr id="11" name="Rectangle 10">
            <a:extLst>
              <a:ext uri="{FF2B5EF4-FFF2-40B4-BE49-F238E27FC236}">
                <a16:creationId xmlns:a16="http://schemas.microsoft.com/office/drawing/2014/main" id="{D6929498-42CF-4B58-8878-41E9D7E4B216}"/>
              </a:ext>
            </a:extLst>
          </p:cNvPr>
          <p:cNvSpPr/>
          <p:nvPr/>
        </p:nvSpPr>
        <p:spPr>
          <a:xfrm>
            <a:off x="1997577" y="3932910"/>
            <a:ext cx="8562477" cy="89996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Tree>
    <p:extLst>
      <p:ext uri="{BB962C8B-B14F-4D97-AF65-F5344CB8AC3E}">
        <p14:creationId xmlns:p14="http://schemas.microsoft.com/office/powerpoint/2010/main" val="16148436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10FA201-FF95-4EA2-8E39-4440938EB8B6}"/>
              </a:ext>
            </a:extLst>
          </p:cNvPr>
          <p:cNvPicPr>
            <a:picLocks noChangeAspect="1"/>
          </p:cNvPicPr>
          <p:nvPr/>
        </p:nvPicPr>
        <p:blipFill>
          <a:blip r:embed="rId3"/>
          <a:stretch>
            <a:fillRect/>
          </a:stretch>
        </p:blipFill>
        <p:spPr>
          <a:xfrm>
            <a:off x="3469322" y="1158042"/>
            <a:ext cx="5842633" cy="2431566"/>
          </a:xfrm>
          <a:prstGeom prst="rect">
            <a:avLst/>
          </a:prstGeom>
        </p:spPr>
      </p:pic>
      <p:sp>
        <p:nvSpPr>
          <p:cNvPr id="6" name="Text Placeholder 2">
            <a:extLst>
              <a:ext uri="{FF2B5EF4-FFF2-40B4-BE49-F238E27FC236}">
                <a16:creationId xmlns:a16="http://schemas.microsoft.com/office/drawing/2014/main" id="{51E935FC-1A66-4EF7-87EE-804D53F50032}"/>
              </a:ext>
            </a:extLst>
          </p:cNvPr>
          <p:cNvSpPr txBox="1">
            <a:spLocks/>
          </p:cNvSpPr>
          <p:nvPr/>
        </p:nvSpPr>
        <p:spPr>
          <a:xfrm>
            <a:off x="259544" y="0"/>
            <a:ext cx="10653625" cy="758577"/>
          </a:xfrm>
          <a:prstGeom prst="rect">
            <a:avLst/>
          </a:prstGeom>
        </p:spPr>
        <p:txBody>
          <a:bodyPr lIns="0" tIns="0" rIns="0" bIns="0" anchor="ctr"/>
          <a:lstStyle>
            <a:lvl1pPr algn="l" rtl="0" fontAlgn="base">
              <a:lnSpc>
                <a:spcPts val="2400"/>
              </a:lnSpc>
              <a:spcBef>
                <a:spcPct val="20000"/>
              </a:spcBef>
              <a:spcAft>
                <a:spcPct val="0"/>
              </a:spcAft>
              <a:buFont typeface="Arial" panose="020B0604020202020204" pitchFamily="34" charset="0"/>
              <a:defRPr sz="2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2200" b="0">
                <a:solidFill>
                  <a:srgbClr val="D31145"/>
                </a:solidFill>
              </a:rPr>
              <a:t>Those with Endowment plans are with lower likelihood for both actions, but with higher conversion rate after respective actions</a:t>
            </a:r>
          </a:p>
        </p:txBody>
      </p:sp>
      <p:sp>
        <p:nvSpPr>
          <p:cNvPr id="3" name="TextBox 2">
            <a:extLst>
              <a:ext uri="{FF2B5EF4-FFF2-40B4-BE49-F238E27FC236}">
                <a16:creationId xmlns:a16="http://schemas.microsoft.com/office/drawing/2014/main" id="{C60D038D-4A31-4844-A1C1-112F4FAB908D}"/>
              </a:ext>
            </a:extLst>
          </p:cNvPr>
          <p:cNvSpPr txBox="1"/>
          <p:nvPr/>
        </p:nvSpPr>
        <p:spPr>
          <a:xfrm>
            <a:off x="325120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Download My AIA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C3C2919-B01B-4076-979D-ECEDF4BE576C}"/>
              </a:ext>
            </a:extLst>
          </p:cNvPr>
          <p:cNvSpPr txBox="1"/>
          <p:nvPr/>
        </p:nvSpPr>
        <p:spPr>
          <a:xfrm>
            <a:off x="639064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Download My AIA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27F2CD6-6F35-47B5-BC66-62DD75A31B81}"/>
              </a:ext>
            </a:extLst>
          </p:cNvPr>
          <p:cNvSpPr txBox="1"/>
          <p:nvPr/>
        </p:nvSpPr>
        <p:spPr>
          <a:xfrm>
            <a:off x="325120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Complete FHC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5106493-0153-4DAA-BEE9-C1620B64FF35}"/>
              </a:ext>
            </a:extLst>
          </p:cNvPr>
          <p:cNvSpPr txBox="1"/>
          <p:nvPr/>
        </p:nvSpPr>
        <p:spPr>
          <a:xfrm>
            <a:off x="639064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8A162027-8DC9-4EC8-A96E-E7754BD6895B}"/>
              </a:ext>
            </a:extLst>
          </p:cNvPr>
          <p:cNvPicPr>
            <a:picLocks noChangeAspect="1"/>
          </p:cNvPicPr>
          <p:nvPr/>
        </p:nvPicPr>
        <p:blipFill>
          <a:blip r:embed="rId4"/>
          <a:stretch>
            <a:fillRect/>
          </a:stretch>
        </p:blipFill>
        <p:spPr>
          <a:xfrm>
            <a:off x="3395981" y="3989073"/>
            <a:ext cx="5926942" cy="2431566"/>
          </a:xfrm>
          <a:prstGeom prst="rect">
            <a:avLst/>
          </a:prstGeom>
        </p:spPr>
      </p:pic>
    </p:spTree>
    <p:extLst>
      <p:ext uri="{BB962C8B-B14F-4D97-AF65-F5344CB8AC3E}">
        <p14:creationId xmlns:p14="http://schemas.microsoft.com/office/powerpoint/2010/main" val="22202683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89CD598-256A-4E79-A23F-0C8D0FB20E0E}"/>
              </a:ext>
            </a:extLst>
          </p:cNvPr>
          <p:cNvPicPr>
            <a:picLocks noChangeAspect="1"/>
          </p:cNvPicPr>
          <p:nvPr/>
        </p:nvPicPr>
        <p:blipFill>
          <a:blip r:embed="rId2"/>
          <a:stretch>
            <a:fillRect/>
          </a:stretch>
        </p:blipFill>
        <p:spPr>
          <a:xfrm>
            <a:off x="1414103" y="204958"/>
            <a:ext cx="3450128" cy="2341734"/>
          </a:xfrm>
          <a:prstGeom prst="rect">
            <a:avLst/>
          </a:prstGeom>
          <a:effectLst>
            <a:outerShdw blurRad="50800" dist="38100" dir="2700000" algn="tl" rotWithShape="0">
              <a:prstClr val="black">
                <a:alpha val="40000"/>
              </a:prstClr>
            </a:outerShdw>
          </a:effectLst>
        </p:spPr>
      </p:pic>
      <p:pic>
        <p:nvPicPr>
          <p:cNvPr id="3" name="Picture 2">
            <a:extLst>
              <a:ext uri="{FF2B5EF4-FFF2-40B4-BE49-F238E27FC236}">
                <a16:creationId xmlns:a16="http://schemas.microsoft.com/office/drawing/2014/main" id="{F4A596CA-A1DF-4A57-9B0B-1AF63994EF7C}"/>
              </a:ext>
            </a:extLst>
          </p:cNvPr>
          <p:cNvPicPr>
            <a:picLocks noChangeAspect="1"/>
          </p:cNvPicPr>
          <p:nvPr/>
        </p:nvPicPr>
        <p:blipFill>
          <a:blip r:embed="rId3"/>
          <a:stretch>
            <a:fillRect/>
          </a:stretch>
        </p:blipFill>
        <p:spPr>
          <a:xfrm>
            <a:off x="6688682" y="204958"/>
            <a:ext cx="3594765" cy="2341733"/>
          </a:xfrm>
          <a:prstGeom prst="rect">
            <a:avLst/>
          </a:prstGeom>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2AD72B5C-D105-40B0-94CE-0A9B831C81D4}"/>
              </a:ext>
            </a:extLst>
          </p:cNvPr>
          <p:cNvPicPr>
            <a:picLocks noChangeAspect="1"/>
          </p:cNvPicPr>
          <p:nvPr/>
        </p:nvPicPr>
        <p:blipFill>
          <a:blip r:embed="rId4"/>
          <a:stretch>
            <a:fillRect/>
          </a:stretch>
        </p:blipFill>
        <p:spPr>
          <a:xfrm>
            <a:off x="6774300" y="3291270"/>
            <a:ext cx="3509147" cy="2403807"/>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CF8761C3-BEDF-4634-8892-EEA497586B68}"/>
              </a:ext>
            </a:extLst>
          </p:cNvPr>
          <p:cNvSpPr txBox="1"/>
          <p:nvPr/>
        </p:nvSpPr>
        <p:spPr>
          <a:xfrm>
            <a:off x="8127456" y="5722519"/>
            <a:ext cx="593889" cy="261610"/>
          </a:xfrm>
          <a:prstGeom prst="rect">
            <a:avLst/>
          </a:prstGeom>
          <a:noFill/>
        </p:spPr>
        <p:txBody>
          <a:bodyPr wrap="square" rtlCol="0">
            <a:spAutoFit/>
          </a:bodyPr>
          <a:lstStyle/>
          <a:p>
            <a:r>
              <a:rPr lang="en-US" sz="1100">
                <a:latin typeface="Arial" panose="020B0604020202020204" pitchFamily="34" charset="0"/>
                <a:cs typeface="Arial" panose="020B0604020202020204" pitchFamily="34" charset="0"/>
              </a:rPr>
              <a:t>1 vote</a:t>
            </a:r>
          </a:p>
        </p:txBody>
      </p:sp>
      <p:sp>
        <p:nvSpPr>
          <p:cNvPr id="6" name="TextBox 5">
            <a:extLst>
              <a:ext uri="{FF2B5EF4-FFF2-40B4-BE49-F238E27FC236}">
                <a16:creationId xmlns:a16="http://schemas.microsoft.com/office/drawing/2014/main" id="{469CB2A8-E13F-450D-9B3F-92EECEF453F5}"/>
              </a:ext>
            </a:extLst>
          </p:cNvPr>
          <p:cNvSpPr txBox="1"/>
          <p:nvPr/>
        </p:nvSpPr>
        <p:spPr>
          <a:xfrm>
            <a:off x="9514767" y="5722519"/>
            <a:ext cx="593889" cy="261610"/>
          </a:xfrm>
          <a:prstGeom prst="rect">
            <a:avLst/>
          </a:prstGeom>
          <a:noFill/>
        </p:spPr>
        <p:txBody>
          <a:bodyPr wrap="square" rtlCol="0">
            <a:spAutoFit/>
          </a:bodyPr>
          <a:lstStyle/>
          <a:p>
            <a:r>
              <a:rPr lang="en-US" sz="1100">
                <a:latin typeface="Arial" panose="020B0604020202020204" pitchFamily="34" charset="0"/>
                <a:cs typeface="Arial" panose="020B0604020202020204" pitchFamily="34" charset="0"/>
              </a:rPr>
              <a:t>1 vote</a:t>
            </a:r>
          </a:p>
        </p:txBody>
      </p:sp>
      <p:sp>
        <p:nvSpPr>
          <p:cNvPr id="7" name="TextBox 6">
            <a:extLst>
              <a:ext uri="{FF2B5EF4-FFF2-40B4-BE49-F238E27FC236}">
                <a16:creationId xmlns:a16="http://schemas.microsoft.com/office/drawing/2014/main" id="{EE49D6E9-6A36-4D4B-9446-F7DC5799B285}"/>
              </a:ext>
            </a:extLst>
          </p:cNvPr>
          <p:cNvSpPr txBox="1"/>
          <p:nvPr/>
        </p:nvSpPr>
        <p:spPr>
          <a:xfrm>
            <a:off x="8872174" y="5722519"/>
            <a:ext cx="675608" cy="261610"/>
          </a:xfrm>
          <a:prstGeom prst="rect">
            <a:avLst/>
          </a:prstGeom>
          <a:noFill/>
        </p:spPr>
        <p:txBody>
          <a:bodyPr wrap="square" rtlCol="0">
            <a:spAutoFit/>
          </a:bodyPr>
          <a:lstStyle/>
          <a:p>
            <a:r>
              <a:rPr lang="en-US" sz="1100">
                <a:latin typeface="Arial" panose="020B0604020202020204" pitchFamily="34" charset="0"/>
                <a:cs typeface="Arial" panose="020B0604020202020204" pitchFamily="34" charset="0"/>
              </a:rPr>
              <a:t>2 votes</a:t>
            </a:r>
          </a:p>
        </p:txBody>
      </p:sp>
      <p:pic>
        <p:nvPicPr>
          <p:cNvPr id="8" name="Picture 7">
            <a:extLst>
              <a:ext uri="{FF2B5EF4-FFF2-40B4-BE49-F238E27FC236}">
                <a16:creationId xmlns:a16="http://schemas.microsoft.com/office/drawing/2014/main" id="{DE4EF995-073B-42C5-BC84-D1D800C247E5}"/>
              </a:ext>
            </a:extLst>
          </p:cNvPr>
          <p:cNvPicPr>
            <a:picLocks noChangeAspect="1"/>
          </p:cNvPicPr>
          <p:nvPr/>
        </p:nvPicPr>
        <p:blipFill>
          <a:blip r:embed="rId4"/>
          <a:stretch>
            <a:fillRect/>
          </a:stretch>
        </p:blipFill>
        <p:spPr>
          <a:xfrm>
            <a:off x="1355084" y="3389456"/>
            <a:ext cx="3509147" cy="2403807"/>
          </a:xfrm>
          <a:prstGeom prst="rect">
            <a:avLst/>
          </a:prstGeom>
          <a:effectLst>
            <a:outerShdw blurRad="50800" dist="38100" dir="2700000" algn="tl" rotWithShape="0">
              <a:prstClr val="black">
                <a:alpha val="40000"/>
              </a:prstClr>
            </a:outerShdw>
          </a:effectLst>
        </p:spPr>
      </p:pic>
      <p:sp>
        <p:nvSpPr>
          <p:cNvPr id="9" name="Rectangle 8">
            <a:extLst>
              <a:ext uri="{FF2B5EF4-FFF2-40B4-BE49-F238E27FC236}">
                <a16:creationId xmlns:a16="http://schemas.microsoft.com/office/drawing/2014/main" id="{1A2433DB-086C-4CF0-93CB-390A85461259}"/>
              </a:ext>
            </a:extLst>
          </p:cNvPr>
          <p:cNvSpPr/>
          <p:nvPr/>
        </p:nvSpPr>
        <p:spPr>
          <a:xfrm>
            <a:off x="3374797" y="3558154"/>
            <a:ext cx="829558" cy="1317863"/>
          </a:xfrm>
          <a:prstGeom prst="rect">
            <a:avLst/>
          </a:prstGeom>
          <a:noFill/>
          <a:ln w="571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931B87F4-AFA6-4F3A-9398-7B47BA7F734F}"/>
              </a:ext>
            </a:extLst>
          </p:cNvPr>
          <p:cNvSpPr txBox="1"/>
          <p:nvPr/>
        </p:nvSpPr>
        <p:spPr>
          <a:xfrm>
            <a:off x="6342324" y="2546691"/>
            <a:ext cx="4435573" cy="307777"/>
          </a:xfrm>
          <a:prstGeom prst="rect">
            <a:avLst/>
          </a:prstGeom>
          <a:noFill/>
        </p:spPr>
        <p:txBody>
          <a:bodyPr wrap="none" rtlCol="0">
            <a:spAutoFit/>
          </a:bodyPr>
          <a:lstStyle/>
          <a:p>
            <a:r>
              <a:rPr lang="en-US" sz="1400">
                <a:latin typeface="Arial" panose="020B0604020202020204" pitchFamily="34" charset="0"/>
                <a:cs typeface="Arial" panose="020B0604020202020204" pitchFamily="34" charset="0"/>
              </a:rPr>
              <a:t>Strike out Andi and Sam as they don’t like ‘Inside Out’</a:t>
            </a:r>
          </a:p>
        </p:txBody>
      </p:sp>
      <p:sp>
        <p:nvSpPr>
          <p:cNvPr id="11" name="TextBox 10">
            <a:extLst>
              <a:ext uri="{FF2B5EF4-FFF2-40B4-BE49-F238E27FC236}">
                <a16:creationId xmlns:a16="http://schemas.microsoft.com/office/drawing/2014/main" id="{EA0F63FA-78F4-4952-AC4C-67B9872FEBFE}"/>
              </a:ext>
            </a:extLst>
          </p:cNvPr>
          <p:cNvSpPr txBox="1"/>
          <p:nvPr/>
        </p:nvSpPr>
        <p:spPr>
          <a:xfrm>
            <a:off x="651678" y="5882554"/>
            <a:ext cx="5152913" cy="738664"/>
          </a:xfrm>
          <a:prstGeom prst="rect">
            <a:avLst/>
          </a:prstGeom>
          <a:solidFill>
            <a:schemeClr val="bg1"/>
          </a:solidFill>
        </p:spPr>
        <p:txBody>
          <a:bodyPr wrap="square" rtlCol="0">
            <a:spAutoFit/>
          </a:bodyPr>
          <a:lstStyle/>
          <a:p>
            <a:pPr algn="ctr"/>
            <a:r>
              <a:rPr lang="en-US" sz="1400" dirty="0">
                <a:latin typeface="Arial" panose="020B0604020202020204" pitchFamily="34" charset="0"/>
                <a:cs typeface="Arial" panose="020B0604020202020204" pitchFamily="34" charset="0"/>
              </a:rPr>
              <a:t>Recommend Avengers for me as </a:t>
            </a:r>
          </a:p>
          <a:p>
            <a:pPr algn="ctr"/>
            <a:r>
              <a:rPr lang="en-US" sz="1400" dirty="0">
                <a:latin typeface="Arial" panose="020B0604020202020204" pitchFamily="34" charset="0"/>
                <a:cs typeface="Arial" panose="020B0604020202020204" pitchFamily="34" charset="0"/>
              </a:rPr>
              <a:t>Jason &amp; Sarah are in same cluster with me </a:t>
            </a:r>
          </a:p>
          <a:p>
            <a:pPr algn="ctr"/>
            <a:r>
              <a:rPr lang="en-US" sz="1400" dirty="0">
                <a:latin typeface="Arial" panose="020B0604020202020204" pitchFamily="34" charset="0"/>
                <a:cs typeface="Arial" panose="020B0604020202020204" pitchFamily="34" charset="0"/>
              </a:rPr>
              <a:t>and both like ‘Inside Out’ and Avengers</a:t>
            </a:r>
          </a:p>
        </p:txBody>
      </p:sp>
      <p:sp>
        <p:nvSpPr>
          <p:cNvPr id="12" name="Arrow: Right 11">
            <a:extLst>
              <a:ext uri="{FF2B5EF4-FFF2-40B4-BE49-F238E27FC236}">
                <a16:creationId xmlns:a16="http://schemas.microsoft.com/office/drawing/2014/main" id="{0AD9F7DC-4443-47AB-A734-533DE1313306}"/>
              </a:ext>
            </a:extLst>
          </p:cNvPr>
          <p:cNvSpPr/>
          <p:nvPr/>
        </p:nvSpPr>
        <p:spPr>
          <a:xfrm>
            <a:off x="5414950" y="1151734"/>
            <a:ext cx="779282" cy="26395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Right 12">
            <a:extLst>
              <a:ext uri="{FF2B5EF4-FFF2-40B4-BE49-F238E27FC236}">
                <a16:creationId xmlns:a16="http://schemas.microsoft.com/office/drawing/2014/main" id="{CC71A8D6-E7C5-4160-9D2C-0F26F1D7B182}"/>
              </a:ext>
            </a:extLst>
          </p:cNvPr>
          <p:cNvSpPr/>
          <p:nvPr/>
        </p:nvSpPr>
        <p:spPr>
          <a:xfrm rot="5400000">
            <a:off x="8507979" y="2927075"/>
            <a:ext cx="464439" cy="26395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201E930F-FA9D-40F6-AE5B-FA9194D9F165}"/>
              </a:ext>
            </a:extLst>
          </p:cNvPr>
          <p:cNvSpPr txBox="1"/>
          <p:nvPr/>
        </p:nvSpPr>
        <p:spPr>
          <a:xfrm>
            <a:off x="7261810" y="5977990"/>
            <a:ext cx="2919069" cy="307777"/>
          </a:xfrm>
          <a:prstGeom prst="rect">
            <a:avLst/>
          </a:prstGeom>
          <a:noFill/>
        </p:spPr>
        <p:txBody>
          <a:bodyPr wrap="none" rtlCol="0">
            <a:spAutoFit/>
          </a:bodyPr>
          <a:lstStyle/>
          <a:p>
            <a:r>
              <a:rPr lang="en-US" sz="1400" dirty="0">
                <a:latin typeface="Arial" panose="020B0604020202020204" pitchFamily="34" charset="0"/>
                <a:cs typeface="Arial" panose="020B0604020202020204" pitchFamily="34" charset="0"/>
              </a:rPr>
              <a:t>Jason &amp; Sarah both like Avengers</a:t>
            </a:r>
          </a:p>
        </p:txBody>
      </p:sp>
      <p:sp>
        <p:nvSpPr>
          <p:cNvPr id="15" name="TextBox 14">
            <a:extLst>
              <a:ext uri="{FF2B5EF4-FFF2-40B4-BE49-F238E27FC236}">
                <a16:creationId xmlns:a16="http://schemas.microsoft.com/office/drawing/2014/main" id="{33E5A59F-D4CF-4FEF-9831-7E8DED66C32A}"/>
              </a:ext>
            </a:extLst>
          </p:cNvPr>
          <p:cNvSpPr txBox="1"/>
          <p:nvPr/>
        </p:nvSpPr>
        <p:spPr>
          <a:xfrm>
            <a:off x="1043952" y="2578089"/>
            <a:ext cx="4559326" cy="523220"/>
          </a:xfrm>
          <a:prstGeom prst="rect">
            <a:avLst/>
          </a:prstGeom>
          <a:noFill/>
        </p:spPr>
        <p:txBody>
          <a:bodyPr wrap="none" rtlCol="0">
            <a:spAutoFit/>
          </a:bodyPr>
          <a:lstStyle/>
          <a:p>
            <a:pPr marL="182563" indent="-182563" algn="ctr">
              <a:buFont typeface="Arial" panose="020B0604020202020204" pitchFamily="34" charset="0"/>
              <a:buChar char="•"/>
            </a:pPr>
            <a:r>
              <a:rPr lang="en-US" sz="1400" dirty="0">
                <a:latin typeface="Arial" panose="020B0604020202020204" pitchFamily="34" charset="0"/>
                <a:cs typeface="Arial" panose="020B0604020202020204" pitchFamily="34" charset="0"/>
              </a:rPr>
              <a:t>I like the ‘Inside Out’ movie</a:t>
            </a:r>
          </a:p>
          <a:p>
            <a:pPr marL="182563" indent="-182563" algn="ctr">
              <a:buFont typeface="Arial" panose="020B0604020202020204" pitchFamily="34" charset="0"/>
              <a:buChar char="•"/>
            </a:pPr>
            <a:r>
              <a:rPr lang="en-US" sz="1400" dirty="0">
                <a:latin typeface="Arial" panose="020B0604020202020204" pitchFamily="34" charset="0"/>
                <a:cs typeface="Arial" panose="020B0604020202020204" pitchFamily="34" charset="0"/>
              </a:rPr>
              <a:t>Jason, Sarah, Andi &amp; Sam are in same cluster as me</a:t>
            </a:r>
          </a:p>
        </p:txBody>
      </p:sp>
      <p:sp>
        <p:nvSpPr>
          <p:cNvPr id="16" name="Arrow: Right 15">
            <a:extLst>
              <a:ext uri="{FF2B5EF4-FFF2-40B4-BE49-F238E27FC236}">
                <a16:creationId xmlns:a16="http://schemas.microsoft.com/office/drawing/2014/main" id="{B44DE085-997C-4B5E-8443-9C43DBBF702D}"/>
              </a:ext>
            </a:extLst>
          </p:cNvPr>
          <p:cNvSpPr/>
          <p:nvPr/>
        </p:nvSpPr>
        <p:spPr>
          <a:xfrm rot="10800000">
            <a:off x="5426482" y="4480980"/>
            <a:ext cx="779282" cy="26395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508951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51E935FC-1A66-4EF7-87EE-804D53F50032}"/>
              </a:ext>
            </a:extLst>
          </p:cNvPr>
          <p:cNvSpPr txBox="1">
            <a:spLocks/>
          </p:cNvSpPr>
          <p:nvPr/>
        </p:nvSpPr>
        <p:spPr>
          <a:xfrm>
            <a:off x="259544" y="0"/>
            <a:ext cx="10653625" cy="758577"/>
          </a:xfrm>
          <a:prstGeom prst="rect">
            <a:avLst/>
          </a:prstGeom>
        </p:spPr>
        <p:txBody>
          <a:bodyPr lIns="0" tIns="0" rIns="0" bIns="0" anchor="ctr"/>
          <a:lstStyle>
            <a:lvl1pPr algn="l" rtl="0" fontAlgn="base">
              <a:lnSpc>
                <a:spcPts val="2400"/>
              </a:lnSpc>
              <a:spcBef>
                <a:spcPct val="20000"/>
              </a:spcBef>
              <a:spcAft>
                <a:spcPct val="0"/>
              </a:spcAft>
              <a:buFont typeface="Arial" panose="020B0604020202020204" pitchFamily="34" charset="0"/>
              <a:defRPr sz="2400" b="1"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1600" kern="1200">
                <a:solidFill>
                  <a:srgbClr val="595959"/>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sz="1400" kern="1200">
                <a:solidFill>
                  <a:srgbClr val="59595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2200" b="0">
                <a:solidFill>
                  <a:srgbClr val="D31145"/>
                </a:solidFill>
              </a:rPr>
              <a:t>Those with Endowment plans are with lower likelihood for both actions, but with higher conversion rate after respective actions</a:t>
            </a:r>
          </a:p>
        </p:txBody>
      </p:sp>
      <p:sp>
        <p:nvSpPr>
          <p:cNvPr id="3" name="TextBox 2">
            <a:extLst>
              <a:ext uri="{FF2B5EF4-FFF2-40B4-BE49-F238E27FC236}">
                <a16:creationId xmlns:a16="http://schemas.microsoft.com/office/drawing/2014/main" id="{C60D038D-4A31-4844-A1C1-112F4FAB908D}"/>
              </a:ext>
            </a:extLst>
          </p:cNvPr>
          <p:cNvSpPr txBox="1"/>
          <p:nvPr/>
        </p:nvSpPr>
        <p:spPr>
          <a:xfrm>
            <a:off x="325120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Download My AIA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C3C2919-B01B-4076-979D-ECEDF4BE576C}"/>
              </a:ext>
            </a:extLst>
          </p:cNvPr>
          <p:cNvSpPr txBox="1"/>
          <p:nvPr/>
        </p:nvSpPr>
        <p:spPr>
          <a:xfrm>
            <a:off x="6390640" y="844989"/>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Download My AIA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27F2CD6-6F35-47B5-BC66-62DD75A31B81}"/>
              </a:ext>
            </a:extLst>
          </p:cNvPr>
          <p:cNvSpPr txBox="1"/>
          <p:nvPr/>
        </p:nvSpPr>
        <p:spPr>
          <a:xfrm>
            <a:off x="325120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Complete FHC </a:t>
            </a:r>
            <a:r>
              <a:rPr lang="en-GB" sz="1000" b="1" i="1">
                <a:latin typeface="Arial" panose="020B0604020202020204" pitchFamily="34" charset="0"/>
                <a:cs typeface="Arial" panose="020B0604020202020204" pitchFamily="34" charset="0"/>
              </a:rPr>
              <a:t>(Repurchase Rate)</a:t>
            </a:r>
            <a:endParaRPr lang="en-HK" sz="1000" b="1" i="1" err="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5106493-0153-4DAA-BEE9-C1620B64FF35}"/>
              </a:ext>
            </a:extLst>
          </p:cNvPr>
          <p:cNvSpPr txBox="1"/>
          <p:nvPr/>
        </p:nvSpPr>
        <p:spPr>
          <a:xfrm>
            <a:off x="6390640" y="3683954"/>
            <a:ext cx="3119120"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 Not Complete FHC </a:t>
            </a:r>
            <a:r>
              <a:rPr lang="en-GB" sz="1000" b="1" i="1">
                <a:latin typeface="Arial" panose="020B0604020202020204" pitchFamily="34" charset="0"/>
                <a:cs typeface="Arial" panose="020B0604020202020204" pitchFamily="34" charset="0"/>
              </a:rPr>
              <a:t>(# Customers)</a:t>
            </a:r>
            <a:endParaRPr lang="en-HK" sz="1000" b="1" i="1" err="1">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89167D57-E89E-4A19-9374-128FCE832BAD}"/>
              </a:ext>
            </a:extLst>
          </p:cNvPr>
          <p:cNvPicPr>
            <a:picLocks noChangeAspect="1"/>
          </p:cNvPicPr>
          <p:nvPr/>
        </p:nvPicPr>
        <p:blipFill>
          <a:blip r:embed="rId3"/>
          <a:stretch>
            <a:fillRect/>
          </a:stretch>
        </p:blipFill>
        <p:spPr>
          <a:xfrm>
            <a:off x="3251200" y="1092762"/>
            <a:ext cx="6093561" cy="2620418"/>
          </a:xfrm>
          <a:prstGeom prst="rect">
            <a:avLst/>
          </a:prstGeom>
        </p:spPr>
      </p:pic>
      <p:pic>
        <p:nvPicPr>
          <p:cNvPr id="9" name="Picture 8">
            <a:extLst>
              <a:ext uri="{FF2B5EF4-FFF2-40B4-BE49-F238E27FC236}">
                <a16:creationId xmlns:a16="http://schemas.microsoft.com/office/drawing/2014/main" id="{9D242DDD-6CDE-4F82-B0B9-1E6204599F66}"/>
              </a:ext>
            </a:extLst>
          </p:cNvPr>
          <p:cNvPicPr>
            <a:picLocks noChangeAspect="1"/>
          </p:cNvPicPr>
          <p:nvPr/>
        </p:nvPicPr>
        <p:blipFill>
          <a:blip r:embed="rId4"/>
          <a:stretch>
            <a:fillRect/>
          </a:stretch>
        </p:blipFill>
        <p:spPr>
          <a:xfrm>
            <a:off x="3261875" y="3960953"/>
            <a:ext cx="6083149" cy="2561965"/>
          </a:xfrm>
          <a:prstGeom prst="rect">
            <a:avLst/>
          </a:prstGeom>
        </p:spPr>
      </p:pic>
    </p:spTree>
    <p:extLst>
      <p:ext uri="{BB962C8B-B14F-4D97-AF65-F5344CB8AC3E}">
        <p14:creationId xmlns:p14="http://schemas.microsoft.com/office/powerpoint/2010/main" val="12618878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0771559-EDFB-44EB-9256-2AD92ECF7092}"/>
              </a:ext>
            </a:extLst>
          </p:cNvPr>
          <p:cNvPicPr>
            <a:picLocks noChangeAspect="1"/>
          </p:cNvPicPr>
          <p:nvPr/>
        </p:nvPicPr>
        <p:blipFill>
          <a:blip r:embed="rId2"/>
          <a:stretch>
            <a:fillRect/>
          </a:stretch>
        </p:blipFill>
        <p:spPr>
          <a:xfrm>
            <a:off x="7252771" y="682942"/>
            <a:ext cx="4386462" cy="2352516"/>
          </a:xfrm>
          <a:prstGeom prst="rect">
            <a:avLst/>
          </a:prstGeom>
        </p:spPr>
      </p:pic>
      <p:pic>
        <p:nvPicPr>
          <p:cNvPr id="3" name="Picture 2">
            <a:extLst>
              <a:ext uri="{FF2B5EF4-FFF2-40B4-BE49-F238E27FC236}">
                <a16:creationId xmlns:a16="http://schemas.microsoft.com/office/drawing/2014/main" id="{6EF72AC9-AFC8-46F7-A8B4-077974BB5CFB}"/>
              </a:ext>
            </a:extLst>
          </p:cNvPr>
          <p:cNvPicPr>
            <a:picLocks noChangeAspect="1"/>
          </p:cNvPicPr>
          <p:nvPr/>
        </p:nvPicPr>
        <p:blipFill>
          <a:blip r:embed="rId3"/>
          <a:stretch>
            <a:fillRect/>
          </a:stretch>
        </p:blipFill>
        <p:spPr>
          <a:xfrm>
            <a:off x="7252771" y="3701564"/>
            <a:ext cx="4646363" cy="1972123"/>
          </a:xfrm>
          <a:prstGeom prst="rect">
            <a:avLst/>
          </a:prstGeom>
        </p:spPr>
      </p:pic>
      <p:pic>
        <p:nvPicPr>
          <p:cNvPr id="4" name="Picture 3">
            <a:extLst>
              <a:ext uri="{FF2B5EF4-FFF2-40B4-BE49-F238E27FC236}">
                <a16:creationId xmlns:a16="http://schemas.microsoft.com/office/drawing/2014/main" id="{B74561B1-8DB6-49D5-8DAD-56685092C920}"/>
              </a:ext>
            </a:extLst>
          </p:cNvPr>
          <p:cNvPicPr>
            <a:picLocks noChangeAspect="1"/>
          </p:cNvPicPr>
          <p:nvPr/>
        </p:nvPicPr>
        <p:blipFill>
          <a:blip r:embed="rId4"/>
          <a:stretch>
            <a:fillRect/>
          </a:stretch>
        </p:blipFill>
        <p:spPr>
          <a:xfrm>
            <a:off x="431581" y="682942"/>
            <a:ext cx="6218409" cy="5606109"/>
          </a:xfrm>
          <a:prstGeom prst="rect">
            <a:avLst/>
          </a:prstGeom>
        </p:spPr>
      </p:pic>
      <p:sp>
        <p:nvSpPr>
          <p:cNvPr id="5" name="TextBox 4">
            <a:extLst>
              <a:ext uri="{FF2B5EF4-FFF2-40B4-BE49-F238E27FC236}">
                <a16:creationId xmlns:a16="http://schemas.microsoft.com/office/drawing/2014/main" id="{FF760FC2-0CA6-469D-822F-EEC5E00F7D76}"/>
              </a:ext>
            </a:extLst>
          </p:cNvPr>
          <p:cNvSpPr txBox="1"/>
          <p:nvPr/>
        </p:nvSpPr>
        <p:spPr>
          <a:xfrm>
            <a:off x="2695036" y="199617"/>
            <a:ext cx="7254935" cy="369332"/>
          </a:xfrm>
          <a:prstGeom prst="rect">
            <a:avLst/>
          </a:prstGeom>
          <a:noFill/>
        </p:spPr>
        <p:txBody>
          <a:bodyPr wrap="none" rtlCol="0">
            <a:spAutoFit/>
          </a:bodyPr>
          <a:lstStyle/>
          <a:p>
            <a:r>
              <a:rPr lang="en-US" b="1" dirty="0">
                <a:latin typeface="Arial" panose="020B0604020202020204" pitchFamily="34" charset="0"/>
                <a:cs typeface="Arial" panose="020B0604020202020204" pitchFamily="34" charset="0"/>
              </a:rPr>
              <a:t>Correlation and significance of variables to the Repurchase ANP</a:t>
            </a:r>
          </a:p>
        </p:txBody>
      </p:sp>
    </p:spTree>
    <p:extLst>
      <p:ext uri="{BB962C8B-B14F-4D97-AF65-F5344CB8AC3E}">
        <p14:creationId xmlns:p14="http://schemas.microsoft.com/office/powerpoint/2010/main" val="33793093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3F552C-83D4-43B0-BF33-A4BDD1C092F2}"/>
              </a:ext>
            </a:extLst>
          </p:cNvPr>
          <p:cNvPicPr>
            <a:picLocks noChangeAspect="1"/>
          </p:cNvPicPr>
          <p:nvPr/>
        </p:nvPicPr>
        <p:blipFill>
          <a:blip r:embed="rId2"/>
          <a:stretch>
            <a:fillRect/>
          </a:stretch>
        </p:blipFill>
        <p:spPr>
          <a:xfrm>
            <a:off x="890587" y="933102"/>
            <a:ext cx="10410825" cy="2047875"/>
          </a:xfrm>
          <a:prstGeom prst="rect">
            <a:avLst/>
          </a:prstGeom>
        </p:spPr>
      </p:pic>
      <p:pic>
        <p:nvPicPr>
          <p:cNvPr id="3" name="Picture 2">
            <a:extLst>
              <a:ext uri="{FF2B5EF4-FFF2-40B4-BE49-F238E27FC236}">
                <a16:creationId xmlns:a16="http://schemas.microsoft.com/office/drawing/2014/main" id="{8FCB859D-4598-4538-8069-292950C9C723}"/>
              </a:ext>
            </a:extLst>
          </p:cNvPr>
          <p:cNvPicPr>
            <a:picLocks noChangeAspect="1"/>
          </p:cNvPicPr>
          <p:nvPr/>
        </p:nvPicPr>
        <p:blipFill>
          <a:blip r:embed="rId3"/>
          <a:stretch>
            <a:fillRect/>
          </a:stretch>
        </p:blipFill>
        <p:spPr>
          <a:xfrm>
            <a:off x="1135738" y="3223136"/>
            <a:ext cx="9251447" cy="2930363"/>
          </a:xfrm>
          <a:prstGeom prst="rect">
            <a:avLst/>
          </a:prstGeom>
        </p:spPr>
      </p:pic>
    </p:spTree>
    <p:extLst>
      <p:ext uri="{BB962C8B-B14F-4D97-AF65-F5344CB8AC3E}">
        <p14:creationId xmlns:p14="http://schemas.microsoft.com/office/powerpoint/2010/main" val="29750374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CF957CA-AAC6-4AEA-A0DA-592A35C77E97}"/>
              </a:ext>
            </a:extLst>
          </p:cNvPr>
          <p:cNvPicPr>
            <a:picLocks noChangeAspect="1"/>
          </p:cNvPicPr>
          <p:nvPr/>
        </p:nvPicPr>
        <p:blipFill>
          <a:blip r:embed="rId2"/>
          <a:stretch>
            <a:fillRect/>
          </a:stretch>
        </p:blipFill>
        <p:spPr>
          <a:xfrm>
            <a:off x="87699" y="1351235"/>
            <a:ext cx="11788350" cy="3677965"/>
          </a:xfrm>
          <a:prstGeom prst="rect">
            <a:avLst/>
          </a:prstGeom>
        </p:spPr>
      </p:pic>
    </p:spTree>
    <p:extLst>
      <p:ext uri="{BB962C8B-B14F-4D97-AF65-F5344CB8AC3E}">
        <p14:creationId xmlns:p14="http://schemas.microsoft.com/office/powerpoint/2010/main" val="31007130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Google Shape;154;p17">
            <a:extLst>
              <a:ext uri="{FF2B5EF4-FFF2-40B4-BE49-F238E27FC236}">
                <a16:creationId xmlns:a16="http://schemas.microsoft.com/office/drawing/2014/main" id="{4CDF9D43-8076-4125-A8E4-9FB615B1A3D8}"/>
              </a:ext>
            </a:extLst>
          </p:cNvPr>
          <p:cNvSpPr txBox="1"/>
          <p:nvPr/>
        </p:nvSpPr>
        <p:spPr>
          <a:xfrm>
            <a:off x="537883" y="532728"/>
            <a:ext cx="10941005" cy="487600"/>
          </a:xfrm>
          <a:prstGeom prst="rect">
            <a:avLst/>
          </a:prstGeom>
          <a:solidFill>
            <a:srgbClr val="D31145"/>
          </a:solidFill>
          <a:ln>
            <a:noFill/>
          </a:ln>
          <a:effectLst>
            <a:outerShdw blurRad="50800" dist="38100" dir="2700000" algn="tl" rotWithShape="0">
              <a:prstClr val="black">
                <a:alpha val="40000"/>
              </a:prstClr>
            </a:outerShdw>
          </a:effectLst>
        </p:spPr>
        <p:txBody>
          <a:bodyPr spcFirstLastPara="1" wrap="square" lIns="121900" tIns="121900" rIns="121900" bIns="121900" anchor="ctr" anchorCtr="0">
            <a:noAutofit/>
          </a:bodyPr>
          <a:lstStyle/>
          <a:p>
            <a:pPr algn="ctr"/>
            <a:r>
              <a:rPr lang="en" sz="2000" b="1">
                <a:solidFill>
                  <a:schemeClr val="bg1"/>
                </a:solidFill>
                <a:latin typeface="Fira Sans Extra Condensed Medium"/>
                <a:ea typeface="Fira Sans Extra Condensed Medium"/>
                <a:cs typeface="Fira Sans Extra Condensed Medium"/>
                <a:sym typeface="Fira Sans Extra Condensed Medium"/>
              </a:rPr>
              <a:t>Model Performance and Validation</a:t>
            </a:r>
            <a:endParaRPr sz="2000" b="1">
              <a:solidFill>
                <a:schemeClr val="bg1"/>
              </a:solidFill>
              <a:latin typeface="Fira Sans Extra Condensed Medium"/>
              <a:ea typeface="Fira Sans Extra Condensed Medium"/>
              <a:cs typeface="Fira Sans Extra Condensed Medium"/>
              <a:sym typeface="Fira Sans Extra Condensed Medium"/>
            </a:endParaRPr>
          </a:p>
        </p:txBody>
      </p:sp>
      <p:sp>
        <p:nvSpPr>
          <p:cNvPr id="5" name="TextBox 4">
            <a:extLst>
              <a:ext uri="{FF2B5EF4-FFF2-40B4-BE49-F238E27FC236}">
                <a16:creationId xmlns:a16="http://schemas.microsoft.com/office/drawing/2014/main" id="{9B9C95C8-4A62-4380-987D-A3834BD76AB4}"/>
              </a:ext>
            </a:extLst>
          </p:cNvPr>
          <p:cNvSpPr txBox="1"/>
          <p:nvPr/>
        </p:nvSpPr>
        <p:spPr>
          <a:xfrm>
            <a:off x="2753565" y="1139487"/>
            <a:ext cx="6394699" cy="369332"/>
          </a:xfrm>
          <a:prstGeom prst="rect">
            <a:avLst/>
          </a:prstGeom>
          <a:noFill/>
        </p:spPr>
        <p:txBody>
          <a:bodyPr wrap="none" lIns="91440" tIns="45720" rIns="91440" bIns="45720" rtlCol="0" anchor="t">
            <a:spAutoFit/>
          </a:bodyPr>
          <a:lstStyle/>
          <a:p>
            <a:r>
              <a:rPr lang="en-US" b="1" dirty="0">
                <a:latin typeface="Arial"/>
                <a:cs typeface="Arial"/>
              </a:rPr>
              <a:t>NDCG</a:t>
            </a:r>
            <a:r>
              <a:rPr lang="en-US" dirty="0">
                <a:latin typeface="Arial"/>
                <a:cs typeface="Arial"/>
              </a:rPr>
              <a:t> – </a:t>
            </a:r>
            <a:r>
              <a:rPr lang="en-US" sz="1400">
                <a:latin typeface="Arial"/>
                <a:cs typeface="Arial"/>
              </a:rPr>
              <a:t>Normalize Discounted Cumulative Gain to measure ranking quality</a:t>
            </a:r>
            <a:endParaRPr lang="en-US" sz="140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132FD3B0-D61A-4109-901D-C9D3BA8A03A6}"/>
              </a:ext>
            </a:extLst>
          </p:cNvPr>
          <p:cNvSpPr txBox="1"/>
          <p:nvPr/>
        </p:nvSpPr>
        <p:spPr>
          <a:xfrm>
            <a:off x="4299837" y="4940166"/>
            <a:ext cx="3285900" cy="646331"/>
          </a:xfrm>
          <a:prstGeom prst="rect">
            <a:avLst/>
          </a:prstGeom>
          <a:noFill/>
        </p:spPr>
        <p:txBody>
          <a:bodyPr wrap="none" rtlCol="0">
            <a:spAutoFit/>
          </a:bodyPr>
          <a:lstStyle/>
          <a:p>
            <a:r>
              <a:rPr lang="en-US">
                <a:latin typeface="Arial" panose="020B0604020202020204" pitchFamily="34" charset="0"/>
                <a:cs typeface="Arial" panose="020B0604020202020204" pitchFamily="34" charset="0"/>
              </a:rPr>
              <a:t>MODEL Performance =  </a:t>
            </a:r>
            <a:r>
              <a:rPr lang="en-US" b="1">
                <a:latin typeface="Arial" panose="020B0604020202020204" pitchFamily="34" charset="0"/>
                <a:cs typeface="Arial" panose="020B0604020202020204" pitchFamily="34" charset="0"/>
              </a:rPr>
              <a:t>0.756</a:t>
            </a:r>
          </a:p>
          <a:p>
            <a:endParaRPr lang="en-US" err="1">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37D5F4B0-85EC-4003-9CF0-6BC621939A18}"/>
              </a:ext>
            </a:extLst>
          </p:cNvPr>
          <p:cNvPicPr>
            <a:picLocks noChangeAspect="1"/>
          </p:cNvPicPr>
          <p:nvPr/>
        </p:nvPicPr>
        <p:blipFill>
          <a:blip r:embed="rId2"/>
          <a:stretch>
            <a:fillRect/>
          </a:stretch>
        </p:blipFill>
        <p:spPr>
          <a:xfrm>
            <a:off x="537883" y="1736770"/>
            <a:ext cx="6931074" cy="2794163"/>
          </a:xfrm>
          <a:prstGeom prst="rect">
            <a:avLst/>
          </a:prstGeom>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EB4DAC63-46E7-41C0-AFDE-1B0B02EF9DCB}"/>
              </a:ext>
            </a:extLst>
          </p:cNvPr>
          <p:cNvPicPr>
            <a:picLocks noChangeAspect="1"/>
          </p:cNvPicPr>
          <p:nvPr/>
        </p:nvPicPr>
        <p:blipFill>
          <a:blip r:embed="rId3"/>
          <a:stretch>
            <a:fillRect/>
          </a:stretch>
        </p:blipFill>
        <p:spPr>
          <a:xfrm>
            <a:off x="7880808" y="2503138"/>
            <a:ext cx="3598080" cy="1348100"/>
          </a:xfrm>
          <a:prstGeom prst="rect">
            <a:avLst/>
          </a:prstGeom>
          <a:effectLst>
            <a:outerShdw blurRad="50800" dist="38100" dir="2700000" algn="tl" rotWithShape="0">
              <a:prstClr val="black">
                <a:alpha val="40000"/>
              </a:prstClr>
            </a:outerShdw>
          </a:effectLst>
        </p:spPr>
      </p:pic>
      <p:sp>
        <p:nvSpPr>
          <p:cNvPr id="12" name="Rectangle 11">
            <a:extLst>
              <a:ext uri="{FF2B5EF4-FFF2-40B4-BE49-F238E27FC236}">
                <a16:creationId xmlns:a16="http://schemas.microsoft.com/office/drawing/2014/main" id="{8F55C027-CC23-4F6C-8D4C-6C701BF7157B}"/>
              </a:ext>
            </a:extLst>
          </p:cNvPr>
          <p:cNvSpPr/>
          <p:nvPr/>
        </p:nvSpPr>
        <p:spPr>
          <a:xfrm>
            <a:off x="10378468" y="3429000"/>
            <a:ext cx="844297" cy="321519"/>
          </a:xfrm>
          <a:prstGeom prst="rect">
            <a:avLst/>
          </a:prstGeom>
          <a:noFill/>
          <a:ln>
            <a:solidFill>
              <a:srgbClr val="FF0000"/>
            </a:solidFill>
          </a:ln>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13" name="Rectangle 12">
            <a:extLst>
              <a:ext uri="{FF2B5EF4-FFF2-40B4-BE49-F238E27FC236}">
                <a16:creationId xmlns:a16="http://schemas.microsoft.com/office/drawing/2014/main" id="{651985EB-0623-4144-A2BE-313966CC61E0}"/>
              </a:ext>
            </a:extLst>
          </p:cNvPr>
          <p:cNvSpPr/>
          <p:nvPr/>
        </p:nvSpPr>
        <p:spPr>
          <a:xfrm>
            <a:off x="6792429" y="4900605"/>
            <a:ext cx="793308" cy="477704"/>
          </a:xfrm>
          <a:prstGeom prst="rect">
            <a:avLst/>
          </a:prstGeom>
          <a:noFill/>
          <a:ln/>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cxnSp>
        <p:nvCxnSpPr>
          <p:cNvPr id="15" name="Straight Arrow Connector 14">
            <a:extLst>
              <a:ext uri="{FF2B5EF4-FFF2-40B4-BE49-F238E27FC236}">
                <a16:creationId xmlns:a16="http://schemas.microsoft.com/office/drawing/2014/main" id="{BEDB31AB-FF5F-452F-A54B-299E594F8B8F}"/>
              </a:ext>
            </a:extLst>
          </p:cNvPr>
          <p:cNvCxnSpPr>
            <a:cxnSpLocks/>
          </p:cNvCxnSpPr>
          <p:nvPr/>
        </p:nvCxnSpPr>
        <p:spPr>
          <a:xfrm>
            <a:off x="7468956" y="2498103"/>
            <a:ext cx="411852" cy="1552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E50BE600-7674-4618-82FE-265F089F78F6}"/>
              </a:ext>
            </a:extLst>
          </p:cNvPr>
          <p:cNvCxnSpPr>
            <a:cxnSpLocks/>
          </p:cNvCxnSpPr>
          <p:nvPr/>
        </p:nvCxnSpPr>
        <p:spPr>
          <a:xfrm>
            <a:off x="7435250" y="2960495"/>
            <a:ext cx="44555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0116CE6-5423-4ADB-BCC5-BF3BD6B11D80}"/>
              </a:ext>
            </a:extLst>
          </p:cNvPr>
          <p:cNvCxnSpPr>
            <a:cxnSpLocks/>
          </p:cNvCxnSpPr>
          <p:nvPr/>
        </p:nvCxnSpPr>
        <p:spPr>
          <a:xfrm flipV="1">
            <a:off x="7435250" y="3177863"/>
            <a:ext cx="445558" cy="2511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77FBC77-CF6F-4B91-A005-553E3DB48DE4}"/>
              </a:ext>
            </a:extLst>
          </p:cNvPr>
          <p:cNvSpPr txBox="1"/>
          <p:nvPr/>
        </p:nvSpPr>
        <p:spPr>
          <a:xfrm>
            <a:off x="847294" y="5995710"/>
            <a:ext cx="5865708" cy="307777"/>
          </a:xfrm>
          <a:prstGeom prst="rect">
            <a:avLst/>
          </a:prstGeom>
          <a:noFill/>
        </p:spPr>
        <p:txBody>
          <a:bodyPr wrap="none" rtlCol="0">
            <a:spAutoFit/>
          </a:bodyPr>
          <a:lstStyle/>
          <a:p>
            <a:r>
              <a:rPr lang="en-US" sz="1400">
                <a:latin typeface="Arial" panose="020B0604020202020204" pitchFamily="34" charset="0"/>
                <a:cs typeface="Arial" panose="020B0604020202020204" pitchFamily="34" charset="0"/>
              </a:rPr>
              <a:t>*** model performance can improve with the augmented business rules </a:t>
            </a:r>
          </a:p>
        </p:txBody>
      </p:sp>
      <p:sp>
        <p:nvSpPr>
          <p:cNvPr id="35" name="TextBox 34">
            <a:extLst>
              <a:ext uri="{FF2B5EF4-FFF2-40B4-BE49-F238E27FC236}">
                <a16:creationId xmlns:a16="http://schemas.microsoft.com/office/drawing/2014/main" id="{62B0D5FC-F43C-4D2C-A5B0-0D4B2F8AC668}"/>
              </a:ext>
            </a:extLst>
          </p:cNvPr>
          <p:cNvSpPr txBox="1"/>
          <p:nvPr/>
        </p:nvSpPr>
        <p:spPr>
          <a:xfrm flipH="1">
            <a:off x="4299837" y="5523264"/>
            <a:ext cx="2123323" cy="369332"/>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Recall = </a:t>
            </a:r>
            <a:r>
              <a:rPr lang="en-US" b="1">
                <a:latin typeface="Arial" panose="020B0604020202020204" pitchFamily="34" charset="0"/>
                <a:cs typeface="Arial" panose="020B0604020202020204" pitchFamily="34" charset="0"/>
              </a:rPr>
              <a:t>0.89</a:t>
            </a:r>
          </a:p>
        </p:txBody>
      </p:sp>
      <p:sp>
        <p:nvSpPr>
          <p:cNvPr id="3" name="TextBox 2">
            <a:extLst>
              <a:ext uri="{FF2B5EF4-FFF2-40B4-BE49-F238E27FC236}">
                <a16:creationId xmlns:a16="http://schemas.microsoft.com/office/drawing/2014/main" id="{8DCA53AE-AD6B-4F75-9D07-252C232BD449}"/>
              </a:ext>
            </a:extLst>
          </p:cNvPr>
          <p:cNvSpPr txBox="1"/>
          <p:nvPr/>
        </p:nvSpPr>
        <p:spPr>
          <a:xfrm>
            <a:off x="7013734" y="1952757"/>
            <a:ext cx="3140603" cy="246221"/>
          </a:xfrm>
          <a:prstGeom prst="rect">
            <a:avLst/>
          </a:prstGeom>
          <a:noFill/>
        </p:spPr>
        <p:txBody>
          <a:bodyPr wrap="none" rtlCol="0">
            <a:spAutoFit/>
          </a:bodyPr>
          <a:lstStyle/>
          <a:p>
            <a:r>
              <a:rPr lang="en-US" sz="1000">
                <a:latin typeface="Arial" panose="020B0604020202020204" pitchFamily="34" charset="0"/>
                <a:cs typeface="Arial" panose="020B0604020202020204" pitchFamily="34" charset="0"/>
              </a:rPr>
              <a:t>Standard position denominator in the NDCG formula</a:t>
            </a:r>
          </a:p>
        </p:txBody>
      </p:sp>
      <p:cxnSp>
        <p:nvCxnSpPr>
          <p:cNvPr id="6" name="Straight Arrow Connector 5">
            <a:extLst>
              <a:ext uri="{FF2B5EF4-FFF2-40B4-BE49-F238E27FC236}">
                <a16:creationId xmlns:a16="http://schemas.microsoft.com/office/drawing/2014/main" id="{136D28AA-9177-4F66-AB1D-A7CB69AE3D45}"/>
              </a:ext>
            </a:extLst>
          </p:cNvPr>
          <p:cNvCxnSpPr>
            <a:cxnSpLocks/>
          </p:cNvCxnSpPr>
          <p:nvPr/>
        </p:nvCxnSpPr>
        <p:spPr>
          <a:xfrm>
            <a:off x="6713002" y="2075867"/>
            <a:ext cx="34805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57283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Google Shape;154;p17">
            <a:extLst>
              <a:ext uri="{FF2B5EF4-FFF2-40B4-BE49-F238E27FC236}">
                <a16:creationId xmlns:a16="http://schemas.microsoft.com/office/drawing/2014/main" id="{9B841323-F250-4F72-9C7E-B93AE586F876}"/>
              </a:ext>
            </a:extLst>
          </p:cNvPr>
          <p:cNvSpPr txBox="1"/>
          <p:nvPr/>
        </p:nvSpPr>
        <p:spPr>
          <a:xfrm>
            <a:off x="946372" y="554513"/>
            <a:ext cx="10124081" cy="487600"/>
          </a:xfrm>
          <a:prstGeom prst="rect">
            <a:avLst/>
          </a:prstGeom>
          <a:solidFill>
            <a:srgbClr val="D31145"/>
          </a:solidFill>
          <a:ln>
            <a:noFill/>
          </a:ln>
          <a:effectLst>
            <a:outerShdw blurRad="50800" dist="38100" dir="2700000" algn="tl" rotWithShape="0">
              <a:prstClr val="black">
                <a:alpha val="40000"/>
              </a:prstClr>
            </a:outerShdw>
          </a:effectLst>
        </p:spPr>
        <p:txBody>
          <a:bodyPr spcFirstLastPara="1" wrap="square" lIns="121900" tIns="121900" rIns="121900" bIns="121900" anchor="ctr" anchorCtr="0">
            <a:noAutofit/>
          </a:bodyPr>
          <a:lstStyle/>
          <a:p>
            <a:pPr algn="ctr"/>
            <a:r>
              <a:rPr lang="en" sz="2000" b="1">
                <a:solidFill>
                  <a:schemeClr val="bg1"/>
                </a:solidFill>
                <a:latin typeface="Fira Sans Extra Condensed Medium"/>
                <a:ea typeface="Fira Sans Extra Condensed Medium"/>
                <a:cs typeface="Fira Sans Extra Condensed Medium"/>
                <a:sym typeface="Fira Sans Extra Condensed Medium"/>
              </a:rPr>
              <a:t>Modeling Flow</a:t>
            </a:r>
            <a:endParaRPr sz="2000" b="1">
              <a:solidFill>
                <a:schemeClr val="bg1"/>
              </a:solidFill>
              <a:latin typeface="Fira Sans Extra Condensed Medium"/>
              <a:ea typeface="Fira Sans Extra Condensed Medium"/>
              <a:cs typeface="Fira Sans Extra Condensed Medium"/>
              <a:sym typeface="Fira Sans Extra Condensed Medium"/>
            </a:endParaRPr>
          </a:p>
        </p:txBody>
      </p:sp>
      <p:pic>
        <p:nvPicPr>
          <p:cNvPr id="4" name="Picture 3">
            <a:extLst>
              <a:ext uri="{FF2B5EF4-FFF2-40B4-BE49-F238E27FC236}">
                <a16:creationId xmlns:a16="http://schemas.microsoft.com/office/drawing/2014/main" id="{53AE6228-2C69-4234-B96B-EBCF24FAE729}"/>
              </a:ext>
            </a:extLst>
          </p:cNvPr>
          <p:cNvPicPr>
            <a:picLocks noChangeAspect="1"/>
          </p:cNvPicPr>
          <p:nvPr/>
        </p:nvPicPr>
        <p:blipFill>
          <a:blip r:embed="rId2"/>
          <a:stretch>
            <a:fillRect/>
          </a:stretch>
        </p:blipFill>
        <p:spPr>
          <a:xfrm>
            <a:off x="1217580" y="1862068"/>
            <a:ext cx="2644115" cy="1658986"/>
          </a:xfrm>
          <a:prstGeom prst="rect">
            <a:avLst/>
          </a:prstGeom>
        </p:spPr>
      </p:pic>
      <p:pic>
        <p:nvPicPr>
          <p:cNvPr id="2" name="Picture 1">
            <a:extLst>
              <a:ext uri="{FF2B5EF4-FFF2-40B4-BE49-F238E27FC236}">
                <a16:creationId xmlns:a16="http://schemas.microsoft.com/office/drawing/2014/main" id="{9898EE2A-E903-45D8-B239-8634DD8E713C}"/>
              </a:ext>
            </a:extLst>
          </p:cNvPr>
          <p:cNvPicPr>
            <a:picLocks noChangeAspect="1"/>
          </p:cNvPicPr>
          <p:nvPr/>
        </p:nvPicPr>
        <p:blipFill>
          <a:blip r:embed="rId3"/>
          <a:stretch>
            <a:fillRect/>
          </a:stretch>
        </p:blipFill>
        <p:spPr>
          <a:xfrm>
            <a:off x="2035867" y="4427068"/>
            <a:ext cx="1619250" cy="1304925"/>
          </a:xfrm>
          <a:prstGeom prst="rect">
            <a:avLst/>
          </a:prstGeom>
        </p:spPr>
      </p:pic>
      <p:sp>
        <p:nvSpPr>
          <p:cNvPr id="3" name="TextBox 2">
            <a:extLst>
              <a:ext uri="{FF2B5EF4-FFF2-40B4-BE49-F238E27FC236}">
                <a16:creationId xmlns:a16="http://schemas.microsoft.com/office/drawing/2014/main" id="{268EC5FE-3E7E-4749-ACE7-240A0B788BC6}"/>
              </a:ext>
            </a:extLst>
          </p:cNvPr>
          <p:cNvSpPr txBox="1"/>
          <p:nvPr/>
        </p:nvSpPr>
        <p:spPr>
          <a:xfrm>
            <a:off x="1217580" y="1546592"/>
            <a:ext cx="2789096" cy="338554"/>
          </a:xfrm>
          <a:prstGeom prst="rect">
            <a:avLst/>
          </a:prstGeom>
          <a:noFill/>
        </p:spPr>
        <p:txBody>
          <a:bodyPr wrap="square" rtlCol="0">
            <a:spAutoFit/>
          </a:bodyPr>
          <a:lstStyle/>
          <a:p>
            <a:r>
              <a:rPr lang="en-US" sz="1600">
                <a:latin typeface="Arial" panose="020B0604020202020204" pitchFamily="34" charset="0"/>
                <a:cs typeface="Arial" panose="020B0604020202020204" pitchFamily="34" charset="0"/>
              </a:rPr>
              <a:t>Data driven business rules</a:t>
            </a:r>
          </a:p>
        </p:txBody>
      </p:sp>
      <p:sp>
        <p:nvSpPr>
          <p:cNvPr id="7" name="TextBox 6">
            <a:extLst>
              <a:ext uri="{FF2B5EF4-FFF2-40B4-BE49-F238E27FC236}">
                <a16:creationId xmlns:a16="http://schemas.microsoft.com/office/drawing/2014/main" id="{770FC5E6-3232-47BE-ACEF-A384978EFA14}"/>
              </a:ext>
            </a:extLst>
          </p:cNvPr>
          <p:cNvSpPr txBox="1"/>
          <p:nvPr/>
        </p:nvSpPr>
        <p:spPr>
          <a:xfrm rot="1478307">
            <a:off x="4329543" y="2757956"/>
            <a:ext cx="1569789" cy="369332"/>
          </a:xfrm>
          <a:prstGeom prst="rect">
            <a:avLst/>
          </a:prstGeom>
          <a:noFill/>
        </p:spPr>
        <p:txBody>
          <a:bodyPr wrap="none" rtlCol="0">
            <a:spAutoFit/>
          </a:bodyPr>
          <a:lstStyle/>
          <a:p>
            <a:r>
              <a:rPr lang="en-US">
                <a:latin typeface="Arial" panose="020B0604020202020204" pitchFamily="34" charset="0"/>
                <a:cs typeface="Arial" panose="020B0604020202020204" pitchFamily="34" charset="0"/>
              </a:rPr>
              <a:t>My AIA / FHC</a:t>
            </a:r>
          </a:p>
        </p:txBody>
      </p:sp>
      <p:sp>
        <p:nvSpPr>
          <p:cNvPr id="8" name="TextBox 7">
            <a:extLst>
              <a:ext uri="{FF2B5EF4-FFF2-40B4-BE49-F238E27FC236}">
                <a16:creationId xmlns:a16="http://schemas.microsoft.com/office/drawing/2014/main" id="{84FDDEE0-AFD9-43C4-99B2-9D24242502E4}"/>
              </a:ext>
            </a:extLst>
          </p:cNvPr>
          <p:cNvSpPr txBox="1"/>
          <p:nvPr/>
        </p:nvSpPr>
        <p:spPr>
          <a:xfrm rot="19973416">
            <a:off x="4375132" y="4485973"/>
            <a:ext cx="1377365" cy="369332"/>
          </a:xfrm>
          <a:prstGeom prst="rect">
            <a:avLst/>
          </a:prstGeom>
          <a:noFill/>
        </p:spPr>
        <p:txBody>
          <a:bodyPr wrap="none" rtlCol="0">
            <a:spAutoFit/>
          </a:bodyPr>
          <a:lstStyle/>
          <a:p>
            <a:r>
              <a:rPr lang="en-US">
                <a:latin typeface="Arial" panose="020B0604020202020204" pitchFamily="34" charset="0"/>
                <a:cs typeface="Arial" panose="020B0604020202020204" pitchFamily="34" charset="0"/>
              </a:rPr>
              <a:t>Top 3 Flags</a:t>
            </a:r>
          </a:p>
        </p:txBody>
      </p:sp>
      <p:sp>
        <p:nvSpPr>
          <p:cNvPr id="9" name="Rectangle: Rounded Corners 8">
            <a:extLst>
              <a:ext uri="{FF2B5EF4-FFF2-40B4-BE49-F238E27FC236}">
                <a16:creationId xmlns:a16="http://schemas.microsoft.com/office/drawing/2014/main" id="{B9FF7A23-5F1C-4F6B-9E9F-E66B12FB7FF8}"/>
              </a:ext>
            </a:extLst>
          </p:cNvPr>
          <p:cNvSpPr/>
          <p:nvPr/>
        </p:nvSpPr>
        <p:spPr>
          <a:xfrm>
            <a:off x="6143543" y="3330032"/>
            <a:ext cx="1700979" cy="968726"/>
          </a:xfrm>
          <a:prstGeom prst="round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ALPA</a:t>
            </a:r>
          </a:p>
        </p:txBody>
      </p:sp>
      <p:cxnSp>
        <p:nvCxnSpPr>
          <p:cNvPr id="11" name="Straight Arrow Connector 10">
            <a:extLst>
              <a:ext uri="{FF2B5EF4-FFF2-40B4-BE49-F238E27FC236}">
                <a16:creationId xmlns:a16="http://schemas.microsoft.com/office/drawing/2014/main" id="{23826E62-AF19-4B33-8F6D-ADFB1D88BA84}"/>
              </a:ext>
            </a:extLst>
          </p:cNvPr>
          <p:cNvCxnSpPr>
            <a:cxnSpLocks/>
          </p:cNvCxnSpPr>
          <p:nvPr/>
        </p:nvCxnSpPr>
        <p:spPr>
          <a:xfrm>
            <a:off x="4031691" y="2775473"/>
            <a:ext cx="1941856" cy="8858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BB51C89D-A5DC-48EC-AEB6-CECC2FD3D694}"/>
              </a:ext>
            </a:extLst>
          </p:cNvPr>
          <p:cNvCxnSpPr>
            <a:cxnSpLocks/>
          </p:cNvCxnSpPr>
          <p:nvPr/>
        </p:nvCxnSpPr>
        <p:spPr>
          <a:xfrm flipV="1">
            <a:off x="4000789" y="3964831"/>
            <a:ext cx="1972758" cy="9643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37FBF7C7-BA24-4255-94B3-CDA94489EE1C}"/>
              </a:ext>
            </a:extLst>
          </p:cNvPr>
          <p:cNvPicPr>
            <a:picLocks noChangeAspect="1"/>
          </p:cNvPicPr>
          <p:nvPr/>
        </p:nvPicPr>
        <p:blipFill>
          <a:blip r:embed="rId4"/>
          <a:stretch>
            <a:fillRect/>
          </a:stretch>
        </p:blipFill>
        <p:spPr>
          <a:xfrm>
            <a:off x="8674902" y="1944951"/>
            <a:ext cx="1972757" cy="3466692"/>
          </a:xfrm>
          <a:prstGeom prst="rect">
            <a:avLst/>
          </a:prstGeom>
          <a:effectLst>
            <a:glow rad="101600">
              <a:schemeClr val="accent2">
                <a:satMod val="175000"/>
                <a:alpha val="40000"/>
              </a:schemeClr>
            </a:glow>
          </a:effectLst>
        </p:spPr>
      </p:pic>
      <p:cxnSp>
        <p:nvCxnSpPr>
          <p:cNvPr id="20" name="Straight Arrow Connector 19">
            <a:extLst>
              <a:ext uri="{FF2B5EF4-FFF2-40B4-BE49-F238E27FC236}">
                <a16:creationId xmlns:a16="http://schemas.microsoft.com/office/drawing/2014/main" id="{27280FB7-5D01-431C-9A36-97688BBE95AC}"/>
              </a:ext>
            </a:extLst>
          </p:cNvPr>
          <p:cNvCxnSpPr>
            <a:cxnSpLocks/>
          </p:cNvCxnSpPr>
          <p:nvPr/>
        </p:nvCxnSpPr>
        <p:spPr>
          <a:xfrm>
            <a:off x="7844522" y="3793546"/>
            <a:ext cx="74725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21219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4" name="Object 13">
            <a:extLst>
              <a:ext uri="{FF2B5EF4-FFF2-40B4-BE49-F238E27FC236}">
                <a16:creationId xmlns:a16="http://schemas.microsoft.com/office/drawing/2014/main" id="{396AEA18-5385-4C1D-8ED5-43694A4AE2C9}"/>
              </a:ext>
            </a:extLst>
          </p:cNvPr>
          <p:cNvGraphicFramePr>
            <a:graphicFrameLocks noChangeAspect="1"/>
          </p:cNvGraphicFramePr>
          <p:nvPr>
            <p:extLst>
              <p:ext uri="{D42A27DB-BD31-4B8C-83A1-F6EECF244321}">
                <p14:modId xmlns:p14="http://schemas.microsoft.com/office/powerpoint/2010/main" val="2049844906"/>
              </p:ext>
            </p:extLst>
          </p:nvPr>
        </p:nvGraphicFramePr>
        <p:xfrm>
          <a:off x="1527586" y="1539938"/>
          <a:ext cx="8573845" cy="4458915"/>
        </p:xfrm>
        <a:graphic>
          <a:graphicData uri="http://schemas.openxmlformats.org/presentationml/2006/ole">
            <mc:AlternateContent xmlns:mc="http://schemas.openxmlformats.org/markup-compatibility/2006">
              <mc:Choice xmlns:v="urn:schemas-microsoft-com:vml" Requires="v">
                <p:oleObj spid="_x0000_s246922" name="Worksheet" r:id="rId3" imgW="7398985" imgH="3848297" progId="Excel.Sheet.12">
                  <p:embed/>
                </p:oleObj>
              </mc:Choice>
              <mc:Fallback>
                <p:oleObj name="Worksheet" r:id="rId3" imgW="7398985" imgH="3848297" progId="Excel.Sheet.12">
                  <p:embed/>
                  <p:pic>
                    <p:nvPicPr>
                      <p:cNvPr id="14" name="Object 13">
                        <a:extLst>
                          <a:ext uri="{FF2B5EF4-FFF2-40B4-BE49-F238E27FC236}">
                            <a16:creationId xmlns:a16="http://schemas.microsoft.com/office/drawing/2014/main" id="{396AEA18-5385-4C1D-8ED5-43694A4AE2C9}"/>
                          </a:ext>
                        </a:extLst>
                      </p:cNvPr>
                      <p:cNvPicPr/>
                      <p:nvPr/>
                    </p:nvPicPr>
                    <p:blipFill>
                      <a:blip r:embed="rId4"/>
                      <a:stretch>
                        <a:fillRect/>
                      </a:stretch>
                    </p:blipFill>
                    <p:spPr>
                      <a:xfrm>
                        <a:off x="1527586" y="1539938"/>
                        <a:ext cx="8573845" cy="4458915"/>
                      </a:xfrm>
                      <a:prstGeom prst="rect">
                        <a:avLst/>
                      </a:prstGeom>
                    </p:spPr>
                  </p:pic>
                </p:oleObj>
              </mc:Fallback>
            </mc:AlternateContent>
          </a:graphicData>
        </a:graphic>
      </p:graphicFrame>
      <p:sp>
        <p:nvSpPr>
          <p:cNvPr id="16" name="TextBox 15">
            <a:extLst>
              <a:ext uri="{FF2B5EF4-FFF2-40B4-BE49-F238E27FC236}">
                <a16:creationId xmlns:a16="http://schemas.microsoft.com/office/drawing/2014/main" id="{1009B402-231E-4745-9073-7F96BE837BED}"/>
              </a:ext>
            </a:extLst>
          </p:cNvPr>
          <p:cNvSpPr txBox="1"/>
          <p:nvPr/>
        </p:nvSpPr>
        <p:spPr>
          <a:xfrm>
            <a:off x="946371" y="740504"/>
            <a:ext cx="10124081" cy="677108"/>
          </a:xfrm>
          <a:prstGeom prst="rect">
            <a:avLst/>
          </a:prstGeom>
          <a:noFill/>
        </p:spPr>
        <p:txBody>
          <a:bodyPr wrap="square" rtlCol="0">
            <a:spAutoFit/>
          </a:bodyPr>
          <a:lstStyle/>
          <a:p>
            <a:r>
              <a:rPr lang="en-GB">
                <a:latin typeface="Arial" panose="020B0604020202020204" pitchFamily="34" charset="0"/>
                <a:cs typeface="Arial" panose="020B0604020202020204" pitchFamily="34" charset="0"/>
              </a:rPr>
              <a:t>Customers with priorities identified and set from the models are having </a:t>
            </a:r>
            <a:r>
              <a:rPr lang="en-GB" b="1">
                <a:solidFill>
                  <a:srgbClr val="D31145"/>
                </a:solidFill>
                <a:latin typeface="Arial" panose="020B0604020202020204" pitchFamily="34" charset="0"/>
                <a:cs typeface="Arial" panose="020B0604020202020204" pitchFamily="34" charset="0"/>
              </a:rPr>
              <a:t>higher uplift </a:t>
            </a:r>
            <a:r>
              <a:rPr lang="en-GB">
                <a:latin typeface="Arial" panose="020B0604020202020204" pitchFamily="34" charset="0"/>
                <a:cs typeface="Arial" panose="020B0604020202020204" pitchFamily="34" charset="0"/>
              </a:rPr>
              <a:t>in terms of repurchase rate (</a:t>
            </a:r>
            <a:r>
              <a:rPr lang="en-GB" sz="2000" b="1">
                <a:solidFill>
                  <a:srgbClr val="D31145"/>
                </a:solidFill>
                <a:latin typeface="Arial" panose="020B0604020202020204" pitchFamily="34" charset="0"/>
                <a:cs typeface="Arial" panose="020B0604020202020204" pitchFamily="34" charset="0"/>
              </a:rPr>
              <a:t>2x</a:t>
            </a:r>
            <a:r>
              <a:rPr lang="en-GB">
                <a:latin typeface="Arial" panose="020B0604020202020204" pitchFamily="34" charset="0"/>
                <a:cs typeface="Arial" panose="020B0604020202020204" pitchFamily="34" charset="0"/>
              </a:rPr>
              <a:t>) &amp; average repurchase ANP (</a:t>
            </a:r>
            <a:r>
              <a:rPr lang="en-GB" sz="2000" b="1">
                <a:solidFill>
                  <a:srgbClr val="D31145"/>
                </a:solidFill>
                <a:latin typeface="Arial" panose="020B0604020202020204" pitchFamily="34" charset="0"/>
                <a:cs typeface="Arial" panose="020B0604020202020204" pitchFamily="34" charset="0"/>
              </a:rPr>
              <a:t>1.5x</a:t>
            </a:r>
            <a:r>
              <a:rPr lang="en-GB">
                <a:latin typeface="Arial" panose="020B0604020202020204" pitchFamily="34" charset="0"/>
                <a:cs typeface="Arial" panose="020B0604020202020204" pitchFamily="34" charset="0"/>
              </a:rPr>
              <a:t>) per quarter</a:t>
            </a:r>
            <a:endParaRPr lang="en-HK" err="1">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25022C54-A353-4638-B007-C33EA1BE4334}"/>
              </a:ext>
            </a:extLst>
          </p:cNvPr>
          <p:cNvSpPr/>
          <p:nvPr/>
        </p:nvSpPr>
        <p:spPr>
          <a:xfrm>
            <a:off x="2571078" y="3429000"/>
            <a:ext cx="7530353" cy="648148"/>
          </a:xfrm>
          <a:prstGeom prst="rect">
            <a:avLst/>
          </a:prstGeom>
          <a:noFill/>
          <a:ln w="28575">
            <a:solidFill>
              <a:srgbClr val="D311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21" name="Rectangle 20">
            <a:extLst>
              <a:ext uri="{FF2B5EF4-FFF2-40B4-BE49-F238E27FC236}">
                <a16:creationId xmlns:a16="http://schemas.microsoft.com/office/drawing/2014/main" id="{B0034234-EBAB-459A-88F6-F7B5C5A0CD6B}"/>
              </a:ext>
            </a:extLst>
          </p:cNvPr>
          <p:cNvSpPr/>
          <p:nvPr/>
        </p:nvSpPr>
        <p:spPr>
          <a:xfrm>
            <a:off x="2571077" y="4713926"/>
            <a:ext cx="7530353" cy="837020"/>
          </a:xfrm>
          <a:prstGeom prst="rect">
            <a:avLst/>
          </a:prstGeom>
          <a:noFill/>
          <a:ln w="28575">
            <a:solidFill>
              <a:srgbClr val="D311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22" name="Rectangle 21">
            <a:extLst>
              <a:ext uri="{FF2B5EF4-FFF2-40B4-BE49-F238E27FC236}">
                <a16:creationId xmlns:a16="http://schemas.microsoft.com/office/drawing/2014/main" id="{E9250E93-9135-443D-A128-81928B67DEC4}"/>
              </a:ext>
            </a:extLst>
          </p:cNvPr>
          <p:cNvSpPr/>
          <p:nvPr/>
        </p:nvSpPr>
        <p:spPr>
          <a:xfrm>
            <a:off x="2571076" y="2629962"/>
            <a:ext cx="7530353" cy="361889"/>
          </a:xfrm>
          <a:prstGeom prst="rect">
            <a:avLst/>
          </a:prstGeom>
          <a:noFill/>
          <a:ln w="28575">
            <a:solidFill>
              <a:srgbClr val="D311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23" name="TextBox 22">
            <a:extLst>
              <a:ext uri="{FF2B5EF4-FFF2-40B4-BE49-F238E27FC236}">
                <a16:creationId xmlns:a16="http://schemas.microsoft.com/office/drawing/2014/main" id="{1EC1F820-17C2-4884-9EC9-849CA65E6CB2}"/>
              </a:ext>
            </a:extLst>
          </p:cNvPr>
          <p:cNvSpPr txBox="1"/>
          <p:nvPr/>
        </p:nvSpPr>
        <p:spPr>
          <a:xfrm>
            <a:off x="4074588" y="6117496"/>
            <a:ext cx="5607295" cy="553998"/>
          </a:xfrm>
          <a:prstGeom prst="rect">
            <a:avLst/>
          </a:prstGeom>
          <a:noFill/>
        </p:spPr>
        <p:txBody>
          <a:bodyPr wrap="square" rtlCol="0">
            <a:spAutoFit/>
          </a:bodyPr>
          <a:lstStyle/>
          <a:p>
            <a:r>
              <a:rPr lang="en-US" sz="1000" i="1" u="sng">
                <a:latin typeface="Arial" panose="020B0604020202020204" pitchFamily="34" charset="0"/>
                <a:cs typeface="Arial" panose="020B0604020202020204" pitchFamily="34" charset="0"/>
              </a:rPr>
              <a:t>Notes: </a:t>
            </a:r>
          </a:p>
          <a:p>
            <a:pPr marL="228600" indent="-228600">
              <a:buAutoNum type="arabicParenR"/>
            </a:pPr>
            <a:r>
              <a:rPr lang="en-US" sz="1000" i="1">
                <a:latin typeface="Arial" panose="020B0604020202020204" pitchFamily="34" charset="0"/>
                <a:cs typeface="Arial" panose="020B0604020202020204" pitchFamily="34" charset="0"/>
              </a:rPr>
              <a:t>Uplift is identified by benchmarking against customers without Cross Sell Trigger flag</a:t>
            </a:r>
          </a:p>
          <a:p>
            <a:pPr marL="228600" indent="-228600">
              <a:buAutoNum type="arabicParenR"/>
            </a:pPr>
            <a:r>
              <a:rPr lang="en-US" sz="1000" i="1">
                <a:latin typeface="Arial" panose="020B0604020202020204" pitchFamily="34" charset="0"/>
                <a:cs typeface="Arial" panose="020B0604020202020204" pitchFamily="34" charset="0"/>
              </a:rPr>
              <a:t>Above is out-of-time validation based on Dec20 snapshot data versus Q1’21 repurchase </a:t>
            </a:r>
          </a:p>
        </p:txBody>
      </p:sp>
      <p:sp>
        <p:nvSpPr>
          <p:cNvPr id="9" name="Google Shape;154;p17">
            <a:extLst>
              <a:ext uri="{FF2B5EF4-FFF2-40B4-BE49-F238E27FC236}">
                <a16:creationId xmlns:a16="http://schemas.microsoft.com/office/drawing/2014/main" id="{698B9A60-0F53-4A79-B1C2-8ABBE3C313D4}"/>
              </a:ext>
            </a:extLst>
          </p:cNvPr>
          <p:cNvSpPr txBox="1"/>
          <p:nvPr/>
        </p:nvSpPr>
        <p:spPr>
          <a:xfrm>
            <a:off x="946373" y="242542"/>
            <a:ext cx="3184564" cy="392159"/>
          </a:xfrm>
          <a:prstGeom prst="rect">
            <a:avLst/>
          </a:prstGeom>
          <a:solidFill>
            <a:srgbClr val="D31145"/>
          </a:solidFill>
          <a:ln>
            <a:noFill/>
          </a:ln>
          <a:effectLst>
            <a:outerShdw blurRad="50800" dist="38100" dir="2700000" algn="tl" rotWithShape="0">
              <a:prstClr val="black">
                <a:alpha val="40000"/>
              </a:prstClr>
            </a:outerShdw>
          </a:effectLst>
        </p:spPr>
        <p:txBody>
          <a:bodyPr spcFirstLastPara="1" wrap="square" lIns="121900" tIns="121900" rIns="121900" bIns="121900" anchor="ctr" anchorCtr="0">
            <a:noAutofit/>
          </a:bodyPr>
          <a:lstStyle/>
          <a:p>
            <a:pPr algn="ctr"/>
            <a:r>
              <a:rPr lang="en" b="1" dirty="0">
                <a:solidFill>
                  <a:schemeClr val="bg1"/>
                </a:solidFill>
                <a:latin typeface="Fira Sans Extra Condensed Medium"/>
                <a:ea typeface="Fira Sans Extra Condensed Medium"/>
                <a:cs typeface="Fira Sans Extra Condensed Medium"/>
                <a:sym typeface="Fira Sans Extra Condensed Medium"/>
              </a:rPr>
              <a:t>Model Impact</a:t>
            </a:r>
            <a:endParaRPr b="1" dirty="0">
              <a:solidFill>
                <a:schemeClr val="bg1"/>
              </a:solidFill>
              <a:latin typeface="Fira Sans Extra Condensed Medium"/>
              <a:ea typeface="Fira Sans Extra Condensed Medium"/>
              <a:cs typeface="Fira Sans Extra Condensed Medium"/>
              <a:sym typeface="Fira Sans Extra Condensed Medium"/>
            </a:endParaRPr>
          </a:p>
        </p:txBody>
      </p:sp>
    </p:spTree>
    <p:extLst>
      <p:ext uri="{BB962C8B-B14F-4D97-AF65-F5344CB8AC3E}">
        <p14:creationId xmlns:p14="http://schemas.microsoft.com/office/powerpoint/2010/main" val="17516412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7">
            <a:extLst>
              <a:ext uri="{FF2B5EF4-FFF2-40B4-BE49-F238E27FC236}">
                <a16:creationId xmlns:a16="http://schemas.microsoft.com/office/drawing/2014/main" id="{ADE3B213-FD8E-4991-85D5-5835330B9F0C}"/>
              </a:ext>
            </a:extLst>
          </p:cNvPr>
          <p:cNvGraphicFramePr>
            <a:graphicFrameLocks noGrp="1"/>
          </p:cNvGraphicFramePr>
          <p:nvPr>
            <p:extLst>
              <p:ext uri="{D42A27DB-BD31-4B8C-83A1-F6EECF244321}">
                <p14:modId xmlns:p14="http://schemas.microsoft.com/office/powerpoint/2010/main" val="24057087"/>
              </p:ext>
            </p:extLst>
          </p:nvPr>
        </p:nvGraphicFramePr>
        <p:xfrm>
          <a:off x="286597" y="2172292"/>
          <a:ext cx="5602123" cy="1971040"/>
        </p:xfrm>
        <a:graphic>
          <a:graphicData uri="http://schemas.openxmlformats.org/drawingml/2006/table">
            <a:tbl>
              <a:tblPr firstRow="1" bandRow="1">
                <a:tableStyleId>{5C22544A-7EE6-4342-B048-85BDC9FD1C3A}</a:tableStyleId>
              </a:tblPr>
              <a:tblGrid>
                <a:gridCol w="1031874">
                  <a:extLst>
                    <a:ext uri="{9D8B030D-6E8A-4147-A177-3AD203B41FA5}">
                      <a16:colId xmlns:a16="http://schemas.microsoft.com/office/drawing/2014/main" val="922225153"/>
                    </a:ext>
                  </a:extLst>
                </a:gridCol>
                <a:gridCol w="835501">
                  <a:extLst>
                    <a:ext uri="{9D8B030D-6E8A-4147-A177-3AD203B41FA5}">
                      <a16:colId xmlns:a16="http://schemas.microsoft.com/office/drawing/2014/main" val="3558129462"/>
                    </a:ext>
                  </a:extLst>
                </a:gridCol>
                <a:gridCol w="933687">
                  <a:extLst>
                    <a:ext uri="{9D8B030D-6E8A-4147-A177-3AD203B41FA5}">
                      <a16:colId xmlns:a16="http://schemas.microsoft.com/office/drawing/2014/main" val="1049930210"/>
                    </a:ext>
                  </a:extLst>
                </a:gridCol>
                <a:gridCol w="933687">
                  <a:extLst>
                    <a:ext uri="{9D8B030D-6E8A-4147-A177-3AD203B41FA5}">
                      <a16:colId xmlns:a16="http://schemas.microsoft.com/office/drawing/2014/main" val="59311352"/>
                    </a:ext>
                  </a:extLst>
                </a:gridCol>
                <a:gridCol w="933687">
                  <a:extLst>
                    <a:ext uri="{9D8B030D-6E8A-4147-A177-3AD203B41FA5}">
                      <a16:colId xmlns:a16="http://schemas.microsoft.com/office/drawing/2014/main" val="3754886990"/>
                    </a:ext>
                  </a:extLst>
                </a:gridCol>
                <a:gridCol w="933687">
                  <a:extLst>
                    <a:ext uri="{9D8B030D-6E8A-4147-A177-3AD203B41FA5}">
                      <a16:colId xmlns:a16="http://schemas.microsoft.com/office/drawing/2014/main" val="3224592130"/>
                    </a:ext>
                  </a:extLst>
                </a:gridCol>
              </a:tblGrid>
              <a:tr h="370840">
                <a:tc>
                  <a:txBody>
                    <a:bodyPr/>
                    <a:lstStyle/>
                    <a:p>
                      <a:r>
                        <a:rPr lang="en-US" sz="1300"/>
                        <a:t>Customer</a:t>
                      </a:r>
                    </a:p>
                  </a:txBody>
                  <a:tcPr/>
                </a:tc>
                <a:tc>
                  <a:txBody>
                    <a:bodyPr/>
                    <a:lstStyle/>
                    <a:p>
                      <a:pPr algn="ctr"/>
                      <a:r>
                        <a:rPr lang="en-US" sz="1300" dirty="0"/>
                        <a:t>Flag 1</a:t>
                      </a:r>
                    </a:p>
                  </a:txBody>
                  <a:tcPr/>
                </a:tc>
                <a:tc>
                  <a:txBody>
                    <a:bodyPr/>
                    <a:lstStyle/>
                    <a:p>
                      <a:pPr algn="ctr"/>
                      <a:r>
                        <a:rPr lang="en-US" sz="1300"/>
                        <a:t>Flag 2</a:t>
                      </a:r>
                    </a:p>
                  </a:txBody>
                  <a:tcPr/>
                </a:tc>
                <a:tc>
                  <a:txBody>
                    <a:bodyPr/>
                    <a:lstStyle/>
                    <a:p>
                      <a:pPr algn="ctr"/>
                      <a:r>
                        <a:rPr lang="en-US" sz="1300"/>
                        <a:t>Flag 3</a:t>
                      </a:r>
                    </a:p>
                  </a:txBody>
                  <a:tcPr/>
                </a:tc>
                <a:tc>
                  <a:txBody>
                    <a:bodyPr/>
                    <a:lstStyle/>
                    <a:p>
                      <a:pPr lvl="0" algn="ctr">
                        <a:buNone/>
                      </a:pPr>
                      <a:r>
                        <a:rPr lang="en-US" sz="1300"/>
                        <a:t>Flag 4</a:t>
                      </a:r>
                    </a:p>
                  </a:txBody>
                  <a:tcPr/>
                </a:tc>
                <a:tc>
                  <a:txBody>
                    <a:bodyPr/>
                    <a:lstStyle/>
                    <a:p>
                      <a:pPr algn="ctr"/>
                      <a:r>
                        <a:rPr lang="en-US" sz="1300"/>
                        <a:t>Repurchase</a:t>
                      </a:r>
                    </a:p>
                  </a:txBody>
                  <a:tcPr/>
                </a:tc>
                <a:extLst>
                  <a:ext uri="{0D108BD9-81ED-4DB2-BD59-A6C34878D82A}">
                    <a16:rowId xmlns:a16="http://schemas.microsoft.com/office/drawing/2014/main" val="2907259190"/>
                  </a:ext>
                </a:extLst>
              </a:tr>
              <a:tr h="370840">
                <a:tc>
                  <a:txBody>
                    <a:bodyPr/>
                    <a:lstStyle/>
                    <a:p>
                      <a:r>
                        <a:rPr lang="en-US" sz="1300"/>
                        <a:t>Cust A</a:t>
                      </a:r>
                    </a:p>
                  </a:txBody>
                  <a:tcPr/>
                </a:tc>
                <a:tc>
                  <a:txBody>
                    <a:bodyPr/>
                    <a:lstStyle/>
                    <a:p>
                      <a:pPr algn="ctr"/>
                      <a:r>
                        <a:rPr lang="en-US" sz="1300"/>
                        <a:t>Y</a:t>
                      </a:r>
                    </a:p>
                  </a:txBody>
                  <a:tcPr/>
                </a:tc>
                <a:tc>
                  <a:txBody>
                    <a:bodyPr/>
                    <a:lstStyle/>
                    <a:p>
                      <a:pPr lvl="0" algn="ctr">
                        <a:buNone/>
                      </a:pPr>
                      <a:r>
                        <a:rPr lang="en-US" sz="1300" b="0" i="0" u="none" strike="noStrike" noProof="0">
                          <a:latin typeface="Arial"/>
                        </a:rPr>
                        <a:t>Y</a:t>
                      </a:r>
                      <a:endParaRPr lang="en-US" sz="1300"/>
                    </a:p>
                  </a:txBody>
                  <a:tcPr/>
                </a:tc>
                <a:tc>
                  <a:txBody>
                    <a:bodyPr/>
                    <a:lstStyle/>
                    <a:p>
                      <a:pPr algn="ctr"/>
                      <a:r>
                        <a:rPr lang="en-US" sz="1300"/>
                        <a:t>Y</a:t>
                      </a:r>
                    </a:p>
                  </a:txBody>
                  <a:tcPr/>
                </a:tc>
                <a:tc>
                  <a:txBody>
                    <a:bodyPr/>
                    <a:lstStyle/>
                    <a:p>
                      <a:pPr lvl="0" algn="ctr">
                        <a:buNone/>
                      </a:pPr>
                      <a:r>
                        <a:rPr lang="en-US" sz="1300"/>
                        <a:t>N</a:t>
                      </a:r>
                    </a:p>
                  </a:txBody>
                  <a:tcPr/>
                </a:tc>
                <a:tc>
                  <a:txBody>
                    <a:bodyPr/>
                    <a:lstStyle/>
                    <a:p>
                      <a:pPr algn="ctr"/>
                      <a:r>
                        <a:rPr lang="en-US" sz="1300"/>
                        <a:t>0</a:t>
                      </a:r>
                    </a:p>
                  </a:txBody>
                  <a:tcPr/>
                </a:tc>
                <a:extLst>
                  <a:ext uri="{0D108BD9-81ED-4DB2-BD59-A6C34878D82A}">
                    <a16:rowId xmlns:a16="http://schemas.microsoft.com/office/drawing/2014/main" val="150542838"/>
                  </a:ext>
                </a:extLst>
              </a:tr>
              <a:tr h="370840">
                <a:tc>
                  <a:txBody>
                    <a:bodyPr/>
                    <a:lstStyle/>
                    <a:p>
                      <a:r>
                        <a:rPr lang="en-US" sz="1300"/>
                        <a:t>Cust B</a:t>
                      </a:r>
                    </a:p>
                  </a:txBody>
                  <a:tcPr/>
                </a:tc>
                <a:tc>
                  <a:txBody>
                    <a:bodyPr/>
                    <a:lstStyle/>
                    <a:p>
                      <a:pPr lvl="0" algn="ctr">
                        <a:buNone/>
                      </a:pPr>
                      <a:r>
                        <a:rPr lang="en-US" sz="1300"/>
                        <a:t>Y</a:t>
                      </a:r>
                    </a:p>
                  </a:txBody>
                  <a:tcPr/>
                </a:tc>
                <a:tc>
                  <a:txBody>
                    <a:bodyPr/>
                    <a:lstStyle/>
                    <a:p>
                      <a:pPr lvl="0" algn="ctr">
                        <a:buNone/>
                      </a:pPr>
                      <a:r>
                        <a:rPr lang="en-US" sz="1300" b="0" i="0" u="none" strike="noStrike" noProof="0">
                          <a:latin typeface="Arial"/>
                        </a:rPr>
                        <a:t>Y</a:t>
                      </a:r>
                      <a:endParaRPr lang="en-US" sz="1300"/>
                    </a:p>
                  </a:txBody>
                  <a:tcPr/>
                </a:tc>
                <a:tc>
                  <a:txBody>
                    <a:bodyPr/>
                    <a:lstStyle/>
                    <a:p>
                      <a:pPr lvl="0" algn="ctr">
                        <a:buNone/>
                      </a:pPr>
                      <a:r>
                        <a:rPr lang="en-US" sz="1300"/>
                        <a:t>N</a:t>
                      </a:r>
                    </a:p>
                  </a:txBody>
                  <a:tcPr/>
                </a:tc>
                <a:tc>
                  <a:txBody>
                    <a:bodyPr/>
                    <a:lstStyle/>
                    <a:p>
                      <a:pPr lvl="0" algn="ctr">
                        <a:buNone/>
                      </a:pPr>
                      <a:r>
                        <a:rPr lang="en-US" sz="1300" b="0" i="0" u="none" strike="noStrike" noProof="0">
                          <a:latin typeface="Arial"/>
                        </a:rPr>
                        <a:t>Y</a:t>
                      </a:r>
                      <a:endParaRPr lang="en-US" sz="1300"/>
                    </a:p>
                  </a:txBody>
                  <a:tcPr/>
                </a:tc>
                <a:tc>
                  <a:txBody>
                    <a:bodyPr/>
                    <a:lstStyle/>
                    <a:p>
                      <a:pPr algn="ctr"/>
                      <a:r>
                        <a:rPr lang="en-US" sz="1300"/>
                        <a:t>1</a:t>
                      </a:r>
                    </a:p>
                  </a:txBody>
                  <a:tcPr/>
                </a:tc>
                <a:extLst>
                  <a:ext uri="{0D108BD9-81ED-4DB2-BD59-A6C34878D82A}">
                    <a16:rowId xmlns:a16="http://schemas.microsoft.com/office/drawing/2014/main" val="3045980014"/>
                  </a:ext>
                </a:extLst>
              </a:tr>
              <a:tr h="370840">
                <a:tc>
                  <a:txBody>
                    <a:bodyPr/>
                    <a:lstStyle/>
                    <a:p>
                      <a:r>
                        <a:rPr lang="en-US" sz="1300"/>
                        <a:t>Cust C</a:t>
                      </a:r>
                    </a:p>
                  </a:txBody>
                  <a:tcPr/>
                </a:tc>
                <a:tc>
                  <a:txBody>
                    <a:bodyPr/>
                    <a:lstStyle/>
                    <a:p>
                      <a:pPr lvl="0" algn="ctr">
                        <a:buNone/>
                      </a:pPr>
                      <a:r>
                        <a:rPr lang="en-US" sz="1300" b="0" i="0" u="none" strike="noStrike" noProof="0">
                          <a:latin typeface="Arial"/>
                        </a:rPr>
                        <a:t>Y</a:t>
                      </a:r>
                      <a:endParaRPr lang="en-US" sz="1300"/>
                    </a:p>
                  </a:txBody>
                  <a:tcPr/>
                </a:tc>
                <a:tc>
                  <a:txBody>
                    <a:bodyPr/>
                    <a:lstStyle/>
                    <a:p>
                      <a:pPr lvl="0" algn="ctr">
                        <a:buNone/>
                      </a:pPr>
                      <a:r>
                        <a:rPr lang="en-US" sz="1300" b="0" i="0" u="none" strike="noStrike" noProof="0">
                          <a:latin typeface="Arial"/>
                        </a:rPr>
                        <a:t>N</a:t>
                      </a:r>
                      <a:endParaRPr lang="en-US" sz="1300"/>
                    </a:p>
                  </a:txBody>
                  <a:tcPr/>
                </a:tc>
                <a:tc>
                  <a:txBody>
                    <a:bodyPr/>
                    <a:lstStyle/>
                    <a:p>
                      <a:pPr lvl="0" algn="ctr">
                        <a:buNone/>
                      </a:pPr>
                      <a:r>
                        <a:rPr lang="en-US" sz="1300" b="0" i="0" u="none" strike="noStrike" noProof="0">
                          <a:latin typeface="Arial"/>
                        </a:rPr>
                        <a:t>Y</a:t>
                      </a:r>
                      <a:endParaRPr lang="en-US" sz="1300"/>
                    </a:p>
                  </a:txBody>
                  <a:tcPr/>
                </a:tc>
                <a:tc>
                  <a:txBody>
                    <a:bodyPr/>
                    <a:lstStyle/>
                    <a:p>
                      <a:pPr lvl="0" algn="ctr">
                        <a:buNone/>
                      </a:pPr>
                      <a:r>
                        <a:rPr lang="en-US" sz="1300" b="0" i="0" u="none" strike="noStrike" noProof="0">
                          <a:latin typeface="Arial"/>
                        </a:rPr>
                        <a:t>N</a:t>
                      </a:r>
                      <a:endParaRPr lang="en-US" sz="1300"/>
                    </a:p>
                  </a:txBody>
                  <a:tcPr/>
                </a:tc>
                <a:tc>
                  <a:txBody>
                    <a:bodyPr/>
                    <a:lstStyle/>
                    <a:p>
                      <a:pPr algn="ctr"/>
                      <a:r>
                        <a:rPr lang="en-US" sz="1300"/>
                        <a:t>0</a:t>
                      </a:r>
                    </a:p>
                  </a:txBody>
                  <a:tcPr/>
                </a:tc>
                <a:extLst>
                  <a:ext uri="{0D108BD9-81ED-4DB2-BD59-A6C34878D82A}">
                    <a16:rowId xmlns:a16="http://schemas.microsoft.com/office/drawing/2014/main" val="4234525640"/>
                  </a:ext>
                </a:extLst>
              </a:tr>
              <a:tr h="370840">
                <a:tc>
                  <a:txBody>
                    <a:bodyPr/>
                    <a:lstStyle/>
                    <a:p>
                      <a:r>
                        <a:rPr lang="en-US" sz="1300"/>
                        <a:t>Cust D</a:t>
                      </a:r>
                    </a:p>
                  </a:txBody>
                  <a:tcPr/>
                </a:tc>
                <a:tc>
                  <a:txBody>
                    <a:bodyPr/>
                    <a:lstStyle/>
                    <a:p>
                      <a:pPr lvl="0" algn="ctr">
                        <a:buNone/>
                      </a:pPr>
                      <a:r>
                        <a:rPr lang="en-US" sz="1300" b="0" i="0" u="none" strike="noStrike" noProof="0">
                          <a:latin typeface="Arial"/>
                        </a:rPr>
                        <a:t>Y</a:t>
                      </a:r>
                      <a:endParaRPr lang="en-US" sz="1300"/>
                    </a:p>
                  </a:txBody>
                  <a:tcPr/>
                </a:tc>
                <a:tc>
                  <a:txBody>
                    <a:bodyPr/>
                    <a:lstStyle/>
                    <a:p>
                      <a:pPr lvl="0" algn="ctr">
                        <a:buNone/>
                      </a:pPr>
                      <a:r>
                        <a:rPr lang="en-US" sz="1300" b="0" i="0" u="none" strike="noStrike" noProof="0">
                          <a:latin typeface="Arial"/>
                        </a:rPr>
                        <a:t>N</a:t>
                      </a:r>
                      <a:endParaRPr lang="en-US" sz="1300"/>
                    </a:p>
                  </a:txBody>
                  <a:tcPr/>
                </a:tc>
                <a:tc>
                  <a:txBody>
                    <a:bodyPr/>
                    <a:lstStyle/>
                    <a:p>
                      <a:pPr lvl="0" algn="ctr">
                        <a:buNone/>
                      </a:pPr>
                      <a:r>
                        <a:rPr lang="en-US" sz="1300" b="0" i="0" u="none" strike="noStrike" noProof="0">
                          <a:latin typeface="Arial"/>
                        </a:rPr>
                        <a:t>N</a:t>
                      </a:r>
                      <a:endParaRPr lang="en-US" sz="1300"/>
                    </a:p>
                  </a:txBody>
                  <a:tcPr/>
                </a:tc>
                <a:tc>
                  <a:txBody>
                    <a:bodyPr/>
                    <a:lstStyle/>
                    <a:p>
                      <a:pPr lvl="0" algn="ctr">
                        <a:buNone/>
                      </a:pPr>
                      <a:r>
                        <a:rPr lang="en-US" sz="1300" b="0" i="0" u="none" strike="noStrike" noProof="0">
                          <a:latin typeface="Arial"/>
                        </a:rPr>
                        <a:t>Y</a:t>
                      </a:r>
                      <a:endParaRPr lang="en-US" sz="1300"/>
                    </a:p>
                  </a:txBody>
                  <a:tcPr/>
                </a:tc>
                <a:tc>
                  <a:txBody>
                    <a:bodyPr/>
                    <a:lstStyle/>
                    <a:p>
                      <a:pPr algn="ctr"/>
                      <a:r>
                        <a:rPr lang="en-US" sz="1300" dirty="0"/>
                        <a:t>1</a:t>
                      </a:r>
                    </a:p>
                  </a:txBody>
                  <a:tcPr/>
                </a:tc>
                <a:extLst>
                  <a:ext uri="{0D108BD9-81ED-4DB2-BD59-A6C34878D82A}">
                    <a16:rowId xmlns:a16="http://schemas.microsoft.com/office/drawing/2014/main" val="5796656"/>
                  </a:ext>
                </a:extLst>
              </a:tr>
            </a:tbl>
          </a:graphicData>
        </a:graphic>
      </p:graphicFrame>
      <p:graphicFrame>
        <p:nvGraphicFramePr>
          <p:cNvPr id="18" name="Table 18">
            <a:extLst>
              <a:ext uri="{FF2B5EF4-FFF2-40B4-BE49-F238E27FC236}">
                <a16:creationId xmlns:a16="http://schemas.microsoft.com/office/drawing/2014/main" id="{09C4E9ED-5ABF-4C5D-AF54-A8B70D65DE89}"/>
              </a:ext>
            </a:extLst>
          </p:cNvPr>
          <p:cNvGraphicFramePr>
            <a:graphicFrameLocks noGrp="1"/>
          </p:cNvGraphicFramePr>
          <p:nvPr>
            <p:extLst>
              <p:ext uri="{D42A27DB-BD31-4B8C-83A1-F6EECF244321}">
                <p14:modId xmlns:p14="http://schemas.microsoft.com/office/powerpoint/2010/main" val="161393151"/>
              </p:ext>
            </p:extLst>
          </p:nvPr>
        </p:nvGraphicFramePr>
        <p:xfrm>
          <a:off x="244264" y="1643125"/>
          <a:ext cx="5588851" cy="457200"/>
        </p:xfrm>
        <a:graphic>
          <a:graphicData uri="http://schemas.openxmlformats.org/drawingml/2006/table">
            <a:tbl>
              <a:tblPr firstRow="1" bandRow="1">
                <a:tableStyleId>{5C22544A-7EE6-4342-B048-85BDC9FD1C3A}</a:tableStyleId>
              </a:tblPr>
              <a:tblGrid>
                <a:gridCol w="1098020">
                  <a:extLst>
                    <a:ext uri="{9D8B030D-6E8A-4147-A177-3AD203B41FA5}">
                      <a16:colId xmlns:a16="http://schemas.microsoft.com/office/drawing/2014/main" val="2843096687"/>
                    </a:ext>
                  </a:extLst>
                </a:gridCol>
                <a:gridCol w="764931">
                  <a:extLst>
                    <a:ext uri="{9D8B030D-6E8A-4147-A177-3AD203B41FA5}">
                      <a16:colId xmlns:a16="http://schemas.microsoft.com/office/drawing/2014/main" val="3791877010"/>
                    </a:ext>
                  </a:extLst>
                </a:gridCol>
                <a:gridCol w="931475">
                  <a:extLst>
                    <a:ext uri="{9D8B030D-6E8A-4147-A177-3AD203B41FA5}">
                      <a16:colId xmlns:a16="http://schemas.microsoft.com/office/drawing/2014/main" val="2942471938"/>
                    </a:ext>
                  </a:extLst>
                </a:gridCol>
                <a:gridCol w="931475">
                  <a:extLst>
                    <a:ext uri="{9D8B030D-6E8A-4147-A177-3AD203B41FA5}">
                      <a16:colId xmlns:a16="http://schemas.microsoft.com/office/drawing/2014/main" val="310873337"/>
                    </a:ext>
                  </a:extLst>
                </a:gridCol>
                <a:gridCol w="931475">
                  <a:extLst>
                    <a:ext uri="{9D8B030D-6E8A-4147-A177-3AD203B41FA5}">
                      <a16:colId xmlns:a16="http://schemas.microsoft.com/office/drawing/2014/main" val="85926500"/>
                    </a:ext>
                  </a:extLst>
                </a:gridCol>
                <a:gridCol w="931475">
                  <a:extLst>
                    <a:ext uri="{9D8B030D-6E8A-4147-A177-3AD203B41FA5}">
                      <a16:colId xmlns:a16="http://schemas.microsoft.com/office/drawing/2014/main" val="2525471965"/>
                    </a:ext>
                  </a:extLst>
                </a:gridCol>
              </a:tblGrid>
              <a:tr h="370840">
                <a:tc>
                  <a:txBody>
                    <a:bodyPr/>
                    <a:lstStyle/>
                    <a:p>
                      <a:r>
                        <a:rPr lang="en-US" sz="1200">
                          <a:solidFill>
                            <a:schemeClr val="tx1"/>
                          </a:solidFill>
                        </a:rPr>
                        <a:t>Repurchase Rate:</a:t>
                      </a:r>
                      <a:endParaRPr lang="en-US" sz="1200" dirty="0">
                        <a:solidFill>
                          <a:schemeClr val="tx1"/>
                        </a:solidFill>
                      </a:endParaRPr>
                    </a:p>
                  </a:txBody>
                  <a:tcPr anchor="ctr">
                    <a:noFill/>
                  </a:tcPr>
                </a:tc>
                <a:tc>
                  <a:txBody>
                    <a:bodyPr/>
                    <a:lstStyle/>
                    <a:p>
                      <a:pPr algn="ctr"/>
                      <a:r>
                        <a:rPr lang="en-US" sz="1200">
                          <a:solidFill>
                            <a:schemeClr val="tx1"/>
                          </a:solidFill>
                        </a:rPr>
                        <a:t>0.1</a:t>
                      </a:r>
                      <a:endParaRPr lang="en-US" sz="1200" dirty="0">
                        <a:solidFill>
                          <a:schemeClr val="tx1"/>
                        </a:solidFill>
                      </a:endParaRPr>
                    </a:p>
                  </a:txBody>
                  <a:tcPr anchor="ctr">
                    <a:noFill/>
                  </a:tcPr>
                </a:tc>
                <a:tc>
                  <a:txBody>
                    <a:bodyPr/>
                    <a:lstStyle/>
                    <a:p>
                      <a:pPr algn="ctr"/>
                      <a:r>
                        <a:rPr lang="en-US" sz="1200">
                          <a:solidFill>
                            <a:schemeClr val="tx1"/>
                          </a:solidFill>
                        </a:rPr>
                        <a:t>0.15</a:t>
                      </a:r>
                      <a:endParaRPr lang="en-US" sz="1200" dirty="0">
                        <a:solidFill>
                          <a:schemeClr val="tx1"/>
                        </a:solidFill>
                      </a:endParaRPr>
                    </a:p>
                  </a:txBody>
                  <a:tcPr anchor="ctr">
                    <a:noFill/>
                  </a:tcPr>
                </a:tc>
                <a:tc>
                  <a:txBody>
                    <a:bodyPr/>
                    <a:lstStyle/>
                    <a:p>
                      <a:pPr algn="ctr"/>
                      <a:r>
                        <a:rPr lang="en-US" sz="1200">
                          <a:solidFill>
                            <a:schemeClr val="tx1"/>
                          </a:solidFill>
                        </a:rPr>
                        <a:t>0.2</a:t>
                      </a:r>
                      <a:endParaRPr lang="en-US" sz="1200" dirty="0">
                        <a:solidFill>
                          <a:schemeClr val="tx1"/>
                        </a:solidFill>
                      </a:endParaRPr>
                    </a:p>
                  </a:txBody>
                  <a:tcPr anchor="ctr">
                    <a:noFill/>
                  </a:tcPr>
                </a:tc>
                <a:tc>
                  <a:txBody>
                    <a:bodyPr/>
                    <a:lstStyle/>
                    <a:p>
                      <a:pPr algn="ctr"/>
                      <a:r>
                        <a:rPr lang="en-US" sz="1200">
                          <a:solidFill>
                            <a:schemeClr val="tx1"/>
                          </a:solidFill>
                        </a:rPr>
                        <a:t>0.3</a:t>
                      </a:r>
                      <a:endParaRPr lang="en-US" sz="1200" dirty="0">
                        <a:solidFill>
                          <a:schemeClr val="tx1"/>
                        </a:solidFill>
                      </a:endParaRPr>
                    </a:p>
                  </a:txBody>
                  <a:tcPr anchor="ctr">
                    <a:noFill/>
                  </a:tcPr>
                </a:tc>
                <a:tc>
                  <a:txBody>
                    <a:bodyPr/>
                    <a:lstStyle/>
                    <a:p>
                      <a:pPr algn="ctr"/>
                      <a:endParaRPr lang="en-US" sz="1200" dirty="0">
                        <a:solidFill>
                          <a:schemeClr val="tx1"/>
                        </a:solidFill>
                      </a:endParaRPr>
                    </a:p>
                  </a:txBody>
                  <a:tcPr anchor="ctr">
                    <a:noFill/>
                  </a:tcPr>
                </a:tc>
                <a:extLst>
                  <a:ext uri="{0D108BD9-81ED-4DB2-BD59-A6C34878D82A}">
                    <a16:rowId xmlns:a16="http://schemas.microsoft.com/office/drawing/2014/main" val="2326737650"/>
                  </a:ext>
                </a:extLst>
              </a:tr>
            </a:tbl>
          </a:graphicData>
        </a:graphic>
      </p:graphicFrame>
      <p:graphicFrame>
        <p:nvGraphicFramePr>
          <p:cNvPr id="19" name="Table 17">
            <a:extLst>
              <a:ext uri="{FF2B5EF4-FFF2-40B4-BE49-F238E27FC236}">
                <a16:creationId xmlns:a16="http://schemas.microsoft.com/office/drawing/2014/main" id="{BD70C0B8-BEA7-41E5-9A7A-569BF4AF4C19}"/>
              </a:ext>
            </a:extLst>
          </p:cNvPr>
          <p:cNvGraphicFramePr>
            <a:graphicFrameLocks noGrp="1"/>
          </p:cNvGraphicFramePr>
          <p:nvPr>
            <p:extLst>
              <p:ext uri="{D42A27DB-BD31-4B8C-83A1-F6EECF244321}">
                <p14:modId xmlns:p14="http://schemas.microsoft.com/office/powerpoint/2010/main" val="2275628149"/>
              </p:ext>
            </p:extLst>
          </p:nvPr>
        </p:nvGraphicFramePr>
        <p:xfrm>
          <a:off x="6297929" y="2172291"/>
          <a:ext cx="5602123" cy="1971040"/>
        </p:xfrm>
        <a:graphic>
          <a:graphicData uri="http://schemas.openxmlformats.org/drawingml/2006/table">
            <a:tbl>
              <a:tblPr firstRow="1" bandRow="1">
                <a:tableStyleId>{5C22544A-7EE6-4342-B048-85BDC9FD1C3A}</a:tableStyleId>
              </a:tblPr>
              <a:tblGrid>
                <a:gridCol w="1005416">
                  <a:extLst>
                    <a:ext uri="{9D8B030D-6E8A-4147-A177-3AD203B41FA5}">
                      <a16:colId xmlns:a16="http://schemas.microsoft.com/office/drawing/2014/main" val="922225153"/>
                    </a:ext>
                  </a:extLst>
                </a:gridCol>
                <a:gridCol w="861959">
                  <a:extLst>
                    <a:ext uri="{9D8B030D-6E8A-4147-A177-3AD203B41FA5}">
                      <a16:colId xmlns:a16="http://schemas.microsoft.com/office/drawing/2014/main" val="3558129462"/>
                    </a:ext>
                  </a:extLst>
                </a:gridCol>
                <a:gridCol w="933687">
                  <a:extLst>
                    <a:ext uri="{9D8B030D-6E8A-4147-A177-3AD203B41FA5}">
                      <a16:colId xmlns:a16="http://schemas.microsoft.com/office/drawing/2014/main" val="1049930210"/>
                    </a:ext>
                  </a:extLst>
                </a:gridCol>
                <a:gridCol w="933687">
                  <a:extLst>
                    <a:ext uri="{9D8B030D-6E8A-4147-A177-3AD203B41FA5}">
                      <a16:colId xmlns:a16="http://schemas.microsoft.com/office/drawing/2014/main" val="59311352"/>
                    </a:ext>
                  </a:extLst>
                </a:gridCol>
                <a:gridCol w="933687">
                  <a:extLst>
                    <a:ext uri="{9D8B030D-6E8A-4147-A177-3AD203B41FA5}">
                      <a16:colId xmlns:a16="http://schemas.microsoft.com/office/drawing/2014/main" val="3754886990"/>
                    </a:ext>
                  </a:extLst>
                </a:gridCol>
                <a:gridCol w="933687">
                  <a:extLst>
                    <a:ext uri="{9D8B030D-6E8A-4147-A177-3AD203B41FA5}">
                      <a16:colId xmlns:a16="http://schemas.microsoft.com/office/drawing/2014/main" val="3224592130"/>
                    </a:ext>
                  </a:extLst>
                </a:gridCol>
              </a:tblGrid>
              <a:tr h="370840">
                <a:tc>
                  <a:txBody>
                    <a:bodyPr/>
                    <a:lstStyle/>
                    <a:p>
                      <a:r>
                        <a:rPr lang="en-US" sz="1300"/>
                        <a:t>Customer</a:t>
                      </a:r>
                    </a:p>
                  </a:txBody>
                  <a:tcPr/>
                </a:tc>
                <a:tc>
                  <a:txBody>
                    <a:bodyPr/>
                    <a:lstStyle/>
                    <a:p>
                      <a:pPr algn="ctr"/>
                      <a:r>
                        <a:rPr lang="en-US" sz="1300"/>
                        <a:t>Flag 1</a:t>
                      </a:r>
                    </a:p>
                  </a:txBody>
                  <a:tcPr/>
                </a:tc>
                <a:tc>
                  <a:txBody>
                    <a:bodyPr/>
                    <a:lstStyle/>
                    <a:p>
                      <a:pPr algn="ctr"/>
                      <a:r>
                        <a:rPr lang="en-US" sz="1300"/>
                        <a:t>Flag 2</a:t>
                      </a:r>
                    </a:p>
                  </a:txBody>
                  <a:tcPr/>
                </a:tc>
                <a:tc>
                  <a:txBody>
                    <a:bodyPr/>
                    <a:lstStyle/>
                    <a:p>
                      <a:pPr algn="ctr"/>
                      <a:r>
                        <a:rPr lang="en-US" sz="1300"/>
                        <a:t>Flag 3</a:t>
                      </a:r>
                    </a:p>
                  </a:txBody>
                  <a:tcPr/>
                </a:tc>
                <a:tc>
                  <a:txBody>
                    <a:bodyPr/>
                    <a:lstStyle/>
                    <a:p>
                      <a:pPr lvl="0" algn="ctr">
                        <a:buNone/>
                      </a:pPr>
                      <a:r>
                        <a:rPr lang="en-US" sz="1300"/>
                        <a:t>Flag 4</a:t>
                      </a:r>
                    </a:p>
                  </a:txBody>
                  <a:tcPr/>
                </a:tc>
                <a:tc>
                  <a:txBody>
                    <a:bodyPr/>
                    <a:lstStyle/>
                    <a:p>
                      <a:pPr algn="ctr"/>
                      <a:r>
                        <a:rPr lang="en-US" sz="1300"/>
                        <a:t>Repurchase</a:t>
                      </a:r>
                    </a:p>
                  </a:txBody>
                  <a:tcPr/>
                </a:tc>
                <a:extLst>
                  <a:ext uri="{0D108BD9-81ED-4DB2-BD59-A6C34878D82A}">
                    <a16:rowId xmlns:a16="http://schemas.microsoft.com/office/drawing/2014/main" val="2907259190"/>
                  </a:ext>
                </a:extLst>
              </a:tr>
              <a:tr h="370840">
                <a:tc>
                  <a:txBody>
                    <a:bodyPr/>
                    <a:lstStyle/>
                    <a:p>
                      <a:r>
                        <a:rPr lang="en-US" sz="1300"/>
                        <a:t>Cust A</a:t>
                      </a:r>
                    </a:p>
                  </a:txBody>
                  <a:tcPr/>
                </a:tc>
                <a:tc>
                  <a:txBody>
                    <a:bodyPr/>
                    <a:lstStyle/>
                    <a:p>
                      <a:pPr lvl="0" algn="ctr">
                        <a:buNone/>
                      </a:pPr>
                      <a:r>
                        <a:rPr lang="en-US" sz="1300"/>
                        <a:t>-0.033</a:t>
                      </a:r>
                    </a:p>
                  </a:txBody>
                  <a:tcPr/>
                </a:tc>
                <a:tc>
                  <a:txBody>
                    <a:bodyPr/>
                    <a:lstStyle/>
                    <a:p>
                      <a:pPr lvl="0" algn="ctr">
                        <a:buNone/>
                      </a:pPr>
                      <a:r>
                        <a:rPr lang="en-US" sz="1300" b="0" i="0" u="none" strike="noStrike" noProof="0">
                          <a:latin typeface="Arial"/>
                        </a:rPr>
                        <a:t>-0.05</a:t>
                      </a:r>
                      <a:endParaRPr lang="en-US"/>
                    </a:p>
                  </a:txBody>
                  <a:tcPr/>
                </a:tc>
                <a:tc>
                  <a:txBody>
                    <a:bodyPr/>
                    <a:lstStyle/>
                    <a:p>
                      <a:pPr lvl="0" algn="ctr">
                        <a:buNone/>
                      </a:pPr>
                      <a:r>
                        <a:rPr lang="en-US" sz="1300"/>
                        <a:t>-0.06</a:t>
                      </a:r>
                    </a:p>
                  </a:txBody>
                  <a:tcPr/>
                </a:tc>
                <a:tc>
                  <a:txBody>
                    <a:bodyPr/>
                    <a:lstStyle/>
                    <a:p>
                      <a:pPr lvl="0" algn="ctr">
                        <a:buNone/>
                      </a:pPr>
                      <a:r>
                        <a:rPr lang="en-US" sz="1300"/>
                        <a:t>0</a:t>
                      </a:r>
                    </a:p>
                  </a:txBody>
                  <a:tcPr/>
                </a:tc>
                <a:tc>
                  <a:txBody>
                    <a:bodyPr/>
                    <a:lstStyle/>
                    <a:p>
                      <a:pPr algn="ctr"/>
                      <a:r>
                        <a:rPr lang="en-US" sz="1300"/>
                        <a:t>0</a:t>
                      </a:r>
                    </a:p>
                  </a:txBody>
                  <a:tcPr/>
                </a:tc>
                <a:extLst>
                  <a:ext uri="{0D108BD9-81ED-4DB2-BD59-A6C34878D82A}">
                    <a16:rowId xmlns:a16="http://schemas.microsoft.com/office/drawing/2014/main" val="150542838"/>
                  </a:ext>
                </a:extLst>
              </a:tr>
              <a:tr h="370840">
                <a:tc>
                  <a:txBody>
                    <a:bodyPr/>
                    <a:lstStyle/>
                    <a:p>
                      <a:r>
                        <a:rPr lang="en-US" sz="1300"/>
                        <a:t>Cust B</a:t>
                      </a:r>
                    </a:p>
                  </a:txBody>
                  <a:tcPr/>
                </a:tc>
                <a:tc>
                  <a:txBody>
                    <a:bodyPr/>
                    <a:lstStyle/>
                    <a:p>
                      <a:pPr lvl="0" algn="ctr">
                        <a:buNone/>
                      </a:pPr>
                      <a:r>
                        <a:rPr lang="en-US" sz="1300" b="0" i="0" u="none" strike="noStrike" noProof="0">
                          <a:latin typeface="Arial"/>
                        </a:rPr>
                        <a:t>0.033</a:t>
                      </a:r>
                      <a:endParaRPr lang="en-US" sz="1300"/>
                    </a:p>
                  </a:txBody>
                  <a:tcPr/>
                </a:tc>
                <a:tc>
                  <a:txBody>
                    <a:bodyPr/>
                    <a:lstStyle/>
                    <a:p>
                      <a:pPr lvl="0" algn="ctr">
                        <a:buNone/>
                      </a:pPr>
                      <a:r>
                        <a:rPr lang="en-US" sz="1300" b="0" i="0" u="none" strike="noStrike" noProof="0">
                          <a:latin typeface="Arial"/>
                        </a:rPr>
                        <a:t>0.05</a:t>
                      </a:r>
                      <a:endParaRPr lang="en-US" sz="1300"/>
                    </a:p>
                  </a:txBody>
                  <a:tcPr/>
                </a:tc>
                <a:tc>
                  <a:txBody>
                    <a:bodyPr/>
                    <a:lstStyle/>
                    <a:p>
                      <a:pPr lvl="0" algn="ctr">
                        <a:buNone/>
                      </a:pPr>
                      <a:r>
                        <a:rPr lang="en-US" sz="1300"/>
                        <a:t>0</a:t>
                      </a:r>
                    </a:p>
                  </a:txBody>
                  <a:tcPr/>
                </a:tc>
                <a:tc>
                  <a:txBody>
                    <a:bodyPr/>
                    <a:lstStyle/>
                    <a:p>
                      <a:pPr lvl="0" algn="ctr">
                        <a:buNone/>
                      </a:pPr>
                      <a:r>
                        <a:rPr lang="en-US" sz="1300" b="0" i="0" u="none" strike="noStrike" noProof="0">
                          <a:latin typeface="Arial"/>
                        </a:rPr>
                        <a:t>0.075</a:t>
                      </a:r>
                      <a:endParaRPr lang="en-US"/>
                    </a:p>
                  </a:txBody>
                  <a:tcPr/>
                </a:tc>
                <a:tc>
                  <a:txBody>
                    <a:bodyPr/>
                    <a:lstStyle/>
                    <a:p>
                      <a:pPr algn="ctr"/>
                      <a:r>
                        <a:rPr lang="en-US" sz="1300"/>
                        <a:t>1</a:t>
                      </a:r>
                    </a:p>
                  </a:txBody>
                  <a:tcPr/>
                </a:tc>
                <a:extLst>
                  <a:ext uri="{0D108BD9-81ED-4DB2-BD59-A6C34878D82A}">
                    <a16:rowId xmlns:a16="http://schemas.microsoft.com/office/drawing/2014/main" val="3045980014"/>
                  </a:ext>
                </a:extLst>
              </a:tr>
              <a:tr h="370840">
                <a:tc>
                  <a:txBody>
                    <a:bodyPr/>
                    <a:lstStyle/>
                    <a:p>
                      <a:r>
                        <a:rPr lang="en-US" sz="1300"/>
                        <a:t>Cust C</a:t>
                      </a:r>
                    </a:p>
                  </a:txBody>
                  <a:tcPr/>
                </a:tc>
                <a:tc>
                  <a:txBody>
                    <a:bodyPr/>
                    <a:lstStyle/>
                    <a:p>
                      <a:pPr lvl="0" algn="ctr">
                        <a:buNone/>
                      </a:pPr>
                      <a:r>
                        <a:rPr lang="en-US" sz="1300" b="0" i="0" u="none" strike="noStrike" noProof="0">
                          <a:latin typeface="Arial"/>
                        </a:rPr>
                        <a:t>-0.05</a:t>
                      </a:r>
                      <a:endParaRPr lang="en-US"/>
                    </a:p>
                  </a:txBody>
                  <a:tcPr/>
                </a:tc>
                <a:tc>
                  <a:txBody>
                    <a:bodyPr/>
                    <a:lstStyle/>
                    <a:p>
                      <a:pPr lvl="0" algn="ctr">
                        <a:buNone/>
                      </a:pPr>
                      <a:r>
                        <a:rPr lang="en-US" sz="1300" b="0" i="0" u="none" strike="noStrike" noProof="0"/>
                        <a:t>0</a:t>
                      </a:r>
                      <a:endParaRPr lang="en-US"/>
                    </a:p>
                  </a:txBody>
                  <a:tcPr/>
                </a:tc>
                <a:tc>
                  <a:txBody>
                    <a:bodyPr/>
                    <a:lstStyle/>
                    <a:p>
                      <a:pPr lvl="0" algn="ctr">
                        <a:buNone/>
                      </a:pPr>
                      <a:r>
                        <a:rPr lang="en-US" sz="1300" b="0" i="0" u="none" strike="noStrike" noProof="0">
                          <a:latin typeface="Arial"/>
                        </a:rPr>
                        <a:t>-0.1</a:t>
                      </a:r>
                      <a:endParaRPr lang="en-US"/>
                    </a:p>
                  </a:txBody>
                  <a:tcPr/>
                </a:tc>
                <a:tc>
                  <a:txBody>
                    <a:bodyPr/>
                    <a:lstStyle/>
                    <a:p>
                      <a:pPr lvl="0" algn="ctr">
                        <a:buNone/>
                      </a:pPr>
                      <a:r>
                        <a:rPr lang="en-US" sz="1300" b="0" i="0" u="none" strike="noStrike" noProof="0"/>
                        <a:t>0</a:t>
                      </a:r>
                      <a:endParaRPr lang="en-US"/>
                    </a:p>
                  </a:txBody>
                  <a:tcPr/>
                </a:tc>
                <a:tc>
                  <a:txBody>
                    <a:bodyPr/>
                    <a:lstStyle/>
                    <a:p>
                      <a:pPr algn="ctr"/>
                      <a:r>
                        <a:rPr lang="en-US" sz="1300"/>
                        <a:t>0</a:t>
                      </a:r>
                    </a:p>
                  </a:txBody>
                  <a:tcPr/>
                </a:tc>
                <a:extLst>
                  <a:ext uri="{0D108BD9-81ED-4DB2-BD59-A6C34878D82A}">
                    <a16:rowId xmlns:a16="http://schemas.microsoft.com/office/drawing/2014/main" val="4234525640"/>
                  </a:ext>
                </a:extLst>
              </a:tr>
              <a:tr h="370840">
                <a:tc>
                  <a:txBody>
                    <a:bodyPr/>
                    <a:lstStyle/>
                    <a:p>
                      <a:r>
                        <a:rPr lang="en-US" sz="1300"/>
                        <a:t>Cust D</a:t>
                      </a:r>
                    </a:p>
                  </a:txBody>
                  <a:tcPr/>
                </a:tc>
                <a:tc>
                  <a:txBody>
                    <a:bodyPr/>
                    <a:lstStyle/>
                    <a:p>
                      <a:pPr lvl="0" algn="ctr">
                        <a:buNone/>
                      </a:pPr>
                      <a:r>
                        <a:rPr lang="en-US" sz="1300" b="0" i="0" u="none" strike="noStrike" noProof="0">
                          <a:latin typeface="Arial"/>
                        </a:rPr>
                        <a:t>0.05</a:t>
                      </a:r>
                      <a:endParaRPr lang="en-US" sz="1300"/>
                    </a:p>
                  </a:txBody>
                  <a:tcPr/>
                </a:tc>
                <a:tc>
                  <a:txBody>
                    <a:bodyPr/>
                    <a:lstStyle/>
                    <a:p>
                      <a:pPr lvl="0" algn="ctr">
                        <a:buNone/>
                      </a:pPr>
                      <a:r>
                        <a:rPr lang="en-US" sz="1300" b="0" i="0" u="none" strike="noStrike" noProof="0"/>
                        <a:t>0</a:t>
                      </a:r>
                      <a:endParaRPr lang="en-US"/>
                    </a:p>
                  </a:txBody>
                  <a:tcPr/>
                </a:tc>
                <a:tc>
                  <a:txBody>
                    <a:bodyPr/>
                    <a:lstStyle/>
                    <a:p>
                      <a:pPr lvl="0" algn="ctr">
                        <a:buNone/>
                      </a:pPr>
                      <a:r>
                        <a:rPr lang="en-US" sz="1300" b="0" i="0" u="none" strike="noStrike" noProof="0">
                          <a:latin typeface="Arial"/>
                        </a:rPr>
                        <a:t>N</a:t>
                      </a:r>
                      <a:endParaRPr lang="en-US" sz="1300"/>
                    </a:p>
                  </a:txBody>
                  <a:tcPr/>
                </a:tc>
                <a:tc>
                  <a:txBody>
                    <a:bodyPr/>
                    <a:lstStyle/>
                    <a:p>
                      <a:pPr lvl="0" algn="ctr">
                        <a:buNone/>
                      </a:pPr>
                      <a:r>
                        <a:rPr lang="en-US" sz="1300" b="0" i="0" u="none" strike="noStrike" noProof="0">
                          <a:latin typeface="Arial"/>
                        </a:rPr>
                        <a:t>0.15</a:t>
                      </a:r>
                      <a:endParaRPr lang="en-US"/>
                    </a:p>
                  </a:txBody>
                  <a:tcPr/>
                </a:tc>
                <a:tc>
                  <a:txBody>
                    <a:bodyPr/>
                    <a:lstStyle/>
                    <a:p>
                      <a:pPr algn="ctr"/>
                      <a:r>
                        <a:rPr lang="en-US" sz="1300"/>
                        <a:t>1</a:t>
                      </a:r>
                    </a:p>
                  </a:txBody>
                  <a:tcPr/>
                </a:tc>
                <a:extLst>
                  <a:ext uri="{0D108BD9-81ED-4DB2-BD59-A6C34878D82A}">
                    <a16:rowId xmlns:a16="http://schemas.microsoft.com/office/drawing/2014/main" val="5796656"/>
                  </a:ext>
                </a:extLst>
              </a:tr>
            </a:tbl>
          </a:graphicData>
        </a:graphic>
      </p:graphicFrame>
      <p:pic>
        <p:nvPicPr>
          <p:cNvPr id="20" name="Picture 20">
            <a:extLst>
              <a:ext uri="{FF2B5EF4-FFF2-40B4-BE49-F238E27FC236}">
                <a16:creationId xmlns:a16="http://schemas.microsoft.com/office/drawing/2014/main" id="{C6EC7F66-91F6-484B-A146-F44EF1B4926E}"/>
              </a:ext>
            </a:extLst>
          </p:cNvPr>
          <p:cNvPicPr>
            <a:picLocks noChangeAspect="1"/>
          </p:cNvPicPr>
          <p:nvPr/>
        </p:nvPicPr>
        <p:blipFill>
          <a:blip r:embed="rId2"/>
          <a:stretch>
            <a:fillRect/>
          </a:stretch>
        </p:blipFill>
        <p:spPr>
          <a:xfrm>
            <a:off x="1570567" y="4505954"/>
            <a:ext cx="8595783" cy="1328008"/>
          </a:xfrm>
          <a:prstGeom prst="rect">
            <a:avLst/>
          </a:prstGeom>
        </p:spPr>
      </p:pic>
      <p:sp>
        <p:nvSpPr>
          <p:cNvPr id="21" name="Oval 20">
            <a:extLst>
              <a:ext uri="{FF2B5EF4-FFF2-40B4-BE49-F238E27FC236}">
                <a16:creationId xmlns:a16="http://schemas.microsoft.com/office/drawing/2014/main" id="{AB4FEAC8-AB46-458E-A5E1-B1D4B3F72F20}"/>
              </a:ext>
            </a:extLst>
          </p:cNvPr>
          <p:cNvSpPr/>
          <p:nvPr/>
        </p:nvSpPr>
        <p:spPr>
          <a:xfrm>
            <a:off x="114300" y="1394883"/>
            <a:ext cx="332317" cy="289984"/>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cs typeface="Arial"/>
              </a:rPr>
              <a:t>1</a:t>
            </a:r>
            <a:endParaRPr lang="en-US" sz="1200" b="1" dirty="0"/>
          </a:p>
        </p:txBody>
      </p:sp>
      <p:sp>
        <p:nvSpPr>
          <p:cNvPr id="22" name="Oval 21">
            <a:extLst>
              <a:ext uri="{FF2B5EF4-FFF2-40B4-BE49-F238E27FC236}">
                <a16:creationId xmlns:a16="http://schemas.microsoft.com/office/drawing/2014/main" id="{AB9850A8-122C-41BE-B38C-F8306FBB41A8}"/>
              </a:ext>
            </a:extLst>
          </p:cNvPr>
          <p:cNvSpPr/>
          <p:nvPr/>
        </p:nvSpPr>
        <p:spPr>
          <a:xfrm>
            <a:off x="6146799" y="2008716"/>
            <a:ext cx="332317" cy="289984"/>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a:cs typeface="Arial"/>
              </a:rPr>
              <a:t>2</a:t>
            </a:r>
            <a:endParaRPr lang="en-US" sz="1200" b="1" dirty="0">
              <a:cs typeface="Arial"/>
            </a:endParaRPr>
          </a:p>
        </p:txBody>
      </p:sp>
      <p:sp>
        <p:nvSpPr>
          <p:cNvPr id="23" name="Oval 22">
            <a:extLst>
              <a:ext uri="{FF2B5EF4-FFF2-40B4-BE49-F238E27FC236}">
                <a16:creationId xmlns:a16="http://schemas.microsoft.com/office/drawing/2014/main" id="{216C7FB8-3A69-4F63-9F39-95202B71C4E2}"/>
              </a:ext>
            </a:extLst>
          </p:cNvPr>
          <p:cNvSpPr/>
          <p:nvPr/>
        </p:nvSpPr>
        <p:spPr>
          <a:xfrm>
            <a:off x="7173383" y="3024716"/>
            <a:ext cx="332317" cy="289984"/>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a:cs typeface="Arial"/>
              </a:rPr>
              <a:t>3</a:t>
            </a:r>
            <a:endParaRPr lang="en-US" sz="1200" b="1" dirty="0">
              <a:cs typeface="Arial"/>
            </a:endParaRPr>
          </a:p>
        </p:txBody>
      </p:sp>
      <p:sp>
        <p:nvSpPr>
          <p:cNvPr id="24" name="Oval 23">
            <a:extLst>
              <a:ext uri="{FF2B5EF4-FFF2-40B4-BE49-F238E27FC236}">
                <a16:creationId xmlns:a16="http://schemas.microsoft.com/office/drawing/2014/main" id="{F12B76F9-58C1-49A1-99F0-DA48CA91168D}"/>
              </a:ext>
            </a:extLst>
          </p:cNvPr>
          <p:cNvSpPr/>
          <p:nvPr/>
        </p:nvSpPr>
        <p:spPr>
          <a:xfrm>
            <a:off x="7173383" y="2664883"/>
            <a:ext cx="332317" cy="289984"/>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a:cs typeface="Arial"/>
              </a:rPr>
              <a:t>4</a:t>
            </a:r>
            <a:endParaRPr lang="en-US" sz="1200" b="1"/>
          </a:p>
        </p:txBody>
      </p:sp>
      <p:sp>
        <p:nvSpPr>
          <p:cNvPr id="26" name="TextBox 25">
            <a:extLst>
              <a:ext uri="{FF2B5EF4-FFF2-40B4-BE49-F238E27FC236}">
                <a16:creationId xmlns:a16="http://schemas.microsoft.com/office/drawing/2014/main" id="{558433A2-B252-4B0D-86E8-2595CA65C7F8}"/>
              </a:ext>
            </a:extLst>
          </p:cNvPr>
          <p:cNvSpPr txBox="1"/>
          <p:nvPr/>
        </p:nvSpPr>
        <p:spPr>
          <a:xfrm flipH="1">
            <a:off x="317510" y="277790"/>
            <a:ext cx="3123306" cy="369332"/>
          </a:xfrm>
          <a:prstGeom prst="rect">
            <a:avLst/>
          </a:prstGeom>
          <a:solidFill>
            <a:srgbClr val="D31145"/>
          </a:solidFill>
          <a:effectLst>
            <a:outerShdw blurRad="50800" dist="38100" dir="2700000" algn="tl" rotWithShape="0">
              <a:prstClr val="black">
                <a:alpha val="40000"/>
              </a:prstClr>
            </a:outerShdw>
          </a:effectLst>
        </p:spPr>
        <p:txBody>
          <a:bodyPr wrap="square" lIns="91440" tIns="45720" rIns="91440" bIns="45720" rtlCol="0" anchor="t">
            <a:spAutoFit/>
          </a:bodyPr>
          <a:lstStyle/>
          <a:p>
            <a:r>
              <a:rPr lang="en-US" b="1">
                <a:solidFill>
                  <a:schemeClr val="bg1"/>
                </a:solidFill>
                <a:cs typeface="Arial"/>
              </a:rPr>
              <a:t>Collaborative Filtering</a:t>
            </a:r>
            <a:endParaRPr lang="en-US" b="1" dirty="0">
              <a:solidFill>
                <a:schemeClr val="bg1"/>
              </a:solidFill>
              <a:cs typeface="Arial"/>
            </a:endParaRPr>
          </a:p>
        </p:txBody>
      </p:sp>
      <p:sp>
        <p:nvSpPr>
          <p:cNvPr id="28" name="TextBox 27">
            <a:extLst>
              <a:ext uri="{FF2B5EF4-FFF2-40B4-BE49-F238E27FC236}">
                <a16:creationId xmlns:a16="http://schemas.microsoft.com/office/drawing/2014/main" id="{B324C439-70CD-4508-A5E6-1D37092D3449}"/>
              </a:ext>
            </a:extLst>
          </p:cNvPr>
          <p:cNvSpPr txBox="1"/>
          <p:nvPr/>
        </p:nvSpPr>
        <p:spPr>
          <a:xfrm>
            <a:off x="946371" y="841705"/>
            <a:ext cx="10124081" cy="369332"/>
          </a:xfrm>
          <a:prstGeom prst="rect">
            <a:avLst/>
          </a:prstGeom>
          <a:noFill/>
        </p:spPr>
        <p:txBody>
          <a:bodyPr wrap="square" lIns="91440" tIns="45720" rIns="91440" bIns="45720" rtlCol="0" anchor="t">
            <a:spAutoFit/>
          </a:bodyPr>
          <a:lstStyle/>
          <a:p>
            <a:r>
              <a:rPr lang="en-GB" dirty="0">
                <a:latin typeface="Arial"/>
                <a:cs typeface="Arial"/>
              </a:rPr>
              <a:t>Predict the cross-sell</a:t>
            </a:r>
            <a:r>
              <a:rPr lang="en-GB">
                <a:latin typeface="Arial"/>
                <a:cs typeface="Arial"/>
              </a:rPr>
              <a:t> triggers which would have higher likelihood for subsequent repurchase</a:t>
            </a:r>
            <a:endParaRPr lang="en-US" dirty="0"/>
          </a:p>
        </p:txBody>
      </p:sp>
    </p:spTree>
    <p:extLst>
      <p:ext uri="{BB962C8B-B14F-4D97-AF65-F5344CB8AC3E}">
        <p14:creationId xmlns:p14="http://schemas.microsoft.com/office/powerpoint/2010/main" val="4637617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CC4860DB-28B5-434A-8FF5-40422DDE0D57}"/>
              </a:ext>
            </a:extLst>
          </p:cNvPr>
          <p:cNvPicPr>
            <a:picLocks noChangeAspect="1"/>
          </p:cNvPicPr>
          <p:nvPr/>
        </p:nvPicPr>
        <p:blipFill>
          <a:blip r:embed="rId2"/>
          <a:stretch>
            <a:fillRect/>
          </a:stretch>
        </p:blipFill>
        <p:spPr>
          <a:xfrm>
            <a:off x="5455718" y="2461411"/>
            <a:ext cx="809625" cy="878417"/>
          </a:xfrm>
          <a:prstGeom prst="rect">
            <a:avLst/>
          </a:prstGeom>
        </p:spPr>
      </p:pic>
      <p:pic>
        <p:nvPicPr>
          <p:cNvPr id="19" name="Picture 18">
            <a:extLst>
              <a:ext uri="{FF2B5EF4-FFF2-40B4-BE49-F238E27FC236}">
                <a16:creationId xmlns:a16="http://schemas.microsoft.com/office/drawing/2014/main" id="{4614ED3E-2F75-4965-87A2-00227FAB4661}"/>
              </a:ext>
            </a:extLst>
          </p:cNvPr>
          <p:cNvPicPr>
            <a:picLocks noChangeAspect="1"/>
          </p:cNvPicPr>
          <p:nvPr/>
        </p:nvPicPr>
        <p:blipFill>
          <a:blip r:embed="rId3"/>
          <a:stretch>
            <a:fillRect/>
          </a:stretch>
        </p:blipFill>
        <p:spPr>
          <a:xfrm>
            <a:off x="3402039" y="4053773"/>
            <a:ext cx="919790" cy="804816"/>
          </a:xfrm>
          <a:prstGeom prst="rect">
            <a:avLst/>
          </a:prstGeom>
        </p:spPr>
      </p:pic>
      <p:sp>
        <p:nvSpPr>
          <p:cNvPr id="14" name="Google Shape;154;p17">
            <a:extLst>
              <a:ext uri="{FF2B5EF4-FFF2-40B4-BE49-F238E27FC236}">
                <a16:creationId xmlns:a16="http://schemas.microsoft.com/office/drawing/2014/main" id="{B2E2297D-48A9-4BDA-8958-51A159BA402C}"/>
              </a:ext>
            </a:extLst>
          </p:cNvPr>
          <p:cNvSpPr txBox="1"/>
          <p:nvPr/>
        </p:nvSpPr>
        <p:spPr>
          <a:xfrm>
            <a:off x="946372" y="554513"/>
            <a:ext cx="10124081" cy="487600"/>
          </a:xfrm>
          <a:prstGeom prst="rect">
            <a:avLst/>
          </a:prstGeom>
          <a:solidFill>
            <a:srgbClr val="D31145"/>
          </a:solidFill>
          <a:ln>
            <a:noFill/>
          </a:ln>
          <a:effectLst>
            <a:outerShdw blurRad="50800" dist="38100" dir="2700000" algn="tl" rotWithShape="0">
              <a:prstClr val="black">
                <a:alpha val="40000"/>
              </a:prstClr>
            </a:outerShdw>
          </a:effectLst>
        </p:spPr>
        <p:txBody>
          <a:bodyPr spcFirstLastPara="1" wrap="square" lIns="121900" tIns="121900" rIns="121900" bIns="121900" anchor="ctr" anchorCtr="0">
            <a:noAutofit/>
          </a:bodyPr>
          <a:lstStyle/>
          <a:p>
            <a:pPr algn="ctr"/>
            <a:r>
              <a:rPr lang="en" sz="2000" b="1">
                <a:solidFill>
                  <a:schemeClr val="bg1"/>
                </a:solidFill>
                <a:latin typeface="Fira Sans Extra Condensed Medium"/>
                <a:ea typeface="Fira Sans Extra Condensed Medium"/>
                <a:cs typeface="Fira Sans Extra Condensed Medium"/>
                <a:sym typeface="Fira Sans Extra Condensed Medium"/>
              </a:rPr>
              <a:t>Triggers And Actions</a:t>
            </a:r>
            <a:endParaRPr sz="2000" b="1">
              <a:solidFill>
                <a:schemeClr val="bg1"/>
              </a:solidFill>
              <a:latin typeface="Fira Sans Extra Condensed Medium"/>
              <a:ea typeface="Fira Sans Extra Condensed Medium"/>
              <a:cs typeface="Fira Sans Extra Condensed Medium"/>
              <a:sym typeface="Fira Sans Extra Condensed Medium"/>
            </a:endParaRPr>
          </a:p>
        </p:txBody>
      </p:sp>
      <p:pic>
        <p:nvPicPr>
          <p:cNvPr id="16" name="Picture 15">
            <a:extLst>
              <a:ext uri="{FF2B5EF4-FFF2-40B4-BE49-F238E27FC236}">
                <a16:creationId xmlns:a16="http://schemas.microsoft.com/office/drawing/2014/main" id="{1A2332C2-FDF3-4EDE-8AC5-BC1A1E05C8F7}"/>
              </a:ext>
            </a:extLst>
          </p:cNvPr>
          <p:cNvPicPr>
            <a:picLocks noChangeAspect="1"/>
          </p:cNvPicPr>
          <p:nvPr/>
        </p:nvPicPr>
        <p:blipFill>
          <a:blip r:embed="rId4"/>
          <a:stretch>
            <a:fillRect/>
          </a:stretch>
        </p:blipFill>
        <p:spPr>
          <a:xfrm>
            <a:off x="8326865" y="2382925"/>
            <a:ext cx="1249674" cy="1258292"/>
          </a:xfrm>
          <a:prstGeom prst="rect">
            <a:avLst/>
          </a:prstGeom>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88B5EFE7-1542-48FC-9665-91F160109110}"/>
              </a:ext>
            </a:extLst>
          </p:cNvPr>
          <p:cNvPicPr>
            <a:picLocks noChangeAspect="1"/>
          </p:cNvPicPr>
          <p:nvPr/>
        </p:nvPicPr>
        <p:blipFill>
          <a:blip r:embed="rId5"/>
          <a:stretch>
            <a:fillRect/>
          </a:stretch>
        </p:blipFill>
        <p:spPr>
          <a:xfrm>
            <a:off x="8175237" y="4238541"/>
            <a:ext cx="1789105" cy="1387960"/>
          </a:xfrm>
          <a:prstGeom prst="rect">
            <a:avLst/>
          </a:prstGeom>
          <a:effectLst>
            <a:outerShdw blurRad="50800" dist="38100" dir="2700000" algn="tl" rotWithShape="0">
              <a:prstClr val="black">
                <a:alpha val="40000"/>
              </a:prstClr>
            </a:outerShdw>
          </a:effectLst>
        </p:spPr>
      </p:pic>
      <p:cxnSp>
        <p:nvCxnSpPr>
          <p:cNvPr id="6" name="Straight Connector 5">
            <a:extLst>
              <a:ext uri="{FF2B5EF4-FFF2-40B4-BE49-F238E27FC236}">
                <a16:creationId xmlns:a16="http://schemas.microsoft.com/office/drawing/2014/main" id="{C96D582B-4D99-46B9-88C2-615737AC3898}"/>
              </a:ext>
            </a:extLst>
          </p:cNvPr>
          <p:cNvCxnSpPr/>
          <p:nvPr/>
        </p:nvCxnSpPr>
        <p:spPr>
          <a:xfrm>
            <a:off x="1686757" y="1846555"/>
            <a:ext cx="876226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1B55AE9-3393-48A6-A222-93FA1265FF95}"/>
              </a:ext>
            </a:extLst>
          </p:cNvPr>
          <p:cNvCxnSpPr>
            <a:cxnSpLocks/>
          </p:cNvCxnSpPr>
          <p:nvPr/>
        </p:nvCxnSpPr>
        <p:spPr>
          <a:xfrm flipH="1">
            <a:off x="7133234" y="1147043"/>
            <a:ext cx="1" cy="5017089"/>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97D0A4B0-B967-4A9E-9E59-48F67E064352}"/>
              </a:ext>
            </a:extLst>
          </p:cNvPr>
          <p:cNvSpPr txBox="1"/>
          <p:nvPr/>
        </p:nvSpPr>
        <p:spPr>
          <a:xfrm>
            <a:off x="8036405" y="1271576"/>
            <a:ext cx="1842171" cy="461665"/>
          </a:xfrm>
          <a:prstGeom prst="rect">
            <a:avLst/>
          </a:prstGeom>
          <a:noFill/>
        </p:spPr>
        <p:txBody>
          <a:bodyPr wrap="none" rtlCol="0">
            <a:spAutoFit/>
          </a:bodyPr>
          <a:lstStyle/>
          <a:p>
            <a:r>
              <a:rPr lang="en-US" sz="2400" b="1"/>
              <a:t>Actions - 2 </a:t>
            </a:r>
            <a:endParaRPr lang="en-MY" sz="2400" b="1"/>
          </a:p>
        </p:txBody>
      </p:sp>
      <p:sp>
        <p:nvSpPr>
          <p:cNvPr id="25" name="TextBox 24">
            <a:extLst>
              <a:ext uri="{FF2B5EF4-FFF2-40B4-BE49-F238E27FC236}">
                <a16:creationId xmlns:a16="http://schemas.microsoft.com/office/drawing/2014/main" id="{DA772E6C-4779-4518-82DB-94322D7C4B36}"/>
              </a:ext>
            </a:extLst>
          </p:cNvPr>
          <p:cNvSpPr txBox="1"/>
          <p:nvPr/>
        </p:nvSpPr>
        <p:spPr>
          <a:xfrm>
            <a:off x="3259809" y="1271576"/>
            <a:ext cx="1997342" cy="461665"/>
          </a:xfrm>
          <a:prstGeom prst="rect">
            <a:avLst/>
          </a:prstGeom>
          <a:noFill/>
        </p:spPr>
        <p:txBody>
          <a:bodyPr wrap="none" rtlCol="0">
            <a:spAutoFit/>
          </a:bodyPr>
          <a:lstStyle/>
          <a:p>
            <a:r>
              <a:rPr lang="en-US" sz="2400" b="1"/>
              <a:t>Triggers - 11</a:t>
            </a:r>
            <a:endParaRPr lang="en-MY" sz="2400" b="1"/>
          </a:p>
        </p:txBody>
      </p:sp>
      <p:pic>
        <p:nvPicPr>
          <p:cNvPr id="28" name="Picture 27">
            <a:extLst>
              <a:ext uri="{FF2B5EF4-FFF2-40B4-BE49-F238E27FC236}">
                <a16:creationId xmlns:a16="http://schemas.microsoft.com/office/drawing/2014/main" id="{0A523A81-7BCD-4B52-A5EF-F8EDA3F7DDC8}"/>
              </a:ext>
            </a:extLst>
          </p:cNvPr>
          <p:cNvPicPr>
            <a:picLocks noChangeAspect="1"/>
          </p:cNvPicPr>
          <p:nvPr/>
        </p:nvPicPr>
        <p:blipFill>
          <a:blip r:embed="rId6"/>
          <a:stretch>
            <a:fillRect/>
          </a:stretch>
        </p:blipFill>
        <p:spPr>
          <a:xfrm>
            <a:off x="1430476" y="3586726"/>
            <a:ext cx="1068326" cy="1009384"/>
          </a:xfrm>
          <a:prstGeom prst="rect">
            <a:avLst/>
          </a:prstGeom>
        </p:spPr>
      </p:pic>
      <p:pic>
        <p:nvPicPr>
          <p:cNvPr id="20" name="Picture 19">
            <a:extLst>
              <a:ext uri="{FF2B5EF4-FFF2-40B4-BE49-F238E27FC236}">
                <a16:creationId xmlns:a16="http://schemas.microsoft.com/office/drawing/2014/main" id="{AE0EAE0B-BBE8-49C0-86C9-962C541148FB}"/>
              </a:ext>
            </a:extLst>
          </p:cNvPr>
          <p:cNvPicPr>
            <a:picLocks noChangeAspect="1"/>
          </p:cNvPicPr>
          <p:nvPr/>
        </p:nvPicPr>
        <p:blipFill>
          <a:blip r:embed="rId7"/>
          <a:stretch>
            <a:fillRect/>
          </a:stretch>
        </p:blipFill>
        <p:spPr>
          <a:xfrm>
            <a:off x="1072499" y="2366723"/>
            <a:ext cx="809626" cy="781546"/>
          </a:xfrm>
          <a:prstGeom prst="rect">
            <a:avLst/>
          </a:prstGeom>
        </p:spPr>
      </p:pic>
      <p:pic>
        <p:nvPicPr>
          <p:cNvPr id="22" name="Picture 21">
            <a:extLst>
              <a:ext uri="{FF2B5EF4-FFF2-40B4-BE49-F238E27FC236}">
                <a16:creationId xmlns:a16="http://schemas.microsoft.com/office/drawing/2014/main" id="{31ECAFCF-C00C-4722-A58D-FDCEA11F0933}"/>
              </a:ext>
            </a:extLst>
          </p:cNvPr>
          <p:cNvPicPr>
            <a:picLocks noChangeAspect="1"/>
          </p:cNvPicPr>
          <p:nvPr/>
        </p:nvPicPr>
        <p:blipFill>
          <a:blip r:embed="rId8"/>
          <a:stretch>
            <a:fillRect/>
          </a:stretch>
        </p:blipFill>
        <p:spPr>
          <a:xfrm>
            <a:off x="2508432" y="2366723"/>
            <a:ext cx="2387469" cy="705807"/>
          </a:xfrm>
          <a:prstGeom prst="rect">
            <a:avLst/>
          </a:prstGeom>
        </p:spPr>
      </p:pic>
      <p:sp>
        <p:nvSpPr>
          <p:cNvPr id="2" name="TextBox 1">
            <a:extLst>
              <a:ext uri="{FF2B5EF4-FFF2-40B4-BE49-F238E27FC236}">
                <a16:creationId xmlns:a16="http://schemas.microsoft.com/office/drawing/2014/main" id="{F8CE6DF5-4DE6-4AC9-BDF3-5D96C57B83C7}"/>
              </a:ext>
            </a:extLst>
          </p:cNvPr>
          <p:cNvSpPr txBox="1"/>
          <p:nvPr/>
        </p:nvSpPr>
        <p:spPr>
          <a:xfrm>
            <a:off x="1142662" y="2013594"/>
            <a:ext cx="669299" cy="369332"/>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calls</a:t>
            </a:r>
          </a:p>
        </p:txBody>
      </p:sp>
      <p:sp>
        <p:nvSpPr>
          <p:cNvPr id="23" name="TextBox 22">
            <a:extLst>
              <a:ext uri="{FF2B5EF4-FFF2-40B4-BE49-F238E27FC236}">
                <a16:creationId xmlns:a16="http://schemas.microsoft.com/office/drawing/2014/main" id="{A7767803-0310-4C27-A4C4-DBDF759AB18A}"/>
              </a:ext>
            </a:extLst>
          </p:cNvPr>
          <p:cNvSpPr txBox="1"/>
          <p:nvPr/>
        </p:nvSpPr>
        <p:spPr>
          <a:xfrm>
            <a:off x="2371778" y="1989754"/>
            <a:ext cx="2720877" cy="646331"/>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life stage change / 21</a:t>
            </a:r>
          </a:p>
          <a:p>
            <a:endParaRPr lang="en-US">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B368FD3B-5C19-4FD2-8004-839D2DD7D291}"/>
              </a:ext>
            </a:extLst>
          </p:cNvPr>
          <p:cNvSpPr txBox="1"/>
          <p:nvPr/>
        </p:nvSpPr>
        <p:spPr>
          <a:xfrm>
            <a:off x="5342219" y="2059760"/>
            <a:ext cx="1246098" cy="646331"/>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birthday</a:t>
            </a:r>
          </a:p>
          <a:p>
            <a:endParaRPr lang="en-US">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8BE2E1B2-4D30-4E1C-993A-451EC73765AF}"/>
              </a:ext>
            </a:extLst>
          </p:cNvPr>
          <p:cNvSpPr txBox="1"/>
          <p:nvPr/>
        </p:nvSpPr>
        <p:spPr>
          <a:xfrm>
            <a:off x="1066202" y="3271274"/>
            <a:ext cx="2011230" cy="646331"/>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income change</a:t>
            </a:r>
          </a:p>
          <a:p>
            <a:endParaRPr lang="en-US">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9695DDBB-85B7-4766-8D24-40027F5E38C2}"/>
              </a:ext>
            </a:extLst>
          </p:cNvPr>
          <p:cNvSpPr txBox="1"/>
          <p:nvPr/>
        </p:nvSpPr>
        <p:spPr>
          <a:xfrm>
            <a:off x="3275057" y="3700193"/>
            <a:ext cx="1499571" cy="646331"/>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marriage</a:t>
            </a:r>
          </a:p>
          <a:p>
            <a:endParaRPr lang="en-US">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787405C8-56C2-420E-A9E8-CABFD3855AD8}"/>
              </a:ext>
            </a:extLst>
          </p:cNvPr>
          <p:cNvPicPr>
            <a:picLocks noChangeAspect="1"/>
          </p:cNvPicPr>
          <p:nvPr/>
        </p:nvPicPr>
        <p:blipFill>
          <a:blip r:embed="rId9"/>
          <a:stretch>
            <a:fillRect/>
          </a:stretch>
        </p:blipFill>
        <p:spPr>
          <a:xfrm>
            <a:off x="5350417" y="3993042"/>
            <a:ext cx="1178369" cy="1284182"/>
          </a:xfrm>
          <a:prstGeom prst="rect">
            <a:avLst/>
          </a:prstGeom>
        </p:spPr>
      </p:pic>
      <p:sp>
        <p:nvSpPr>
          <p:cNvPr id="30" name="TextBox 29">
            <a:extLst>
              <a:ext uri="{FF2B5EF4-FFF2-40B4-BE49-F238E27FC236}">
                <a16:creationId xmlns:a16="http://schemas.microsoft.com/office/drawing/2014/main" id="{8B6543B7-B2C0-4D88-9773-549BCC347CC3}"/>
              </a:ext>
            </a:extLst>
          </p:cNvPr>
          <p:cNvSpPr txBox="1"/>
          <p:nvPr/>
        </p:nvSpPr>
        <p:spPr>
          <a:xfrm>
            <a:off x="5152792" y="3582865"/>
            <a:ext cx="1779868" cy="646331"/>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claims / family</a:t>
            </a:r>
          </a:p>
          <a:p>
            <a:endParaRPr lang="en-US">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7BE937CA-9081-4FFB-BA25-94F5530EE077}"/>
              </a:ext>
            </a:extLst>
          </p:cNvPr>
          <p:cNvPicPr>
            <a:picLocks noChangeAspect="1"/>
          </p:cNvPicPr>
          <p:nvPr/>
        </p:nvPicPr>
        <p:blipFill>
          <a:blip r:embed="rId10"/>
          <a:stretch>
            <a:fillRect/>
          </a:stretch>
        </p:blipFill>
        <p:spPr>
          <a:xfrm>
            <a:off x="3861934" y="5242584"/>
            <a:ext cx="833503" cy="830381"/>
          </a:xfrm>
          <a:prstGeom prst="rect">
            <a:avLst/>
          </a:prstGeom>
        </p:spPr>
      </p:pic>
      <p:sp>
        <p:nvSpPr>
          <p:cNvPr id="31" name="TextBox 30">
            <a:extLst>
              <a:ext uri="{FF2B5EF4-FFF2-40B4-BE49-F238E27FC236}">
                <a16:creationId xmlns:a16="http://schemas.microsoft.com/office/drawing/2014/main" id="{12AE5CDF-3A27-49CB-B746-5EC2FB11D5A3}"/>
              </a:ext>
            </a:extLst>
          </p:cNvPr>
          <p:cNvSpPr txBox="1"/>
          <p:nvPr/>
        </p:nvSpPr>
        <p:spPr>
          <a:xfrm>
            <a:off x="3879794" y="4919419"/>
            <a:ext cx="1109076" cy="646331"/>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child</a:t>
            </a:r>
          </a:p>
          <a:p>
            <a:endParaRPr lang="en-US">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BE62D946-598F-4398-853B-88D022F02764}"/>
              </a:ext>
            </a:extLst>
          </p:cNvPr>
          <p:cNvPicPr>
            <a:picLocks noChangeAspect="1"/>
          </p:cNvPicPr>
          <p:nvPr/>
        </p:nvPicPr>
        <p:blipFill>
          <a:blip r:embed="rId11"/>
          <a:stretch>
            <a:fillRect/>
          </a:stretch>
        </p:blipFill>
        <p:spPr>
          <a:xfrm>
            <a:off x="1355207" y="5204028"/>
            <a:ext cx="1088349" cy="704723"/>
          </a:xfrm>
          <a:prstGeom prst="rect">
            <a:avLst/>
          </a:prstGeom>
        </p:spPr>
      </p:pic>
      <p:sp>
        <p:nvSpPr>
          <p:cNvPr id="32" name="TextBox 31">
            <a:extLst>
              <a:ext uri="{FF2B5EF4-FFF2-40B4-BE49-F238E27FC236}">
                <a16:creationId xmlns:a16="http://schemas.microsoft.com/office/drawing/2014/main" id="{0A84BA91-556C-4B80-A4AF-509906E5F363}"/>
              </a:ext>
            </a:extLst>
          </p:cNvPr>
          <p:cNvSpPr txBox="1"/>
          <p:nvPr/>
        </p:nvSpPr>
        <p:spPr>
          <a:xfrm>
            <a:off x="712482" y="4832891"/>
            <a:ext cx="2718670" cy="646331"/>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policy maturing/matured</a:t>
            </a:r>
          </a:p>
          <a:p>
            <a:endParaRPr lang="en-US">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CD599E83-DECB-4C3A-8A7B-0C6F357F87C6}"/>
              </a:ext>
            </a:extLst>
          </p:cNvPr>
          <p:cNvSpPr txBox="1"/>
          <p:nvPr/>
        </p:nvSpPr>
        <p:spPr>
          <a:xfrm>
            <a:off x="7737681" y="2016418"/>
            <a:ext cx="2664221" cy="369332"/>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Download My AIA App</a:t>
            </a:r>
          </a:p>
        </p:txBody>
      </p:sp>
      <p:sp>
        <p:nvSpPr>
          <p:cNvPr id="34" name="TextBox 33">
            <a:extLst>
              <a:ext uri="{FF2B5EF4-FFF2-40B4-BE49-F238E27FC236}">
                <a16:creationId xmlns:a16="http://schemas.microsoft.com/office/drawing/2014/main" id="{BB1E23B0-1D6D-46FD-A9FA-A8EEF0915685}"/>
              </a:ext>
            </a:extLst>
          </p:cNvPr>
          <p:cNvSpPr txBox="1"/>
          <p:nvPr/>
        </p:nvSpPr>
        <p:spPr>
          <a:xfrm>
            <a:off x="7737680" y="3859864"/>
            <a:ext cx="2664221" cy="369332"/>
          </a:xfrm>
          <a:prstGeom prst="rect">
            <a:avLst/>
          </a:prstGeom>
          <a:noFill/>
        </p:spPr>
        <p:txBody>
          <a:bodyPr wrap="square" rtlCol="0">
            <a:spAutoFit/>
          </a:bodyPr>
          <a:lstStyle/>
          <a:p>
            <a:pPr algn="ctr"/>
            <a:r>
              <a:rPr lang="en-US">
                <a:latin typeface="Arial" panose="020B0604020202020204" pitchFamily="34" charset="0"/>
                <a:cs typeface="Arial" panose="020B0604020202020204" pitchFamily="34" charset="0"/>
              </a:rPr>
              <a:t>Complete FHC</a:t>
            </a:r>
          </a:p>
        </p:txBody>
      </p:sp>
    </p:spTree>
    <p:extLst>
      <p:ext uri="{BB962C8B-B14F-4D97-AF65-F5344CB8AC3E}">
        <p14:creationId xmlns:p14="http://schemas.microsoft.com/office/powerpoint/2010/main" val="33077390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04B01ED-CE72-4D9C-85D1-85FFD422F5D4}"/>
              </a:ext>
            </a:extLst>
          </p:cNvPr>
          <p:cNvSpPr txBox="1"/>
          <p:nvPr/>
        </p:nvSpPr>
        <p:spPr>
          <a:xfrm>
            <a:off x="5696298" y="3787681"/>
            <a:ext cx="705642" cy="261610"/>
          </a:xfrm>
          <a:prstGeom prst="rect">
            <a:avLst/>
          </a:prstGeom>
          <a:noFill/>
        </p:spPr>
        <p:txBody>
          <a:bodyPr wrap="none" rtlCol="0">
            <a:spAutoFit/>
          </a:bodyPr>
          <a:lstStyle/>
          <a:p>
            <a:r>
              <a:rPr lang="en-US" sz="1100">
                <a:solidFill>
                  <a:schemeClr val="bg1"/>
                </a:solidFill>
              </a:rPr>
              <a:t>maturing</a:t>
            </a:r>
            <a:endParaRPr lang="en-MY" sz="1100">
              <a:solidFill>
                <a:schemeClr val="bg1"/>
              </a:solidFill>
            </a:endParaRPr>
          </a:p>
        </p:txBody>
      </p:sp>
      <p:sp>
        <p:nvSpPr>
          <p:cNvPr id="7" name="TextBox 6">
            <a:extLst>
              <a:ext uri="{FF2B5EF4-FFF2-40B4-BE49-F238E27FC236}">
                <a16:creationId xmlns:a16="http://schemas.microsoft.com/office/drawing/2014/main" id="{02289EB7-7C9A-4AAC-99E5-E566561EDC83}"/>
              </a:ext>
            </a:extLst>
          </p:cNvPr>
          <p:cNvSpPr txBox="1"/>
          <p:nvPr/>
        </p:nvSpPr>
        <p:spPr>
          <a:xfrm>
            <a:off x="8382174" y="3084404"/>
            <a:ext cx="1051891" cy="261610"/>
          </a:xfrm>
          <a:prstGeom prst="rect">
            <a:avLst/>
          </a:prstGeom>
          <a:noFill/>
        </p:spPr>
        <p:txBody>
          <a:bodyPr wrap="none" rtlCol="0">
            <a:spAutoFit/>
          </a:bodyPr>
          <a:lstStyle/>
          <a:p>
            <a:r>
              <a:rPr lang="en-US" sz="1100">
                <a:solidFill>
                  <a:schemeClr val="bg1"/>
                </a:solidFill>
              </a:rPr>
              <a:t>Income change</a:t>
            </a:r>
            <a:endParaRPr lang="en-MY" sz="1100">
              <a:solidFill>
                <a:schemeClr val="bg1"/>
              </a:solidFill>
            </a:endParaRPr>
          </a:p>
        </p:txBody>
      </p:sp>
      <p:grpSp>
        <p:nvGrpSpPr>
          <p:cNvPr id="2" name="Group 1">
            <a:extLst>
              <a:ext uri="{FF2B5EF4-FFF2-40B4-BE49-F238E27FC236}">
                <a16:creationId xmlns:a16="http://schemas.microsoft.com/office/drawing/2014/main" id="{82B7D12D-C0B3-4D2A-91CA-44865AB5D63E}"/>
              </a:ext>
            </a:extLst>
          </p:cNvPr>
          <p:cNvGrpSpPr/>
          <p:nvPr/>
        </p:nvGrpSpPr>
        <p:grpSpPr>
          <a:xfrm>
            <a:off x="1442972" y="3339688"/>
            <a:ext cx="632170" cy="709603"/>
            <a:chOff x="1569311" y="787080"/>
            <a:chExt cx="900880" cy="865551"/>
          </a:xfrm>
        </p:grpSpPr>
        <p:pic>
          <p:nvPicPr>
            <p:cNvPr id="8" name="Picture 7">
              <a:extLst>
                <a:ext uri="{FF2B5EF4-FFF2-40B4-BE49-F238E27FC236}">
                  <a16:creationId xmlns:a16="http://schemas.microsoft.com/office/drawing/2014/main" id="{63723E41-7CD2-46BC-A6F4-53AF53DE3921}"/>
                </a:ext>
              </a:extLst>
            </p:cNvPr>
            <p:cNvPicPr>
              <a:picLocks noChangeAspect="1"/>
            </p:cNvPicPr>
            <p:nvPr/>
          </p:nvPicPr>
          <p:blipFill>
            <a:blip r:embed="rId2"/>
            <a:stretch>
              <a:fillRect/>
            </a:stretch>
          </p:blipFill>
          <p:spPr>
            <a:xfrm>
              <a:off x="1569311" y="787080"/>
              <a:ext cx="900880" cy="865551"/>
            </a:xfrm>
            <a:prstGeom prst="rect">
              <a:avLst/>
            </a:prstGeom>
          </p:spPr>
        </p:pic>
        <p:sp>
          <p:nvSpPr>
            <p:cNvPr id="9" name="TextBox 8">
              <a:extLst>
                <a:ext uri="{FF2B5EF4-FFF2-40B4-BE49-F238E27FC236}">
                  <a16:creationId xmlns:a16="http://schemas.microsoft.com/office/drawing/2014/main" id="{9DE4B0D2-E9D2-4A79-A12F-D82AD7B316E5}"/>
                </a:ext>
              </a:extLst>
            </p:cNvPr>
            <p:cNvSpPr txBox="1"/>
            <p:nvPr/>
          </p:nvSpPr>
          <p:spPr>
            <a:xfrm>
              <a:off x="1863928" y="1026501"/>
              <a:ext cx="468753" cy="319103"/>
            </a:xfrm>
            <a:prstGeom prst="rect">
              <a:avLst/>
            </a:prstGeom>
            <a:noFill/>
          </p:spPr>
          <p:txBody>
            <a:bodyPr wrap="none" rtlCol="0">
              <a:spAutoFit/>
            </a:bodyPr>
            <a:lstStyle/>
            <a:p>
              <a:r>
                <a:rPr lang="en-US" sz="1100">
                  <a:solidFill>
                    <a:schemeClr val="bg1"/>
                  </a:solidFill>
                </a:rPr>
                <a:t>21</a:t>
              </a:r>
              <a:endParaRPr lang="en-MY" sz="1100">
                <a:solidFill>
                  <a:schemeClr val="bg1"/>
                </a:solidFill>
              </a:endParaRPr>
            </a:p>
          </p:txBody>
        </p:sp>
      </p:grpSp>
      <p:pic>
        <p:nvPicPr>
          <p:cNvPr id="10" name="Picture 9">
            <a:extLst>
              <a:ext uri="{FF2B5EF4-FFF2-40B4-BE49-F238E27FC236}">
                <a16:creationId xmlns:a16="http://schemas.microsoft.com/office/drawing/2014/main" id="{1CA7742E-5232-410B-815E-F65564F60766}"/>
              </a:ext>
            </a:extLst>
          </p:cNvPr>
          <p:cNvPicPr>
            <a:picLocks noChangeAspect="1"/>
          </p:cNvPicPr>
          <p:nvPr/>
        </p:nvPicPr>
        <p:blipFill>
          <a:blip r:embed="rId2"/>
          <a:stretch>
            <a:fillRect/>
          </a:stretch>
        </p:blipFill>
        <p:spPr>
          <a:xfrm>
            <a:off x="4345227" y="5747234"/>
            <a:ext cx="900880" cy="865551"/>
          </a:xfrm>
          <a:prstGeom prst="rect">
            <a:avLst/>
          </a:prstGeom>
        </p:spPr>
      </p:pic>
      <p:sp>
        <p:nvSpPr>
          <p:cNvPr id="11" name="TextBox 10">
            <a:extLst>
              <a:ext uri="{FF2B5EF4-FFF2-40B4-BE49-F238E27FC236}">
                <a16:creationId xmlns:a16="http://schemas.microsoft.com/office/drawing/2014/main" id="{4C2CDB4E-2C77-450C-8D95-22C32324E632}"/>
              </a:ext>
            </a:extLst>
          </p:cNvPr>
          <p:cNvSpPr txBox="1"/>
          <p:nvPr/>
        </p:nvSpPr>
        <p:spPr>
          <a:xfrm>
            <a:off x="4584145" y="6004463"/>
            <a:ext cx="375424" cy="261610"/>
          </a:xfrm>
          <a:prstGeom prst="rect">
            <a:avLst/>
          </a:prstGeom>
          <a:noFill/>
        </p:spPr>
        <p:txBody>
          <a:bodyPr wrap="none" rtlCol="0">
            <a:spAutoFit/>
          </a:bodyPr>
          <a:lstStyle/>
          <a:p>
            <a:r>
              <a:rPr lang="en-US" sz="1100">
                <a:solidFill>
                  <a:schemeClr val="bg1"/>
                </a:solidFill>
              </a:rPr>
              <a:t>call</a:t>
            </a:r>
            <a:endParaRPr lang="en-MY" sz="1100">
              <a:solidFill>
                <a:schemeClr val="bg1"/>
              </a:solidFill>
            </a:endParaRPr>
          </a:p>
        </p:txBody>
      </p:sp>
      <p:sp>
        <p:nvSpPr>
          <p:cNvPr id="15" name="TextBox 14">
            <a:extLst>
              <a:ext uri="{FF2B5EF4-FFF2-40B4-BE49-F238E27FC236}">
                <a16:creationId xmlns:a16="http://schemas.microsoft.com/office/drawing/2014/main" id="{228FEA2D-D3CE-46FA-9EAB-B79AF15A407C}"/>
              </a:ext>
            </a:extLst>
          </p:cNvPr>
          <p:cNvSpPr txBox="1"/>
          <p:nvPr/>
        </p:nvSpPr>
        <p:spPr>
          <a:xfrm>
            <a:off x="5979994" y="5611105"/>
            <a:ext cx="699230" cy="261610"/>
          </a:xfrm>
          <a:prstGeom prst="rect">
            <a:avLst/>
          </a:prstGeom>
          <a:noFill/>
        </p:spPr>
        <p:txBody>
          <a:bodyPr wrap="none" rtlCol="0">
            <a:spAutoFit/>
          </a:bodyPr>
          <a:lstStyle/>
          <a:p>
            <a:r>
              <a:rPr lang="en-US" sz="1100">
                <a:solidFill>
                  <a:schemeClr val="bg1"/>
                </a:solidFill>
              </a:rPr>
              <a:t>marriage</a:t>
            </a:r>
            <a:endParaRPr lang="en-MY" sz="1100">
              <a:solidFill>
                <a:schemeClr val="bg1"/>
              </a:solidFill>
            </a:endParaRPr>
          </a:p>
        </p:txBody>
      </p:sp>
      <p:grpSp>
        <p:nvGrpSpPr>
          <p:cNvPr id="69" name="Group 68">
            <a:extLst>
              <a:ext uri="{FF2B5EF4-FFF2-40B4-BE49-F238E27FC236}">
                <a16:creationId xmlns:a16="http://schemas.microsoft.com/office/drawing/2014/main" id="{CB1131DF-D7EE-421D-9366-184E461179E4}"/>
              </a:ext>
            </a:extLst>
          </p:cNvPr>
          <p:cNvGrpSpPr/>
          <p:nvPr/>
        </p:nvGrpSpPr>
        <p:grpSpPr>
          <a:xfrm>
            <a:off x="8290040" y="3117585"/>
            <a:ext cx="900880" cy="865551"/>
            <a:chOff x="8290040" y="2450608"/>
            <a:chExt cx="900880" cy="865551"/>
          </a:xfrm>
        </p:grpSpPr>
        <p:pic>
          <p:nvPicPr>
            <p:cNvPr id="17" name="Picture 16">
              <a:extLst>
                <a:ext uri="{FF2B5EF4-FFF2-40B4-BE49-F238E27FC236}">
                  <a16:creationId xmlns:a16="http://schemas.microsoft.com/office/drawing/2014/main" id="{B03BF67C-8715-49D6-930E-32D00FD00533}"/>
                </a:ext>
              </a:extLst>
            </p:cNvPr>
            <p:cNvPicPr>
              <a:picLocks noChangeAspect="1"/>
            </p:cNvPicPr>
            <p:nvPr/>
          </p:nvPicPr>
          <p:blipFill>
            <a:blip r:embed="rId2"/>
            <a:stretch>
              <a:fillRect/>
            </a:stretch>
          </p:blipFill>
          <p:spPr>
            <a:xfrm>
              <a:off x="8290040" y="2450608"/>
              <a:ext cx="900880" cy="865551"/>
            </a:xfrm>
            <a:prstGeom prst="rect">
              <a:avLst/>
            </a:prstGeom>
          </p:spPr>
        </p:pic>
        <p:sp>
          <p:nvSpPr>
            <p:cNvPr id="18" name="TextBox 17">
              <a:extLst>
                <a:ext uri="{FF2B5EF4-FFF2-40B4-BE49-F238E27FC236}">
                  <a16:creationId xmlns:a16="http://schemas.microsoft.com/office/drawing/2014/main" id="{80B358DE-8FCE-4678-99FF-19A6F65EAD55}"/>
                </a:ext>
              </a:extLst>
            </p:cNvPr>
            <p:cNvSpPr txBox="1"/>
            <p:nvPr/>
          </p:nvSpPr>
          <p:spPr>
            <a:xfrm>
              <a:off x="8383235" y="2706235"/>
              <a:ext cx="797013" cy="430887"/>
            </a:xfrm>
            <a:prstGeom prst="rect">
              <a:avLst/>
            </a:prstGeom>
            <a:noFill/>
          </p:spPr>
          <p:txBody>
            <a:bodyPr wrap="square" rtlCol="0">
              <a:spAutoFit/>
            </a:bodyPr>
            <a:lstStyle/>
            <a:p>
              <a:r>
                <a:rPr lang="en-US" sz="1100">
                  <a:solidFill>
                    <a:schemeClr val="bg1"/>
                  </a:solidFill>
                </a:rPr>
                <a:t>family claims</a:t>
              </a:r>
              <a:endParaRPr lang="en-MY" sz="1100">
                <a:solidFill>
                  <a:schemeClr val="bg1"/>
                </a:solidFill>
              </a:endParaRPr>
            </a:p>
          </p:txBody>
        </p:sp>
      </p:grpSp>
      <p:grpSp>
        <p:nvGrpSpPr>
          <p:cNvPr id="16" name="Group 15">
            <a:extLst>
              <a:ext uri="{FF2B5EF4-FFF2-40B4-BE49-F238E27FC236}">
                <a16:creationId xmlns:a16="http://schemas.microsoft.com/office/drawing/2014/main" id="{FCF07277-2AFB-404D-95A2-BB5E3EBDC50A}"/>
              </a:ext>
            </a:extLst>
          </p:cNvPr>
          <p:cNvGrpSpPr/>
          <p:nvPr/>
        </p:nvGrpSpPr>
        <p:grpSpPr>
          <a:xfrm>
            <a:off x="5245858" y="856084"/>
            <a:ext cx="900880" cy="865551"/>
            <a:chOff x="2622642" y="3897618"/>
            <a:chExt cx="900880" cy="865551"/>
          </a:xfrm>
        </p:grpSpPr>
        <p:pic>
          <p:nvPicPr>
            <p:cNvPr id="19" name="Picture 18">
              <a:extLst>
                <a:ext uri="{FF2B5EF4-FFF2-40B4-BE49-F238E27FC236}">
                  <a16:creationId xmlns:a16="http://schemas.microsoft.com/office/drawing/2014/main" id="{38260AFD-CE8D-4294-A670-A1596D82BC76}"/>
                </a:ext>
              </a:extLst>
            </p:cNvPr>
            <p:cNvPicPr>
              <a:picLocks noChangeAspect="1"/>
            </p:cNvPicPr>
            <p:nvPr/>
          </p:nvPicPr>
          <p:blipFill>
            <a:blip r:embed="rId2"/>
            <a:stretch>
              <a:fillRect/>
            </a:stretch>
          </p:blipFill>
          <p:spPr>
            <a:xfrm>
              <a:off x="2622642" y="3897618"/>
              <a:ext cx="900880" cy="865551"/>
            </a:xfrm>
            <a:prstGeom prst="rect">
              <a:avLst/>
            </a:prstGeom>
          </p:spPr>
        </p:pic>
        <p:sp>
          <p:nvSpPr>
            <p:cNvPr id="20" name="TextBox 19">
              <a:extLst>
                <a:ext uri="{FF2B5EF4-FFF2-40B4-BE49-F238E27FC236}">
                  <a16:creationId xmlns:a16="http://schemas.microsoft.com/office/drawing/2014/main" id="{18C13A71-040E-4F3B-9FF2-47C561F9826F}"/>
                </a:ext>
              </a:extLst>
            </p:cNvPr>
            <p:cNvSpPr txBox="1"/>
            <p:nvPr/>
          </p:nvSpPr>
          <p:spPr>
            <a:xfrm>
              <a:off x="2791339" y="4163746"/>
              <a:ext cx="665567" cy="261610"/>
            </a:xfrm>
            <a:prstGeom prst="rect">
              <a:avLst/>
            </a:prstGeom>
            <a:noFill/>
          </p:spPr>
          <p:txBody>
            <a:bodyPr wrap="none" rtlCol="0">
              <a:spAutoFit/>
            </a:bodyPr>
            <a:lstStyle/>
            <a:p>
              <a:r>
                <a:rPr lang="en-US" sz="1100">
                  <a:solidFill>
                    <a:schemeClr val="bg1"/>
                  </a:solidFill>
                </a:rPr>
                <a:t>birthday</a:t>
              </a:r>
              <a:endParaRPr lang="en-MY" sz="1100">
                <a:solidFill>
                  <a:schemeClr val="bg1"/>
                </a:solidFill>
              </a:endParaRPr>
            </a:p>
          </p:txBody>
        </p:sp>
      </p:grpSp>
      <p:grpSp>
        <p:nvGrpSpPr>
          <p:cNvPr id="32" name="Group 31">
            <a:extLst>
              <a:ext uri="{FF2B5EF4-FFF2-40B4-BE49-F238E27FC236}">
                <a16:creationId xmlns:a16="http://schemas.microsoft.com/office/drawing/2014/main" id="{A8E2E619-F731-44E7-BF2B-EAD4D42B9691}"/>
              </a:ext>
            </a:extLst>
          </p:cNvPr>
          <p:cNvGrpSpPr/>
          <p:nvPr/>
        </p:nvGrpSpPr>
        <p:grpSpPr>
          <a:xfrm>
            <a:off x="3612960" y="3243065"/>
            <a:ext cx="828203" cy="740071"/>
            <a:chOff x="4478035" y="2542584"/>
            <a:chExt cx="828203" cy="740071"/>
          </a:xfrm>
        </p:grpSpPr>
        <p:pic>
          <p:nvPicPr>
            <p:cNvPr id="21" name="Picture 20">
              <a:extLst>
                <a:ext uri="{FF2B5EF4-FFF2-40B4-BE49-F238E27FC236}">
                  <a16:creationId xmlns:a16="http://schemas.microsoft.com/office/drawing/2014/main" id="{228A7517-F73A-4BF7-8513-B9B2CBBB8C29}"/>
                </a:ext>
              </a:extLst>
            </p:cNvPr>
            <p:cNvPicPr>
              <a:picLocks noChangeAspect="1"/>
            </p:cNvPicPr>
            <p:nvPr/>
          </p:nvPicPr>
          <p:blipFill>
            <a:blip r:embed="rId2"/>
            <a:stretch>
              <a:fillRect/>
            </a:stretch>
          </p:blipFill>
          <p:spPr>
            <a:xfrm>
              <a:off x="4478035" y="2542584"/>
              <a:ext cx="828203" cy="740071"/>
            </a:xfrm>
            <a:prstGeom prst="rect">
              <a:avLst/>
            </a:prstGeom>
          </p:spPr>
        </p:pic>
        <p:sp>
          <p:nvSpPr>
            <p:cNvPr id="22" name="TextBox 21">
              <a:extLst>
                <a:ext uri="{FF2B5EF4-FFF2-40B4-BE49-F238E27FC236}">
                  <a16:creationId xmlns:a16="http://schemas.microsoft.com/office/drawing/2014/main" id="{F2EFB019-AC73-4D29-9667-102638698584}"/>
                </a:ext>
              </a:extLst>
            </p:cNvPr>
            <p:cNvSpPr txBox="1"/>
            <p:nvPr/>
          </p:nvSpPr>
          <p:spPr>
            <a:xfrm>
              <a:off x="4590042" y="2754470"/>
              <a:ext cx="642821" cy="223684"/>
            </a:xfrm>
            <a:prstGeom prst="rect">
              <a:avLst/>
            </a:prstGeom>
            <a:noFill/>
          </p:spPr>
          <p:txBody>
            <a:bodyPr wrap="none" rtlCol="0">
              <a:spAutoFit/>
            </a:bodyPr>
            <a:lstStyle/>
            <a:p>
              <a:r>
                <a:rPr lang="en-US" sz="1100">
                  <a:solidFill>
                    <a:schemeClr val="bg1"/>
                  </a:solidFill>
                </a:rPr>
                <a:t>marriage</a:t>
              </a:r>
              <a:endParaRPr lang="en-MY" sz="1100">
                <a:solidFill>
                  <a:schemeClr val="bg1"/>
                </a:solidFill>
              </a:endParaRPr>
            </a:p>
          </p:txBody>
        </p:sp>
      </p:grpSp>
      <p:grpSp>
        <p:nvGrpSpPr>
          <p:cNvPr id="35" name="Group 34">
            <a:extLst>
              <a:ext uri="{FF2B5EF4-FFF2-40B4-BE49-F238E27FC236}">
                <a16:creationId xmlns:a16="http://schemas.microsoft.com/office/drawing/2014/main" id="{C2938EC2-9BD1-4195-A66D-4C77A1EC3266}"/>
              </a:ext>
            </a:extLst>
          </p:cNvPr>
          <p:cNvGrpSpPr/>
          <p:nvPr/>
        </p:nvGrpSpPr>
        <p:grpSpPr>
          <a:xfrm>
            <a:off x="6368540" y="3103196"/>
            <a:ext cx="900880" cy="865551"/>
            <a:chOff x="5501060" y="2484013"/>
            <a:chExt cx="900880" cy="865551"/>
          </a:xfrm>
        </p:grpSpPr>
        <p:pic>
          <p:nvPicPr>
            <p:cNvPr id="23" name="Picture 22">
              <a:extLst>
                <a:ext uri="{FF2B5EF4-FFF2-40B4-BE49-F238E27FC236}">
                  <a16:creationId xmlns:a16="http://schemas.microsoft.com/office/drawing/2014/main" id="{88042D2E-5224-412F-A15C-F6CAB502E61A}"/>
                </a:ext>
              </a:extLst>
            </p:cNvPr>
            <p:cNvPicPr>
              <a:picLocks noChangeAspect="1"/>
            </p:cNvPicPr>
            <p:nvPr/>
          </p:nvPicPr>
          <p:blipFill>
            <a:blip r:embed="rId2"/>
            <a:stretch>
              <a:fillRect/>
            </a:stretch>
          </p:blipFill>
          <p:spPr>
            <a:xfrm>
              <a:off x="5501060" y="2484013"/>
              <a:ext cx="900880" cy="865551"/>
            </a:xfrm>
            <a:prstGeom prst="rect">
              <a:avLst/>
            </a:prstGeom>
          </p:spPr>
        </p:pic>
        <p:sp>
          <p:nvSpPr>
            <p:cNvPr id="24" name="TextBox 23">
              <a:extLst>
                <a:ext uri="{FF2B5EF4-FFF2-40B4-BE49-F238E27FC236}">
                  <a16:creationId xmlns:a16="http://schemas.microsoft.com/office/drawing/2014/main" id="{96D477E6-69C6-4174-9F2F-39679E28D346}"/>
                </a:ext>
              </a:extLst>
            </p:cNvPr>
            <p:cNvSpPr txBox="1"/>
            <p:nvPr/>
          </p:nvSpPr>
          <p:spPr>
            <a:xfrm>
              <a:off x="5739978" y="2741242"/>
              <a:ext cx="455574" cy="261610"/>
            </a:xfrm>
            <a:prstGeom prst="rect">
              <a:avLst/>
            </a:prstGeom>
            <a:noFill/>
          </p:spPr>
          <p:txBody>
            <a:bodyPr wrap="none" rtlCol="0">
              <a:spAutoFit/>
            </a:bodyPr>
            <a:lstStyle/>
            <a:p>
              <a:r>
                <a:rPr lang="en-US" sz="1100">
                  <a:solidFill>
                    <a:schemeClr val="bg1"/>
                  </a:solidFill>
                </a:rPr>
                <a:t>child</a:t>
              </a:r>
              <a:endParaRPr lang="en-MY" sz="1100">
                <a:solidFill>
                  <a:schemeClr val="bg1"/>
                </a:solidFill>
              </a:endParaRPr>
            </a:p>
          </p:txBody>
        </p:sp>
      </p:grpSp>
      <p:sp>
        <p:nvSpPr>
          <p:cNvPr id="26" name="TextBox 25">
            <a:extLst>
              <a:ext uri="{FF2B5EF4-FFF2-40B4-BE49-F238E27FC236}">
                <a16:creationId xmlns:a16="http://schemas.microsoft.com/office/drawing/2014/main" id="{19DD2F96-C8A9-49B7-A6AD-980C01CF1FFE}"/>
              </a:ext>
            </a:extLst>
          </p:cNvPr>
          <p:cNvSpPr txBox="1"/>
          <p:nvPr/>
        </p:nvSpPr>
        <p:spPr>
          <a:xfrm>
            <a:off x="1980153" y="1810549"/>
            <a:ext cx="256802" cy="261610"/>
          </a:xfrm>
          <a:prstGeom prst="rect">
            <a:avLst/>
          </a:prstGeom>
          <a:noFill/>
        </p:spPr>
        <p:txBody>
          <a:bodyPr wrap="none" rtlCol="0">
            <a:spAutoFit/>
          </a:bodyPr>
          <a:lstStyle/>
          <a:p>
            <a:r>
              <a:rPr lang="en-US" sz="1100">
                <a:solidFill>
                  <a:schemeClr val="bg1"/>
                </a:solidFill>
              </a:rPr>
              <a:t>2</a:t>
            </a:r>
            <a:endParaRPr lang="en-MY" sz="1100">
              <a:solidFill>
                <a:schemeClr val="bg1"/>
              </a:solidFill>
            </a:endParaRPr>
          </a:p>
        </p:txBody>
      </p:sp>
      <p:cxnSp>
        <p:nvCxnSpPr>
          <p:cNvPr id="27" name="Straight Arrow Connector 26">
            <a:extLst>
              <a:ext uri="{FF2B5EF4-FFF2-40B4-BE49-F238E27FC236}">
                <a16:creationId xmlns:a16="http://schemas.microsoft.com/office/drawing/2014/main" id="{DC05E78C-0125-4271-9EAA-D5DEF51C6B2F}"/>
              </a:ext>
            </a:extLst>
          </p:cNvPr>
          <p:cNvCxnSpPr>
            <a:cxnSpLocks/>
          </p:cNvCxnSpPr>
          <p:nvPr/>
        </p:nvCxnSpPr>
        <p:spPr>
          <a:xfrm>
            <a:off x="5874232" y="4103064"/>
            <a:ext cx="4068758" cy="2890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15C80E9C-CD92-42FC-9EE8-501AEE1802AD}"/>
              </a:ext>
            </a:extLst>
          </p:cNvPr>
          <p:cNvCxnSpPr>
            <a:cxnSpLocks/>
          </p:cNvCxnSpPr>
          <p:nvPr/>
        </p:nvCxnSpPr>
        <p:spPr>
          <a:xfrm flipH="1">
            <a:off x="1036602" y="4103064"/>
            <a:ext cx="4837631" cy="2187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539F9E69-B297-4A44-A131-81EFD0E1DD88}"/>
              </a:ext>
            </a:extLst>
          </p:cNvPr>
          <p:cNvSpPr txBox="1"/>
          <p:nvPr/>
        </p:nvSpPr>
        <p:spPr>
          <a:xfrm>
            <a:off x="8089752" y="4207206"/>
            <a:ext cx="2517288" cy="369332"/>
          </a:xfrm>
          <a:prstGeom prst="rect">
            <a:avLst/>
          </a:prstGeom>
          <a:noFill/>
        </p:spPr>
        <p:txBody>
          <a:bodyPr wrap="square" rtlCol="0">
            <a:spAutoFit/>
          </a:bodyPr>
          <a:lstStyle/>
          <a:p>
            <a:r>
              <a:rPr lang="en-US"/>
              <a:t>Established Family</a:t>
            </a:r>
            <a:endParaRPr lang="en-MY"/>
          </a:p>
        </p:txBody>
      </p:sp>
      <p:sp>
        <p:nvSpPr>
          <p:cNvPr id="30" name="TextBox 29">
            <a:extLst>
              <a:ext uri="{FF2B5EF4-FFF2-40B4-BE49-F238E27FC236}">
                <a16:creationId xmlns:a16="http://schemas.microsoft.com/office/drawing/2014/main" id="{2A2BA240-F1CA-40F6-BA22-C3B9972180CD}"/>
              </a:ext>
            </a:extLst>
          </p:cNvPr>
          <p:cNvSpPr txBox="1"/>
          <p:nvPr/>
        </p:nvSpPr>
        <p:spPr>
          <a:xfrm>
            <a:off x="586162" y="4141439"/>
            <a:ext cx="900880" cy="369332"/>
          </a:xfrm>
          <a:prstGeom prst="rect">
            <a:avLst/>
          </a:prstGeom>
          <a:noFill/>
        </p:spPr>
        <p:txBody>
          <a:bodyPr wrap="square" rtlCol="0">
            <a:spAutoFit/>
          </a:bodyPr>
          <a:lstStyle/>
          <a:p>
            <a:r>
              <a:rPr lang="en-US"/>
              <a:t>Age 17</a:t>
            </a:r>
            <a:endParaRPr lang="en-MY"/>
          </a:p>
        </p:txBody>
      </p:sp>
      <p:sp>
        <p:nvSpPr>
          <p:cNvPr id="31" name="TextBox 30">
            <a:extLst>
              <a:ext uri="{FF2B5EF4-FFF2-40B4-BE49-F238E27FC236}">
                <a16:creationId xmlns:a16="http://schemas.microsoft.com/office/drawing/2014/main" id="{D804CE05-406B-4ADE-8B45-81BE6FC6FF45}"/>
              </a:ext>
            </a:extLst>
          </p:cNvPr>
          <p:cNvSpPr txBox="1"/>
          <p:nvPr/>
        </p:nvSpPr>
        <p:spPr>
          <a:xfrm>
            <a:off x="2275682" y="4154688"/>
            <a:ext cx="1408551" cy="369332"/>
          </a:xfrm>
          <a:prstGeom prst="rect">
            <a:avLst/>
          </a:prstGeom>
          <a:noFill/>
        </p:spPr>
        <p:txBody>
          <a:bodyPr wrap="square" rtlCol="0">
            <a:spAutoFit/>
          </a:bodyPr>
          <a:lstStyle/>
          <a:p>
            <a:r>
              <a:rPr lang="en-US"/>
              <a:t>Young Single</a:t>
            </a:r>
            <a:endParaRPr lang="en-MY"/>
          </a:p>
        </p:txBody>
      </p:sp>
      <p:sp>
        <p:nvSpPr>
          <p:cNvPr id="33" name="TextBox 32">
            <a:extLst>
              <a:ext uri="{FF2B5EF4-FFF2-40B4-BE49-F238E27FC236}">
                <a16:creationId xmlns:a16="http://schemas.microsoft.com/office/drawing/2014/main" id="{B8B60638-BECE-4FB6-A19E-0084F1A0327D}"/>
              </a:ext>
            </a:extLst>
          </p:cNvPr>
          <p:cNvSpPr txBox="1"/>
          <p:nvPr/>
        </p:nvSpPr>
        <p:spPr>
          <a:xfrm>
            <a:off x="5966682" y="4211460"/>
            <a:ext cx="2047023" cy="372108"/>
          </a:xfrm>
          <a:prstGeom prst="rect">
            <a:avLst/>
          </a:prstGeom>
          <a:noFill/>
        </p:spPr>
        <p:txBody>
          <a:bodyPr wrap="square" rtlCol="0">
            <a:spAutoFit/>
          </a:bodyPr>
          <a:lstStyle/>
          <a:p>
            <a:r>
              <a:rPr lang="en-US"/>
              <a:t>Mature Couple</a:t>
            </a:r>
            <a:endParaRPr lang="en-MY"/>
          </a:p>
        </p:txBody>
      </p:sp>
      <p:sp>
        <p:nvSpPr>
          <p:cNvPr id="34" name="TextBox 33">
            <a:extLst>
              <a:ext uri="{FF2B5EF4-FFF2-40B4-BE49-F238E27FC236}">
                <a16:creationId xmlns:a16="http://schemas.microsoft.com/office/drawing/2014/main" id="{C9C69C21-AE11-4EDF-8BF7-50AFF99185F5}"/>
              </a:ext>
            </a:extLst>
          </p:cNvPr>
          <p:cNvSpPr txBox="1"/>
          <p:nvPr/>
        </p:nvSpPr>
        <p:spPr>
          <a:xfrm>
            <a:off x="3967152" y="4157734"/>
            <a:ext cx="1609409" cy="369332"/>
          </a:xfrm>
          <a:prstGeom prst="rect">
            <a:avLst/>
          </a:prstGeom>
          <a:noFill/>
        </p:spPr>
        <p:txBody>
          <a:bodyPr wrap="square" rtlCol="0">
            <a:spAutoFit/>
          </a:bodyPr>
          <a:lstStyle/>
          <a:p>
            <a:r>
              <a:rPr lang="en-US"/>
              <a:t>Mature Single</a:t>
            </a:r>
            <a:endParaRPr lang="en-MY"/>
          </a:p>
        </p:txBody>
      </p:sp>
      <p:cxnSp>
        <p:nvCxnSpPr>
          <p:cNvPr id="38" name="Straight Arrow Connector 37">
            <a:extLst>
              <a:ext uri="{FF2B5EF4-FFF2-40B4-BE49-F238E27FC236}">
                <a16:creationId xmlns:a16="http://schemas.microsoft.com/office/drawing/2014/main" id="{3C6875E8-750D-4F87-9E13-AF15086B518D}"/>
              </a:ext>
            </a:extLst>
          </p:cNvPr>
          <p:cNvCxnSpPr>
            <a:cxnSpLocks/>
          </p:cNvCxnSpPr>
          <p:nvPr/>
        </p:nvCxnSpPr>
        <p:spPr>
          <a:xfrm>
            <a:off x="1349406" y="4524020"/>
            <a:ext cx="2995821" cy="1217890"/>
          </a:xfrm>
          <a:prstGeom prst="straightConnector1">
            <a:avLst/>
          </a:prstGeom>
          <a:ln w="3175">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9F13AEDB-2F4B-4F89-B094-2780D6EE3E42}"/>
              </a:ext>
            </a:extLst>
          </p:cNvPr>
          <p:cNvCxnSpPr>
            <a:cxnSpLocks/>
          </p:cNvCxnSpPr>
          <p:nvPr/>
        </p:nvCxnSpPr>
        <p:spPr>
          <a:xfrm>
            <a:off x="2884373" y="4475234"/>
            <a:ext cx="1790657" cy="1328195"/>
          </a:xfrm>
          <a:prstGeom prst="straightConnector1">
            <a:avLst/>
          </a:prstGeom>
          <a:ln w="3175">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A67FAC6-A356-4414-AC89-99F0410F78E1}"/>
              </a:ext>
            </a:extLst>
          </p:cNvPr>
          <p:cNvCxnSpPr>
            <a:cxnSpLocks/>
          </p:cNvCxnSpPr>
          <p:nvPr/>
        </p:nvCxnSpPr>
        <p:spPr>
          <a:xfrm flipH="1">
            <a:off x="5294672" y="4576538"/>
            <a:ext cx="3763786" cy="1558730"/>
          </a:xfrm>
          <a:prstGeom prst="straightConnector1">
            <a:avLst/>
          </a:prstGeom>
          <a:ln w="3175">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097B0EBB-19D7-45EC-B1E4-75BC2D01F320}"/>
              </a:ext>
            </a:extLst>
          </p:cNvPr>
          <p:cNvCxnSpPr>
            <a:cxnSpLocks/>
          </p:cNvCxnSpPr>
          <p:nvPr/>
        </p:nvCxnSpPr>
        <p:spPr>
          <a:xfrm flipH="1">
            <a:off x="5057237" y="4886537"/>
            <a:ext cx="1152760" cy="921493"/>
          </a:xfrm>
          <a:prstGeom prst="straightConnector1">
            <a:avLst/>
          </a:prstGeom>
          <a:ln w="3175">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7160803-CCD1-49EC-A0A1-35989F13797F}"/>
              </a:ext>
            </a:extLst>
          </p:cNvPr>
          <p:cNvCxnSpPr>
            <a:cxnSpLocks/>
          </p:cNvCxnSpPr>
          <p:nvPr/>
        </p:nvCxnSpPr>
        <p:spPr>
          <a:xfrm>
            <a:off x="4857541" y="4576538"/>
            <a:ext cx="0" cy="1102147"/>
          </a:xfrm>
          <a:prstGeom prst="straightConnector1">
            <a:avLst/>
          </a:prstGeom>
          <a:ln w="3175">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146A1D1C-387F-408E-ABF8-15705E9FD28A}"/>
              </a:ext>
            </a:extLst>
          </p:cNvPr>
          <p:cNvCxnSpPr>
            <a:cxnSpLocks/>
          </p:cNvCxnSpPr>
          <p:nvPr/>
        </p:nvCxnSpPr>
        <p:spPr>
          <a:xfrm flipV="1">
            <a:off x="4865068" y="1693478"/>
            <a:ext cx="931084" cy="2285703"/>
          </a:xfrm>
          <a:prstGeom prst="straightConnector1">
            <a:avLst/>
          </a:prstGeom>
          <a:ln w="3175">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B4405090-D569-4A43-A282-39CD28B712F6}"/>
              </a:ext>
            </a:extLst>
          </p:cNvPr>
          <p:cNvCxnSpPr>
            <a:cxnSpLocks/>
          </p:cNvCxnSpPr>
          <p:nvPr/>
        </p:nvCxnSpPr>
        <p:spPr>
          <a:xfrm flipV="1">
            <a:off x="2029631" y="1623368"/>
            <a:ext cx="3162423" cy="1810426"/>
          </a:xfrm>
          <a:prstGeom prst="straightConnector1">
            <a:avLst/>
          </a:prstGeom>
          <a:ln w="3175">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F3DB892-92A7-410A-9345-684D4578380C}"/>
              </a:ext>
            </a:extLst>
          </p:cNvPr>
          <p:cNvCxnSpPr>
            <a:cxnSpLocks/>
          </p:cNvCxnSpPr>
          <p:nvPr/>
        </p:nvCxnSpPr>
        <p:spPr>
          <a:xfrm flipH="1" flipV="1">
            <a:off x="5898092" y="1697035"/>
            <a:ext cx="297460" cy="2221451"/>
          </a:xfrm>
          <a:prstGeom prst="straightConnector1">
            <a:avLst/>
          </a:prstGeom>
          <a:ln w="3175">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0130D892-37AC-4499-9232-8025D659B186}"/>
              </a:ext>
            </a:extLst>
          </p:cNvPr>
          <p:cNvCxnSpPr>
            <a:cxnSpLocks/>
          </p:cNvCxnSpPr>
          <p:nvPr/>
        </p:nvCxnSpPr>
        <p:spPr>
          <a:xfrm flipV="1">
            <a:off x="2698305" y="1854684"/>
            <a:ext cx="2571944" cy="2158394"/>
          </a:xfrm>
          <a:prstGeom prst="straightConnector1">
            <a:avLst/>
          </a:prstGeom>
          <a:ln w="3175">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E673160A-7BA4-48CE-9A6C-B5AE0EFC1E02}"/>
              </a:ext>
            </a:extLst>
          </p:cNvPr>
          <p:cNvCxnSpPr>
            <a:cxnSpLocks/>
          </p:cNvCxnSpPr>
          <p:nvPr/>
        </p:nvCxnSpPr>
        <p:spPr>
          <a:xfrm flipH="1" flipV="1">
            <a:off x="6212674" y="1756723"/>
            <a:ext cx="1999171" cy="2145683"/>
          </a:xfrm>
          <a:prstGeom prst="straightConnector1">
            <a:avLst/>
          </a:prstGeom>
          <a:ln w="3175">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38DE01BE-1F97-4F4B-A592-0558F1BA41F2}"/>
              </a:ext>
            </a:extLst>
          </p:cNvPr>
          <p:cNvSpPr txBox="1"/>
          <p:nvPr/>
        </p:nvSpPr>
        <p:spPr>
          <a:xfrm flipH="1">
            <a:off x="560927" y="320124"/>
            <a:ext cx="3123306" cy="369332"/>
          </a:xfrm>
          <a:prstGeom prst="rect">
            <a:avLst/>
          </a:prstGeom>
          <a:solidFill>
            <a:srgbClr val="D31145"/>
          </a:solidFill>
          <a:effectLst>
            <a:outerShdw blurRad="50800" dist="38100" dir="2700000" algn="tl" rotWithShape="0">
              <a:prstClr val="black">
                <a:alpha val="40000"/>
              </a:prstClr>
            </a:outerShdw>
          </a:effectLst>
        </p:spPr>
        <p:txBody>
          <a:bodyPr wrap="square" rtlCol="0">
            <a:spAutoFit/>
          </a:bodyPr>
          <a:lstStyle/>
          <a:p>
            <a:r>
              <a:rPr lang="en-US" b="1">
                <a:solidFill>
                  <a:schemeClr val="bg1"/>
                </a:solidFill>
              </a:rPr>
              <a:t>RELEVANT</a:t>
            </a:r>
            <a:r>
              <a:rPr lang="en-US">
                <a:solidFill>
                  <a:schemeClr val="bg1"/>
                </a:solidFill>
              </a:rPr>
              <a:t> To Repurchase</a:t>
            </a:r>
            <a:endParaRPr lang="en-MY">
              <a:solidFill>
                <a:schemeClr val="bg1"/>
              </a:solidFill>
            </a:endParaRPr>
          </a:p>
        </p:txBody>
      </p:sp>
    </p:spTree>
    <p:extLst>
      <p:ext uri="{BB962C8B-B14F-4D97-AF65-F5344CB8AC3E}">
        <p14:creationId xmlns:p14="http://schemas.microsoft.com/office/powerpoint/2010/main" val="36691893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3AC95C29-080B-432B-A461-E47F93F25048}"/>
              </a:ext>
            </a:extLst>
          </p:cNvPr>
          <p:cNvGrpSpPr/>
          <p:nvPr/>
        </p:nvGrpSpPr>
        <p:grpSpPr>
          <a:xfrm>
            <a:off x="4972008" y="5591054"/>
            <a:ext cx="900880" cy="865551"/>
            <a:chOff x="2622642" y="3897618"/>
            <a:chExt cx="900880" cy="865551"/>
          </a:xfrm>
        </p:grpSpPr>
        <p:pic>
          <p:nvPicPr>
            <p:cNvPr id="9" name="Picture 8">
              <a:extLst>
                <a:ext uri="{FF2B5EF4-FFF2-40B4-BE49-F238E27FC236}">
                  <a16:creationId xmlns:a16="http://schemas.microsoft.com/office/drawing/2014/main" id="{50C5F03C-5024-480E-B01B-97917FEC290F}"/>
                </a:ext>
              </a:extLst>
            </p:cNvPr>
            <p:cNvPicPr>
              <a:picLocks noChangeAspect="1"/>
            </p:cNvPicPr>
            <p:nvPr/>
          </p:nvPicPr>
          <p:blipFill>
            <a:blip r:embed="rId2"/>
            <a:stretch>
              <a:fillRect/>
            </a:stretch>
          </p:blipFill>
          <p:spPr>
            <a:xfrm>
              <a:off x="2622642" y="3897618"/>
              <a:ext cx="900880" cy="865551"/>
            </a:xfrm>
            <a:prstGeom prst="rect">
              <a:avLst/>
            </a:prstGeom>
          </p:spPr>
        </p:pic>
        <p:sp>
          <p:nvSpPr>
            <p:cNvPr id="10" name="TextBox 9">
              <a:extLst>
                <a:ext uri="{FF2B5EF4-FFF2-40B4-BE49-F238E27FC236}">
                  <a16:creationId xmlns:a16="http://schemas.microsoft.com/office/drawing/2014/main" id="{E417AA0F-D56F-4D7F-811B-E88CC3D036E0}"/>
                </a:ext>
              </a:extLst>
            </p:cNvPr>
            <p:cNvSpPr txBox="1"/>
            <p:nvPr/>
          </p:nvSpPr>
          <p:spPr>
            <a:xfrm>
              <a:off x="2791339" y="4163746"/>
              <a:ext cx="665567" cy="261610"/>
            </a:xfrm>
            <a:prstGeom prst="rect">
              <a:avLst/>
            </a:prstGeom>
            <a:noFill/>
          </p:spPr>
          <p:txBody>
            <a:bodyPr wrap="none" rtlCol="0">
              <a:spAutoFit/>
            </a:bodyPr>
            <a:lstStyle/>
            <a:p>
              <a:r>
                <a:rPr lang="en-US" sz="1100">
                  <a:solidFill>
                    <a:schemeClr val="bg1"/>
                  </a:solidFill>
                </a:rPr>
                <a:t>birthday</a:t>
              </a:r>
              <a:endParaRPr lang="en-MY" sz="1100">
                <a:solidFill>
                  <a:schemeClr val="bg1"/>
                </a:solidFill>
              </a:endParaRPr>
            </a:p>
          </p:txBody>
        </p:sp>
      </p:grpSp>
      <p:grpSp>
        <p:nvGrpSpPr>
          <p:cNvPr id="13" name="Group 12">
            <a:extLst>
              <a:ext uri="{FF2B5EF4-FFF2-40B4-BE49-F238E27FC236}">
                <a16:creationId xmlns:a16="http://schemas.microsoft.com/office/drawing/2014/main" id="{C018B369-DA92-4AD4-B785-92B0BE859315}"/>
              </a:ext>
            </a:extLst>
          </p:cNvPr>
          <p:cNvGrpSpPr/>
          <p:nvPr/>
        </p:nvGrpSpPr>
        <p:grpSpPr>
          <a:xfrm>
            <a:off x="5023169" y="491956"/>
            <a:ext cx="828203" cy="740071"/>
            <a:chOff x="4478035" y="2542584"/>
            <a:chExt cx="828203" cy="740071"/>
          </a:xfrm>
        </p:grpSpPr>
        <p:pic>
          <p:nvPicPr>
            <p:cNvPr id="14" name="Picture 13">
              <a:extLst>
                <a:ext uri="{FF2B5EF4-FFF2-40B4-BE49-F238E27FC236}">
                  <a16:creationId xmlns:a16="http://schemas.microsoft.com/office/drawing/2014/main" id="{2F8F1762-8B03-4806-AAC5-ECAE9CD2290C}"/>
                </a:ext>
              </a:extLst>
            </p:cNvPr>
            <p:cNvPicPr>
              <a:picLocks noChangeAspect="1"/>
            </p:cNvPicPr>
            <p:nvPr/>
          </p:nvPicPr>
          <p:blipFill>
            <a:blip r:embed="rId2"/>
            <a:stretch>
              <a:fillRect/>
            </a:stretch>
          </p:blipFill>
          <p:spPr>
            <a:xfrm>
              <a:off x="4478035" y="2542584"/>
              <a:ext cx="828203" cy="740071"/>
            </a:xfrm>
            <a:prstGeom prst="rect">
              <a:avLst/>
            </a:prstGeom>
          </p:spPr>
        </p:pic>
        <p:sp>
          <p:nvSpPr>
            <p:cNvPr id="15" name="TextBox 14">
              <a:extLst>
                <a:ext uri="{FF2B5EF4-FFF2-40B4-BE49-F238E27FC236}">
                  <a16:creationId xmlns:a16="http://schemas.microsoft.com/office/drawing/2014/main" id="{BF2D2259-119E-4630-97E8-F6A05289B298}"/>
                </a:ext>
              </a:extLst>
            </p:cNvPr>
            <p:cNvSpPr txBox="1"/>
            <p:nvPr/>
          </p:nvSpPr>
          <p:spPr>
            <a:xfrm>
              <a:off x="4554620" y="2707340"/>
              <a:ext cx="748923" cy="261610"/>
            </a:xfrm>
            <a:prstGeom prst="rect">
              <a:avLst/>
            </a:prstGeom>
            <a:noFill/>
          </p:spPr>
          <p:txBody>
            <a:bodyPr wrap="none" rtlCol="0">
              <a:spAutoFit/>
            </a:bodyPr>
            <a:lstStyle/>
            <a:p>
              <a:r>
                <a:rPr lang="en-US" sz="1100" dirty="0">
                  <a:solidFill>
                    <a:schemeClr val="bg1"/>
                  </a:solidFill>
                </a:rPr>
                <a:t>life stage</a:t>
              </a:r>
              <a:endParaRPr lang="en-MY" sz="1100" dirty="0">
                <a:solidFill>
                  <a:schemeClr val="bg1"/>
                </a:solidFill>
              </a:endParaRPr>
            </a:p>
          </p:txBody>
        </p:sp>
      </p:grpSp>
      <p:grpSp>
        <p:nvGrpSpPr>
          <p:cNvPr id="16" name="Group 15">
            <a:extLst>
              <a:ext uri="{FF2B5EF4-FFF2-40B4-BE49-F238E27FC236}">
                <a16:creationId xmlns:a16="http://schemas.microsoft.com/office/drawing/2014/main" id="{258C1DFE-8C2D-41D0-ADEC-3713058961EA}"/>
              </a:ext>
            </a:extLst>
          </p:cNvPr>
          <p:cNvGrpSpPr/>
          <p:nvPr/>
        </p:nvGrpSpPr>
        <p:grpSpPr>
          <a:xfrm>
            <a:off x="4954460" y="3036551"/>
            <a:ext cx="900880" cy="865551"/>
            <a:chOff x="5501060" y="2484013"/>
            <a:chExt cx="900880" cy="865551"/>
          </a:xfrm>
        </p:grpSpPr>
        <p:pic>
          <p:nvPicPr>
            <p:cNvPr id="17" name="Picture 16">
              <a:extLst>
                <a:ext uri="{FF2B5EF4-FFF2-40B4-BE49-F238E27FC236}">
                  <a16:creationId xmlns:a16="http://schemas.microsoft.com/office/drawing/2014/main" id="{0FB25D76-1FBC-46AF-9B9D-20BC35451920}"/>
                </a:ext>
              </a:extLst>
            </p:cNvPr>
            <p:cNvPicPr>
              <a:picLocks noChangeAspect="1"/>
            </p:cNvPicPr>
            <p:nvPr/>
          </p:nvPicPr>
          <p:blipFill>
            <a:blip r:embed="rId2"/>
            <a:stretch>
              <a:fillRect/>
            </a:stretch>
          </p:blipFill>
          <p:spPr>
            <a:xfrm>
              <a:off x="5501060" y="2484013"/>
              <a:ext cx="900880" cy="865551"/>
            </a:xfrm>
            <a:prstGeom prst="rect">
              <a:avLst/>
            </a:prstGeom>
          </p:spPr>
        </p:pic>
        <p:sp>
          <p:nvSpPr>
            <p:cNvPr id="18" name="TextBox 17">
              <a:extLst>
                <a:ext uri="{FF2B5EF4-FFF2-40B4-BE49-F238E27FC236}">
                  <a16:creationId xmlns:a16="http://schemas.microsoft.com/office/drawing/2014/main" id="{61EB3078-01EB-4CBC-B223-521479A4DAD6}"/>
                </a:ext>
              </a:extLst>
            </p:cNvPr>
            <p:cNvSpPr txBox="1"/>
            <p:nvPr/>
          </p:nvSpPr>
          <p:spPr>
            <a:xfrm>
              <a:off x="5739978" y="2741242"/>
              <a:ext cx="455574" cy="261610"/>
            </a:xfrm>
            <a:prstGeom prst="rect">
              <a:avLst/>
            </a:prstGeom>
            <a:noFill/>
          </p:spPr>
          <p:txBody>
            <a:bodyPr wrap="none" rtlCol="0">
              <a:spAutoFit/>
            </a:bodyPr>
            <a:lstStyle/>
            <a:p>
              <a:r>
                <a:rPr lang="en-US" sz="1100">
                  <a:solidFill>
                    <a:schemeClr val="bg1"/>
                  </a:solidFill>
                </a:rPr>
                <a:t>child</a:t>
              </a:r>
              <a:endParaRPr lang="en-MY" sz="1100">
                <a:solidFill>
                  <a:schemeClr val="bg1"/>
                </a:solidFill>
              </a:endParaRPr>
            </a:p>
          </p:txBody>
        </p:sp>
      </p:grpSp>
      <p:grpSp>
        <p:nvGrpSpPr>
          <p:cNvPr id="19" name="Group 18">
            <a:extLst>
              <a:ext uri="{FF2B5EF4-FFF2-40B4-BE49-F238E27FC236}">
                <a16:creationId xmlns:a16="http://schemas.microsoft.com/office/drawing/2014/main" id="{FE7FAFDD-E555-4FEC-BA89-8F4185F2F5DF}"/>
              </a:ext>
            </a:extLst>
          </p:cNvPr>
          <p:cNvGrpSpPr/>
          <p:nvPr/>
        </p:nvGrpSpPr>
        <p:grpSpPr>
          <a:xfrm>
            <a:off x="4986830" y="4276718"/>
            <a:ext cx="958720" cy="865551"/>
            <a:chOff x="8290040" y="2450608"/>
            <a:chExt cx="958720" cy="865551"/>
          </a:xfrm>
        </p:grpSpPr>
        <p:pic>
          <p:nvPicPr>
            <p:cNvPr id="20" name="Picture 19">
              <a:extLst>
                <a:ext uri="{FF2B5EF4-FFF2-40B4-BE49-F238E27FC236}">
                  <a16:creationId xmlns:a16="http://schemas.microsoft.com/office/drawing/2014/main" id="{29F7C5A2-5BC4-4626-9887-00C504EFFE3F}"/>
                </a:ext>
              </a:extLst>
            </p:cNvPr>
            <p:cNvPicPr>
              <a:picLocks noChangeAspect="1"/>
            </p:cNvPicPr>
            <p:nvPr/>
          </p:nvPicPr>
          <p:blipFill>
            <a:blip r:embed="rId2"/>
            <a:stretch>
              <a:fillRect/>
            </a:stretch>
          </p:blipFill>
          <p:spPr>
            <a:xfrm>
              <a:off x="8290040" y="2450608"/>
              <a:ext cx="900880" cy="865551"/>
            </a:xfrm>
            <a:prstGeom prst="rect">
              <a:avLst/>
            </a:prstGeom>
          </p:spPr>
        </p:pic>
        <p:sp>
          <p:nvSpPr>
            <p:cNvPr id="21" name="TextBox 20">
              <a:extLst>
                <a:ext uri="{FF2B5EF4-FFF2-40B4-BE49-F238E27FC236}">
                  <a16:creationId xmlns:a16="http://schemas.microsoft.com/office/drawing/2014/main" id="{C888D30A-41DE-4C92-A1A5-3E2CC3285907}"/>
                </a:ext>
              </a:extLst>
            </p:cNvPr>
            <p:cNvSpPr txBox="1"/>
            <p:nvPr/>
          </p:nvSpPr>
          <p:spPr>
            <a:xfrm>
              <a:off x="8451747" y="2629895"/>
              <a:ext cx="797013" cy="261610"/>
            </a:xfrm>
            <a:prstGeom prst="rect">
              <a:avLst/>
            </a:prstGeom>
            <a:noFill/>
          </p:spPr>
          <p:txBody>
            <a:bodyPr wrap="square" rtlCol="0">
              <a:spAutoFit/>
            </a:bodyPr>
            <a:lstStyle/>
            <a:p>
              <a:r>
                <a:rPr lang="en-US" sz="1100">
                  <a:solidFill>
                    <a:schemeClr val="bg1"/>
                  </a:solidFill>
                </a:rPr>
                <a:t>fam claims</a:t>
              </a:r>
              <a:endParaRPr lang="en-MY" sz="1100">
                <a:solidFill>
                  <a:schemeClr val="bg1"/>
                </a:solidFill>
              </a:endParaRPr>
            </a:p>
          </p:txBody>
        </p:sp>
      </p:grpSp>
      <p:grpSp>
        <p:nvGrpSpPr>
          <p:cNvPr id="22" name="Group 21">
            <a:extLst>
              <a:ext uri="{FF2B5EF4-FFF2-40B4-BE49-F238E27FC236}">
                <a16:creationId xmlns:a16="http://schemas.microsoft.com/office/drawing/2014/main" id="{6BE993DE-4B47-45EB-80A8-7564F106AFE6}"/>
              </a:ext>
            </a:extLst>
          </p:cNvPr>
          <p:cNvGrpSpPr/>
          <p:nvPr/>
        </p:nvGrpSpPr>
        <p:grpSpPr>
          <a:xfrm>
            <a:off x="4964496" y="1785469"/>
            <a:ext cx="1131504" cy="988003"/>
            <a:chOff x="1569310" y="787080"/>
            <a:chExt cx="1006605" cy="865551"/>
          </a:xfrm>
        </p:grpSpPr>
        <p:pic>
          <p:nvPicPr>
            <p:cNvPr id="23" name="Picture 22">
              <a:extLst>
                <a:ext uri="{FF2B5EF4-FFF2-40B4-BE49-F238E27FC236}">
                  <a16:creationId xmlns:a16="http://schemas.microsoft.com/office/drawing/2014/main" id="{26A412B6-BA10-43A2-9B8F-F1DF19CF5C6E}"/>
                </a:ext>
              </a:extLst>
            </p:cNvPr>
            <p:cNvPicPr>
              <a:picLocks noChangeAspect="1"/>
            </p:cNvPicPr>
            <p:nvPr/>
          </p:nvPicPr>
          <p:blipFill>
            <a:blip r:embed="rId2"/>
            <a:stretch>
              <a:fillRect/>
            </a:stretch>
          </p:blipFill>
          <p:spPr>
            <a:xfrm>
              <a:off x="1569310" y="787080"/>
              <a:ext cx="900880" cy="865551"/>
            </a:xfrm>
            <a:prstGeom prst="rect">
              <a:avLst/>
            </a:prstGeom>
          </p:spPr>
        </p:pic>
        <p:sp>
          <p:nvSpPr>
            <p:cNvPr id="24" name="TextBox 23">
              <a:extLst>
                <a:ext uri="{FF2B5EF4-FFF2-40B4-BE49-F238E27FC236}">
                  <a16:creationId xmlns:a16="http://schemas.microsoft.com/office/drawing/2014/main" id="{FC11256C-6E1D-48AE-811F-DD7405CCAD20}"/>
                </a:ext>
              </a:extLst>
            </p:cNvPr>
            <p:cNvSpPr txBox="1"/>
            <p:nvPr/>
          </p:nvSpPr>
          <p:spPr>
            <a:xfrm>
              <a:off x="1631098" y="1061299"/>
              <a:ext cx="944817" cy="233538"/>
            </a:xfrm>
            <a:prstGeom prst="rect">
              <a:avLst/>
            </a:prstGeom>
            <a:noFill/>
          </p:spPr>
          <p:txBody>
            <a:bodyPr wrap="none" rtlCol="0">
              <a:spAutoFit/>
            </a:bodyPr>
            <a:lstStyle/>
            <a:p>
              <a:r>
                <a:rPr lang="en-US" sz="800">
                  <a:solidFill>
                    <a:schemeClr val="bg1"/>
                  </a:solidFill>
                </a:rPr>
                <a:t>Income change</a:t>
              </a:r>
              <a:endParaRPr lang="en-MY" sz="800">
                <a:solidFill>
                  <a:schemeClr val="bg1"/>
                </a:solidFill>
              </a:endParaRPr>
            </a:p>
          </p:txBody>
        </p:sp>
      </p:grpSp>
      <p:pic>
        <p:nvPicPr>
          <p:cNvPr id="30" name="Picture 29">
            <a:extLst>
              <a:ext uri="{FF2B5EF4-FFF2-40B4-BE49-F238E27FC236}">
                <a16:creationId xmlns:a16="http://schemas.microsoft.com/office/drawing/2014/main" id="{EA626490-D2ED-4C3F-9EA6-E2952F36D2BA}"/>
              </a:ext>
            </a:extLst>
          </p:cNvPr>
          <p:cNvPicPr>
            <a:picLocks noChangeAspect="1"/>
          </p:cNvPicPr>
          <p:nvPr/>
        </p:nvPicPr>
        <p:blipFill>
          <a:blip r:embed="rId3"/>
          <a:stretch>
            <a:fillRect/>
          </a:stretch>
        </p:blipFill>
        <p:spPr>
          <a:xfrm>
            <a:off x="8792550" y="3915102"/>
            <a:ext cx="1047750" cy="1504950"/>
          </a:xfrm>
          <a:prstGeom prst="rect">
            <a:avLst/>
          </a:prstGeom>
        </p:spPr>
      </p:pic>
      <p:pic>
        <p:nvPicPr>
          <p:cNvPr id="34" name="Picture 33">
            <a:extLst>
              <a:ext uri="{FF2B5EF4-FFF2-40B4-BE49-F238E27FC236}">
                <a16:creationId xmlns:a16="http://schemas.microsoft.com/office/drawing/2014/main" id="{CBB35A9F-6CE8-4750-9BFB-91A59D67D6A9}"/>
              </a:ext>
            </a:extLst>
          </p:cNvPr>
          <p:cNvPicPr>
            <a:picLocks noChangeAspect="1"/>
          </p:cNvPicPr>
          <p:nvPr/>
        </p:nvPicPr>
        <p:blipFill>
          <a:blip r:embed="rId4"/>
          <a:stretch>
            <a:fillRect/>
          </a:stretch>
        </p:blipFill>
        <p:spPr>
          <a:xfrm>
            <a:off x="8829263" y="1237282"/>
            <a:ext cx="895350" cy="1541429"/>
          </a:xfrm>
          <a:prstGeom prst="rect">
            <a:avLst/>
          </a:prstGeom>
        </p:spPr>
      </p:pic>
      <p:cxnSp>
        <p:nvCxnSpPr>
          <p:cNvPr id="3" name="Straight Arrow Connector 2">
            <a:extLst>
              <a:ext uri="{FF2B5EF4-FFF2-40B4-BE49-F238E27FC236}">
                <a16:creationId xmlns:a16="http://schemas.microsoft.com/office/drawing/2014/main" id="{A52D0D87-9042-4E6B-8E74-8935A890DDEF}"/>
              </a:ext>
            </a:extLst>
          </p:cNvPr>
          <p:cNvCxnSpPr>
            <a:cxnSpLocks/>
            <a:endCxn id="14" idx="1"/>
          </p:cNvCxnSpPr>
          <p:nvPr/>
        </p:nvCxnSpPr>
        <p:spPr>
          <a:xfrm flipV="1">
            <a:off x="2582873" y="861992"/>
            <a:ext cx="2440296" cy="37925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066F78CB-144B-4DCA-B1EF-D492B704027F}"/>
              </a:ext>
            </a:extLst>
          </p:cNvPr>
          <p:cNvCxnSpPr>
            <a:cxnSpLocks/>
            <a:endCxn id="14" idx="1"/>
          </p:cNvCxnSpPr>
          <p:nvPr/>
        </p:nvCxnSpPr>
        <p:spPr>
          <a:xfrm flipV="1">
            <a:off x="2596028" y="861992"/>
            <a:ext cx="2427141" cy="10904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DF5621AB-DA6C-4F53-AE69-9FDEEF9621C0}"/>
              </a:ext>
            </a:extLst>
          </p:cNvPr>
          <p:cNvCxnSpPr>
            <a:cxnSpLocks/>
            <a:endCxn id="17" idx="1"/>
          </p:cNvCxnSpPr>
          <p:nvPr/>
        </p:nvCxnSpPr>
        <p:spPr>
          <a:xfrm>
            <a:off x="2596028" y="1952438"/>
            <a:ext cx="2358432" cy="15168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4F389A43-9160-471B-9AAD-6D8F738EEA4F}"/>
              </a:ext>
            </a:extLst>
          </p:cNvPr>
          <p:cNvCxnSpPr>
            <a:cxnSpLocks/>
            <a:endCxn id="20" idx="1"/>
          </p:cNvCxnSpPr>
          <p:nvPr/>
        </p:nvCxnSpPr>
        <p:spPr>
          <a:xfrm>
            <a:off x="2596028" y="1952438"/>
            <a:ext cx="2390802" cy="27570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CC178D7-67D0-4648-A3F0-89921528435F}"/>
              </a:ext>
            </a:extLst>
          </p:cNvPr>
          <p:cNvCxnSpPr>
            <a:cxnSpLocks/>
            <a:endCxn id="20" idx="1"/>
          </p:cNvCxnSpPr>
          <p:nvPr/>
        </p:nvCxnSpPr>
        <p:spPr>
          <a:xfrm>
            <a:off x="2582873" y="4654577"/>
            <a:ext cx="2403957" cy="549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9436F76E-949F-4780-8522-D12DCBDAD641}"/>
              </a:ext>
            </a:extLst>
          </p:cNvPr>
          <p:cNvCxnSpPr>
            <a:cxnSpLocks/>
          </p:cNvCxnSpPr>
          <p:nvPr/>
        </p:nvCxnSpPr>
        <p:spPr>
          <a:xfrm flipV="1">
            <a:off x="2596028" y="3519365"/>
            <a:ext cx="2304897" cy="1143333"/>
          </a:xfrm>
          <a:prstGeom prst="straightConnector1">
            <a:avLst/>
          </a:prstGeom>
          <a:ln w="57150">
            <a:solidFill>
              <a:srgbClr val="FFC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8603E62C-FF3C-4BE0-86F3-3C4C68B61E96}"/>
              </a:ext>
            </a:extLst>
          </p:cNvPr>
          <p:cNvCxnSpPr>
            <a:cxnSpLocks/>
            <a:stCxn id="34" idx="1"/>
            <a:endCxn id="24" idx="3"/>
          </p:cNvCxnSpPr>
          <p:nvPr/>
        </p:nvCxnSpPr>
        <p:spPr>
          <a:xfrm flipH="1">
            <a:off x="6096000" y="2007997"/>
            <a:ext cx="2733263" cy="2237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50F00FD4-1D8E-41A3-95AA-38D08340F28D}"/>
              </a:ext>
            </a:extLst>
          </p:cNvPr>
          <p:cNvCxnSpPr>
            <a:cxnSpLocks/>
            <a:stCxn id="30" idx="1"/>
            <a:endCxn id="24" idx="3"/>
          </p:cNvCxnSpPr>
          <p:nvPr/>
        </p:nvCxnSpPr>
        <p:spPr>
          <a:xfrm flipH="1" flipV="1">
            <a:off x="6096000" y="2231772"/>
            <a:ext cx="2696550" cy="24358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3AD97F1B-901F-4651-A788-4A19B9915274}"/>
              </a:ext>
            </a:extLst>
          </p:cNvPr>
          <p:cNvCxnSpPr>
            <a:cxnSpLocks/>
            <a:stCxn id="34" idx="1"/>
            <a:endCxn id="14" idx="3"/>
          </p:cNvCxnSpPr>
          <p:nvPr/>
        </p:nvCxnSpPr>
        <p:spPr>
          <a:xfrm flipH="1" flipV="1">
            <a:off x="5851372" y="861992"/>
            <a:ext cx="2977891" cy="11460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C4271CE-C625-4F15-859A-DF9ED0C86B26}"/>
              </a:ext>
            </a:extLst>
          </p:cNvPr>
          <p:cNvCxnSpPr>
            <a:cxnSpLocks/>
            <a:stCxn id="30" idx="1"/>
          </p:cNvCxnSpPr>
          <p:nvPr/>
        </p:nvCxnSpPr>
        <p:spPr>
          <a:xfrm flipH="1" flipV="1">
            <a:off x="5924424" y="927527"/>
            <a:ext cx="2868126" cy="3740050"/>
          </a:xfrm>
          <a:prstGeom prst="straightConnector1">
            <a:avLst/>
          </a:prstGeom>
          <a:ln w="57150">
            <a:solidFill>
              <a:srgbClr val="FFC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1EBFA720-E77F-4E77-88DE-2C8218DFB674}"/>
              </a:ext>
            </a:extLst>
          </p:cNvPr>
          <p:cNvSpPr txBox="1"/>
          <p:nvPr/>
        </p:nvSpPr>
        <p:spPr>
          <a:xfrm>
            <a:off x="8042425" y="3055253"/>
            <a:ext cx="3107093" cy="369332"/>
          </a:xfrm>
          <a:prstGeom prst="rect">
            <a:avLst/>
          </a:prstGeom>
          <a:noFill/>
        </p:spPr>
        <p:txBody>
          <a:bodyPr wrap="square" rtlCol="0">
            <a:spAutoFit/>
          </a:bodyPr>
          <a:lstStyle/>
          <a:p>
            <a:r>
              <a:rPr lang="en-US" b="1"/>
              <a:t>Young single from big city</a:t>
            </a:r>
            <a:endParaRPr lang="en-MY" b="1"/>
          </a:p>
        </p:txBody>
      </p:sp>
      <p:sp>
        <p:nvSpPr>
          <p:cNvPr id="42" name="TextBox 41">
            <a:extLst>
              <a:ext uri="{FF2B5EF4-FFF2-40B4-BE49-F238E27FC236}">
                <a16:creationId xmlns:a16="http://schemas.microsoft.com/office/drawing/2014/main" id="{9C71A2AB-BF20-4BFC-8A8C-8B46B2F8ACB5}"/>
              </a:ext>
            </a:extLst>
          </p:cNvPr>
          <p:cNvSpPr txBox="1"/>
          <p:nvPr/>
        </p:nvSpPr>
        <p:spPr>
          <a:xfrm>
            <a:off x="639192" y="3038404"/>
            <a:ext cx="2703611" cy="369332"/>
          </a:xfrm>
          <a:prstGeom prst="rect">
            <a:avLst/>
          </a:prstGeom>
          <a:noFill/>
        </p:spPr>
        <p:txBody>
          <a:bodyPr wrap="square" rtlCol="0">
            <a:spAutoFit/>
          </a:bodyPr>
          <a:lstStyle/>
          <a:p>
            <a:r>
              <a:rPr lang="en-US" b="1"/>
              <a:t>Nest builder 34 </a:t>
            </a:r>
            <a:r>
              <a:rPr lang="en-US" b="1" err="1"/>
              <a:t>yrs</a:t>
            </a:r>
            <a:r>
              <a:rPr lang="en-US" b="1"/>
              <a:t> old</a:t>
            </a:r>
            <a:endParaRPr lang="en-MY" b="1"/>
          </a:p>
        </p:txBody>
      </p:sp>
      <p:sp>
        <p:nvSpPr>
          <p:cNvPr id="55" name="TextBox 54">
            <a:extLst>
              <a:ext uri="{FF2B5EF4-FFF2-40B4-BE49-F238E27FC236}">
                <a16:creationId xmlns:a16="http://schemas.microsoft.com/office/drawing/2014/main" id="{E0387008-2CD2-4F0C-BDE0-E073395A1CAA}"/>
              </a:ext>
            </a:extLst>
          </p:cNvPr>
          <p:cNvSpPr txBox="1"/>
          <p:nvPr/>
        </p:nvSpPr>
        <p:spPr>
          <a:xfrm>
            <a:off x="639192" y="284085"/>
            <a:ext cx="3027286" cy="369332"/>
          </a:xfrm>
          <a:prstGeom prst="rect">
            <a:avLst/>
          </a:prstGeom>
          <a:solidFill>
            <a:srgbClr val="D31145"/>
          </a:solidFill>
          <a:effectLst>
            <a:outerShdw blurRad="50800" dist="38100" dir="2700000" algn="tl" rotWithShape="0">
              <a:prstClr val="black">
                <a:alpha val="40000"/>
              </a:prstClr>
            </a:outerShdw>
          </a:effectLst>
        </p:spPr>
        <p:txBody>
          <a:bodyPr wrap="square" rtlCol="0">
            <a:spAutoFit/>
          </a:bodyPr>
          <a:lstStyle/>
          <a:p>
            <a:r>
              <a:rPr lang="en-US" b="1">
                <a:solidFill>
                  <a:schemeClr val="bg1"/>
                </a:solidFill>
              </a:rPr>
              <a:t>TRIGGER to Repurchase</a:t>
            </a:r>
            <a:endParaRPr lang="en-MY" b="1">
              <a:solidFill>
                <a:schemeClr val="bg1"/>
              </a:solidFill>
            </a:endParaRPr>
          </a:p>
        </p:txBody>
      </p:sp>
      <p:pic>
        <p:nvPicPr>
          <p:cNvPr id="2" name="Picture 1">
            <a:extLst>
              <a:ext uri="{FF2B5EF4-FFF2-40B4-BE49-F238E27FC236}">
                <a16:creationId xmlns:a16="http://schemas.microsoft.com/office/drawing/2014/main" id="{93552209-A062-4CB9-9C62-CDE17BF0F683}"/>
              </a:ext>
            </a:extLst>
          </p:cNvPr>
          <p:cNvPicPr>
            <a:picLocks noChangeAspect="1"/>
          </p:cNvPicPr>
          <p:nvPr/>
        </p:nvPicPr>
        <p:blipFill>
          <a:blip r:embed="rId5"/>
          <a:stretch>
            <a:fillRect/>
          </a:stretch>
        </p:blipFill>
        <p:spPr>
          <a:xfrm>
            <a:off x="1566513" y="1112582"/>
            <a:ext cx="952930" cy="1814194"/>
          </a:xfrm>
          <a:prstGeom prst="rect">
            <a:avLst/>
          </a:prstGeom>
        </p:spPr>
      </p:pic>
      <p:pic>
        <p:nvPicPr>
          <p:cNvPr id="25" name="Picture 24">
            <a:extLst>
              <a:ext uri="{FF2B5EF4-FFF2-40B4-BE49-F238E27FC236}">
                <a16:creationId xmlns:a16="http://schemas.microsoft.com/office/drawing/2014/main" id="{8F8944F8-12EE-42DE-8EE7-6BF7D2DB070F}"/>
              </a:ext>
            </a:extLst>
          </p:cNvPr>
          <p:cNvPicPr>
            <a:picLocks noChangeAspect="1"/>
          </p:cNvPicPr>
          <p:nvPr/>
        </p:nvPicPr>
        <p:blipFill>
          <a:blip r:embed="rId6"/>
          <a:stretch>
            <a:fillRect/>
          </a:stretch>
        </p:blipFill>
        <p:spPr>
          <a:xfrm>
            <a:off x="1612908" y="3773132"/>
            <a:ext cx="864771" cy="1811016"/>
          </a:xfrm>
          <a:prstGeom prst="rect">
            <a:avLst/>
          </a:prstGeom>
        </p:spPr>
      </p:pic>
    </p:spTree>
    <p:extLst>
      <p:ext uri="{BB962C8B-B14F-4D97-AF65-F5344CB8AC3E}">
        <p14:creationId xmlns:p14="http://schemas.microsoft.com/office/powerpoint/2010/main" val="41459576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54;p17">
            <a:extLst>
              <a:ext uri="{FF2B5EF4-FFF2-40B4-BE49-F238E27FC236}">
                <a16:creationId xmlns:a16="http://schemas.microsoft.com/office/drawing/2014/main" id="{4CDF9D43-8076-4125-A8E4-9FB615B1A3D8}"/>
              </a:ext>
            </a:extLst>
          </p:cNvPr>
          <p:cNvSpPr txBox="1"/>
          <p:nvPr/>
        </p:nvSpPr>
        <p:spPr>
          <a:xfrm>
            <a:off x="539695" y="317268"/>
            <a:ext cx="10941005" cy="487600"/>
          </a:xfrm>
          <a:prstGeom prst="rect">
            <a:avLst/>
          </a:prstGeom>
          <a:solidFill>
            <a:srgbClr val="D31145"/>
          </a:solidFill>
          <a:ln>
            <a:noFill/>
          </a:ln>
          <a:effectLst>
            <a:outerShdw blurRad="50800" dist="38100" dir="2700000" algn="tl" rotWithShape="0">
              <a:prstClr val="black">
                <a:alpha val="40000"/>
              </a:prstClr>
            </a:outerShdw>
          </a:effectLst>
        </p:spPr>
        <p:txBody>
          <a:bodyPr spcFirstLastPara="1" wrap="square" lIns="121900" tIns="121900" rIns="121900" bIns="121900" anchor="ctr" anchorCtr="0">
            <a:noAutofit/>
          </a:bodyPr>
          <a:lstStyle/>
          <a:p>
            <a:pPr algn="ctr"/>
            <a:r>
              <a:rPr lang="en" sz="2000" b="1">
                <a:solidFill>
                  <a:schemeClr val="bg1"/>
                </a:solidFill>
                <a:latin typeface="Fira Sans Extra Condensed Medium"/>
                <a:ea typeface="Fira Sans Extra Condensed Medium"/>
                <a:cs typeface="Fira Sans Extra Condensed Medium"/>
                <a:sym typeface="Fira Sans Extra Condensed Medium"/>
              </a:rPr>
              <a:t>Model Performance and Validation</a:t>
            </a:r>
            <a:endParaRPr sz="2000" b="1">
              <a:solidFill>
                <a:schemeClr val="bg1"/>
              </a:solidFill>
              <a:latin typeface="Fira Sans Extra Condensed Medium"/>
              <a:ea typeface="Fira Sans Extra Condensed Medium"/>
              <a:cs typeface="Fira Sans Extra Condensed Medium"/>
              <a:sym typeface="Fira Sans Extra Condensed Medium"/>
            </a:endParaRPr>
          </a:p>
        </p:txBody>
      </p:sp>
      <p:sp>
        <p:nvSpPr>
          <p:cNvPr id="5" name="TextBox 4">
            <a:extLst>
              <a:ext uri="{FF2B5EF4-FFF2-40B4-BE49-F238E27FC236}">
                <a16:creationId xmlns:a16="http://schemas.microsoft.com/office/drawing/2014/main" id="{9B9C95C8-4A62-4380-987D-A3834BD76AB4}"/>
              </a:ext>
            </a:extLst>
          </p:cNvPr>
          <p:cNvSpPr txBox="1"/>
          <p:nvPr/>
        </p:nvSpPr>
        <p:spPr>
          <a:xfrm>
            <a:off x="8913192" y="3748896"/>
            <a:ext cx="2567508" cy="584775"/>
          </a:xfrm>
          <a:prstGeom prst="rect">
            <a:avLst/>
          </a:prstGeom>
          <a:noFill/>
        </p:spPr>
        <p:txBody>
          <a:bodyPr wrap="square" lIns="91440" tIns="45720" rIns="91440" bIns="45720" rtlCol="0" anchor="t">
            <a:spAutoFit/>
          </a:bodyPr>
          <a:lstStyle/>
          <a:p>
            <a:pPr algn="ctr"/>
            <a:r>
              <a:rPr lang="en-US" b="1" dirty="0">
                <a:latin typeface="Arial"/>
                <a:cs typeface="Arial"/>
              </a:rPr>
              <a:t>NDCG</a:t>
            </a:r>
            <a:r>
              <a:rPr lang="en-US" dirty="0">
                <a:latin typeface="Arial"/>
                <a:cs typeface="Arial"/>
              </a:rPr>
              <a:t> – </a:t>
            </a:r>
            <a:r>
              <a:rPr lang="en-US" sz="1400" dirty="0">
                <a:latin typeface="Arial"/>
                <a:cs typeface="Arial"/>
              </a:rPr>
              <a:t>Normalize Discounted Cumulative Gain</a:t>
            </a:r>
            <a:endParaRPr lang="en-US" sz="1400" dirty="0">
              <a:latin typeface="Arial" panose="020B0604020202020204" pitchFamily="34" charset="0"/>
              <a:cs typeface="Arial" panose="020B0604020202020204" pitchFamily="34" charset="0"/>
            </a:endParaRPr>
          </a:p>
        </p:txBody>
      </p:sp>
      <p:sp>
        <p:nvSpPr>
          <p:cNvPr id="47" name="Oval 46">
            <a:extLst>
              <a:ext uri="{FF2B5EF4-FFF2-40B4-BE49-F238E27FC236}">
                <a16:creationId xmlns:a16="http://schemas.microsoft.com/office/drawing/2014/main" id="{AA528625-2643-4F16-A2C6-30978E0FEC42}"/>
              </a:ext>
            </a:extLst>
          </p:cNvPr>
          <p:cNvSpPr/>
          <p:nvPr/>
        </p:nvSpPr>
        <p:spPr>
          <a:xfrm>
            <a:off x="1049244" y="1364986"/>
            <a:ext cx="4313461" cy="3951515"/>
          </a:xfrm>
          <a:prstGeom prst="ellipse">
            <a:avLst/>
          </a:prstGeom>
          <a:solidFill>
            <a:srgbClr val="D3114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HK"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8" name="Oval 47">
            <a:extLst>
              <a:ext uri="{FF2B5EF4-FFF2-40B4-BE49-F238E27FC236}">
                <a16:creationId xmlns:a16="http://schemas.microsoft.com/office/drawing/2014/main" id="{154BFE74-0B68-4F30-A89D-22A0EA0A831E}"/>
              </a:ext>
            </a:extLst>
          </p:cNvPr>
          <p:cNvSpPr/>
          <p:nvPr/>
        </p:nvSpPr>
        <p:spPr>
          <a:xfrm>
            <a:off x="1598793" y="1927525"/>
            <a:ext cx="3205779" cy="3372447"/>
          </a:xfrm>
          <a:prstGeom prst="ellipse">
            <a:avLst/>
          </a:prstGeom>
          <a:solidFill>
            <a:srgbClr val="F04673"/>
          </a:solidFill>
          <a:ln w="25400" cap="flat" cmpd="sng" algn="ctr">
            <a:no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9" name="Oval 48">
            <a:extLst>
              <a:ext uri="{FF2B5EF4-FFF2-40B4-BE49-F238E27FC236}">
                <a16:creationId xmlns:a16="http://schemas.microsoft.com/office/drawing/2014/main" id="{B0DF3CA4-3901-4D55-9237-1426A778B866}"/>
              </a:ext>
            </a:extLst>
          </p:cNvPr>
          <p:cNvSpPr/>
          <p:nvPr/>
        </p:nvSpPr>
        <p:spPr>
          <a:xfrm>
            <a:off x="1856975" y="2568708"/>
            <a:ext cx="2710927" cy="2747793"/>
          </a:xfrm>
          <a:prstGeom prst="ellipse">
            <a:avLst/>
          </a:prstGeom>
          <a:solidFill>
            <a:srgbClr val="F583A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HK" sz="18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50" name="TextBox 49">
            <a:extLst>
              <a:ext uri="{FF2B5EF4-FFF2-40B4-BE49-F238E27FC236}">
                <a16:creationId xmlns:a16="http://schemas.microsoft.com/office/drawing/2014/main" id="{9CB18A65-243B-4B4F-A8F4-754CC39CD38D}"/>
              </a:ext>
            </a:extLst>
          </p:cNvPr>
          <p:cNvSpPr txBox="1"/>
          <p:nvPr/>
        </p:nvSpPr>
        <p:spPr>
          <a:xfrm>
            <a:off x="2282476" y="2093226"/>
            <a:ext cx="1946332" cy="477054"/>
          </a:xfrm>
          <a:prstGeom prst="rect">
            <a:avLst/>
          </a:prstGeom>
          <a:noFill/>
        </p:spPr>
        <p:txBody>
          <a:bodyPr wrap="square" rtlCol="0">
            <a:spAutoFit/>
          </a:bodyPr>
          <a:lstStyle/>
          <a:p>
            <a:pPr algn="ctr"/>
            <a:r>
              <a:rPr lang="en-GB" sz="2500" dirty="0">
                <a:solidFill>
                  <a:srgbClr val="FFFFFF"/>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89% </a:t>
            </a:r>
            <a:r>
              <a:rPr lang="en-GB" i="1" dirty="0">
                <a:solidFill>
                  <a:srgbClr val="FFFFFF"/>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54k)</a:t>
            </a:r>
            <a:r>
              <a:rPr lang="en-GB" sz="2500" dirty="0">
                <a:solidFill>
                  <a:srgbClr val="FFFFFF"/>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p>
        </p:txBody>
      </p:sp>
      <p:sp>
        <p:nvSpPr>
          <p:cNvPr id="51" name="TextBox 50">
            <a:extLst>
              <a:ext uri="{FF2B5EF4-FFF2-40B4-BE49-F238E27FC236}">
                <a16:creationId xmlns:a16="http://schemas.microsoft.com/office/drawing/2014/main" id="{FB035D91-A59C-4202-A0E9-F7242904AEA3}"/>
              </a:ext>
            </a:extLst>
          </p:cNvPr>
          <p:cNvSpPr txBox="1"/>
          <p:nvPr/>
        </p:nvSpPr>
        <p:spPr>
          <a:xfrm>
            <a:off x="5713578" y="1538822"/>
            <a:ext cx="2667228" cy="369332"/>
          </a:xfrm>
          <a:prstGeom prst="rect">
            <a:avLst/>
          </a:prstGeom>
          <a:noFill/>
        </p:spPr>
        <p:txBody>
          <a:bodyPr wrap="square" rtlCol="0">
            <a:spAutoFit/>
          </a:bodyPr>
          <a:lstStyle/>
          <a:p>
            <a:pPr algn="ctr"/>
            <a:r>
              <a:rPr lang="en-GB" dirty="0">
                <a:solidFill>
                  <a:srgbClr val="D31145"/>
                </a:solidFill>
                <a:latin typeface="Arial" panose="020B0604020202020204" pitchFamily="34" charset="0"/>
                <a:cs typeface="Arial" panose="020B0604020202020204" pitchFamily="34" charset="0"/>
              </a:rPr>
              <a:t>With Cross Sell Triggers </a:t>
            </a:r>
            <a:endParaRPr lang="en-HK" dirty="0" err="1">
              <a:solidFill>
                <a:srgbClr val="D31145"/>
              </a:solidFill>
              <a:latin typeface="Arial" panose="020B0604020202020204" pitchFamily="34" charset="0"/>
              <a:cs typeface="Arial" panose="020B0604020202020204" pitchFamily="34" charset="0"/>
            </a:endParaRPr>
          </a:p>
        </p:txBody>
      </p:sp>
      <p:cxnSp>
        <p:nvCxnSpPr>
          <p:cNvPr id="53" name="Straight Connector 52">
            <a:extLst>
              <a:ext uri="{FF2B5EF4-FFF2-40B4-BE49-F238E27FC236}">
                <a16:creationId xmlns:a16="http://schemas.microsoft.com/office/drawing/2014/main" id="{9E239100-582B-46A5-86BE-FA9C8D3C53F5}"/>
              </a:ext>
            </a:extLst>
          </p:cNvPr>
          <p:cNvCxnSpPr>
            <a:cxnSpLocks/>
          </p:cNvCxnSpPr>
          <p:nvPr/>
        </p:nvCxnSpPr>
        <p:spPr>
          <a:xfrm flipH="1">
            <a:off x="4147811" y="2420567"/>
            <a:ext cx="1546540" cy="12553"/>
          </a:xfrm>
          <a:prstGeom prst="line">
            <a:avLst/>
          </a:prstGeom>
          <a:noFill/>
          <a:ln w="9525" cap="flat" cmpd="sng" algn="ctr">
            <a:solidFill>
              <a:srgbClr val="303D48">
                <a:lumMod val="50000"/>
                <a:lumOff val="50000"/>
              </a:srgbClr>
            </a:solidFill>
            <a:prstDash val="dash"/>
            <a:headEnd type="oval"/>
            <a:tailEnd type="oval"/>
          </a:ln>
          <a:effectLst/>
        </p:spPr>
      </p:cxnSp>
      <p:sp>
        <p:nvSpPr>
          <p:cNvPr id="56" name="TextBox 55">
            <a:extLst>
              <a:ext uri="{FF2B5EF4-FFF2-40B4-BE49-F238E27FC236}">
                <a16:creationId xmlns:a16="http://schemas.microsoft.com/office/drawing/2014/main" id="{5D735CDF-3711-412C-88C1-E2A0C410F980}"/>
              </a:ext>
            </a:extLst>
          </p:cNvPr>
          <p:cNvSpPr txBox="1"/>
          <p:nvPr/>
        </p:nvSpPr>
        <p:spPr>
          <a:xfrm>
            <a:off x="5648546" y="2076989"/>
            <a:ext cx="2446419" cy="846386"/>
          </a:xfrm>
          <a:prstGeom prst="rect">
            <a:avLst/>
          </a:prstGeom>
          <a:noFill/>
        </p:spPr>
        <p:txBody>
          <a:bodyPr wrap="square" rtlCol="0">
            <a:spAutoFit/>
          </a:bodyPr>
          <a:lstStyle/>
          <a:p>
            <a:pPr algn="ctr"/>
            <a:r>
              <a:rPr lang="en-GB" dirty="0">
                <a:solidFill>
                  <a:srgbClr val="D31145"/>
                </a:solidFill>
                <a:latin typeface="Arial" panose="020B0604020202020204" pitchFamily="34" charset="0"/>
                <a:cs typeface="Arial" panose="020B0604020202020204" pitchFamily="34" charset="0"/>
              </a:rPr>
              <a:t>Top 3 Flags </a:t>
            </a:r>
          </a:p>
          <a:p>
            <a:pPr algn="ctr"/>
            <a:r>
              <a:rPr lang="en-GB" dirty="0">
                <a:solidFill>
                  <a:srgbClr val="D31145"/>
                </a:solidFill>
                <a:latin typeface="Arial" panose="020B0604020202020204" pitchFamily="34" charset="0"/>
                <a:cs typeface="Arial" panose="020B0604020202020204" pitchFamily="34" charset="0"/>
              </a:rPr>
              <a:t>Rightly Predicted </a:t>
            </a:r>
          </a:p>
          <a:p>
            <a:pPr algn="ctr"/>
            <a:r>
              <a:rPr lang="en-GB" sz="1300" i="1" dirty="0">
                <a:solidFill>
                  <a:srgbClr val="D31145"/>
                </a:solidFill>
                <a:latin typeface="Arial" panose="020B0604020202020204" pitchFamily="34" charset="0"/>
                <a:cs typeface="Arial" panose="020B0604020202020204" pitchFamily="34" charset="0"/>
              </a:rPr>
              <a:t>(regardless of ranking)</a:t>
            </a:r>
            <a:endParaRPr lang="en-HK" sz="1300" i="1" dirty="0" err="1">
              <a:solidFill>
                <a:srgbClr val="D31145"/>
              </a:solidFill>
              <a:latin typeface="Arial" panose="020B0604020202020204" pitchFamily="34" charset="0"/>
              <a:cs typeface="Arial" panose="020B0604020202020204" pitchFamily="34" charset="0"/>
            </a:endParaRPr>
          </a:p>
        </p:txBody>
      </p:sp>
      <p:cxnSp>
        <p:nvCxnSpPr>
          <p:cNvPr id="58" name="Straight Connector 57">
            <a:extLst>
              <a:ext uri="{FF2B5EF4-FFF2-40B4-BE49-F238E27FC236}">
                <a16:creationId xmlns:a16="http://schemas.microsoft.com/office/drawing/2014/main" id="{CD13A81C-E5FC-4631-B37F-54BF0CA00E06}"/>
              </a:ext>
            </a:extLst>
          </p:cNvPr>
          <p:cNvCxnSpPr>
            <a:cxnSpLocks/>
          </p:cNvCxnSpPr>
          <p:nvPr/>
        </p:nvCxnSpPr>
        <p:spPr>
          <a:xfrm flipH="1">
            <a:off x="4094617" y="1748674"/>
            <a:ext cx="1546540" cy="12553"/>
          </a:xfrm>
          <a:prstGeom prst="line">
            <a:avLst/>
          </a:prstGeom>
          <a:noFill/>
          <a:ln w="9525" cap="flat" cmpd="sng" algn="ctr">
            <a:solidFill>
              <a:srgbClr val="303D48">
                <a:lumMod val="50000"/>
                <a:lumOff val="50000"/>
              </a:srgbClr>
            </a:solidFill>
            <a:prstDash val="dash"/>
            <a:headEnd type="oval"/>
            <a:tailEnd type="oval"/>
          </a:ln>
          <a:effectLst/>
        </p:spPr>
      </p:cxnSp>
      <p:sp>
        <p:nvSpPr>
          <p:cNvPr id="59" name="TextBox 58">
            <a:extLst>
              <a:ext uri="{FF2B5EF4-FFF2-40B4-BE49-F238E27FC236}">
                <a16:creationId xmlns:a16="http://schemas.microsoft.com/office/drawing/2014/main" id="{9170726F-1DEA-4FAC-8B6E-34EB8B989B65}"/>
              </a:ext>
            </a:extLst>
          </p:cNvPr>
          <p:cNvSpPr txBox="1"/>
          <p:nvPr/>
        </p:nvSpPr>
        <p:spPr>
          <a:xfrm>
            <a:off x="2230546" y="1494973"/>
            <a:ext cx="1946332" cy="369332"/>
          </a:xfrm>
          <a:prstGeom prst="rect">
            <a:avLst/>
          </a:prstGeom>
          <a:noFill/>
        </p:spPr>
        <p:txBody>
          <a:bodyPr wrap="square" rtlCol="0">
            <a:spAutoFit/>
          </a:bodyPr>
          <a:lstStyle/>
          <a:p>
            <a:pPr algn="ctr"/>
            <a:r>
              <a:rPr lang="en-GB" i="1" dirty="0">
                <a:solidFill>
                  <a:srgbClr val="FFFFFF"/>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85k</a:t>
            </a:r>
            <a:endParaRPr lang="en-GB" sz="2500" dirty="0">
              <a:solidFill>
                <a:srgbClr val="FFFFFF"/>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47B908D8-4E89-4587-9BA6-DF95A307BAE1}"/>
              </a:ext>
            </a:extLst>
          </p:cNvPr>
          <p:cNvSpPr txBox="1"/>
          <p:nvPr/>
        </p:nvSpPr>
        <p:spPr>
          <a:xfrm>
            <a:off x="2282476" y="3660494"/>
            <a:ext cx="1946332" cy="477054"/>
          </a:xfrm>
          <a:prstGeom prst="rect">
            <a:avLst/>
          </a:prstGeom>
          <a:noFill/>
        </p:spPr>
        <p:txBody>
          <a:bodyPr wrap="square" rtlCol="0">
            <a:spAutoFit/>
          </a:bodyPr>
          <a:lstStyle/>
          <a:p>
            <a:pPr algn="ctr"/>
            <a:r>
              <a:rPr lang="en-GB" sz="2500" dirty="0">
                <a:solidFill>
                  <a:srgbClr val="FFFFFF"/>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76% </a:t>
            </a:r>
            <a:r>
              <a:rPr lang="en-GB" i="1" dirty="0">
                <a:solidFill>
                  <a:srgbClr val="FFFFFF"/>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17k)</a:t>
            </a:r>
            <a:r>
              <a:rPr lang="en-GB" sz="2500" dirty="0">
                <a:solidFill>
                  <a:srgbClr val="FFFFFF"/>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p>
        </p:txBody>
      </p:sp>
      <p:cxnSp>
        <p:nvCxnSpPr>
          <p:cNvPr id="61" name="Straight Connector 60">
            <a:extLst>
              <a:ext uri="{FF2B5EF4-FFF2-40B4-BE49-F238E27FC236}">
                <a16:creationId xmlns:a16="http://schemas.microsoft.com/office/drawing/2014/main" id="{32202D4E-865B-427B-9226-C378A82F063E}"/>
              </a:ext>
            </a:extLst>
          </p:cNvPr>
          <p:cNvCxnSpPr>
            <a:cxnSpLocks/>
          </p:cNvCxnSpPr>
          <p:nvPr/>
        </p:nvCxnSpPr>
        <p:spPr>
          <a:xfrm flipH="1">
            <a:off x="4147811" y="3942604"/>
            <a:ext cx="1546540" cy="12553"/>
          </a:xfrm>
          <a:prstGeom prst="line">
            <a:avLst/>
          </a:prstGeom>
          <a:noFill/>
          <a:ln w="9525" cap="flat" cmpd="sng" algn="ctr">
            <a:solidFill>
              <a:srgbClr val="303D48">
                <a:lumMod val="50000"/>
                <a:lumOff val="50000"/>
              </a:srgbClr>
            </a:solidFill>
            <a:prstDash val="dash"/>
            <a:headEnd type="oval"/>
            <a:tailEnd type="oval"/>
          </a:ln>
          <a:effectLst/>
        </p:spPr>
      </p:cxnSp>
      <p:sp>
        <p:nvSpPr>
          <p:cNvPr id="62" name="TextBox 61">
            <a:extLst>
              <a:ext uri="{FF2B5EF4-FFF2-40B4-BE49-F238E27FC236}">
                <a16:creationId xmlns:a16="http://schemas.microsoft.com/office/drawing/2014/main" id="{F73C5F88-F894-437D-AF3E-D2B548071024}"/>
              </a:ext>
            </a:extLst>
          </p:cNvPr>
          <p:cNvSpPr txBox="1"/>
          <p:nvPr/>
        </p:nvSpPr>
        <p:spPr>
          <a:xfrm>
            <a:off x="5823641" y="3480939"/>
            <a:ext cx="2446419" cy="923330"/>
          </a:xfrm>
          <a:prstGeom prst="rect">
            <a:avLst/>
          </a:prstGeom>
          <a:noFill/>
        </p:spPr>
        <p:txBody>
          <a:bodyPr wrap="square" rtlCol="0">
            <a:spAutoFit/>
          </a:bodyPr>
          <a:lstStyle/>
          <a:p>
            <a:pPr algn="ctr"/>
            <a:r>
              <a:rPr lang="en-GB" dirty="0">
                <a:solidFill>
                  <a:srgbClr val="D31145"/>
                </a:solidFill>
                <a:latin typeface="Arial" panose="020B0604020202020204" pitchFamily="34" charset="0"/>
                <a:cs typeface="Arial" panose="020B0604020202020204" pitchFamily="34" charset="0"/>
              </a:rPr>
              <a:t>Top 3 Flags </a:t>
            </a:r>
          </a:p>
          <a:p>
            <a:pPr algn="ctr"/>
            <a:r>
              <a:rPr lang="en-GB" dirty="0">
                <a:solidFill>
                  <a:srgbClr val="D31145"/>
                </a:solidFill>
                <a:latin typeface="Arial" panose="020B0604020202020204" pitchFamily="34" charset="0"/>
                <a:cs typeface="Arial" panose="020B0604020202020204" pitchFamily="34" charset="0"/>
              </a:rPr>
              <a:t>with Ranking</a:t>
            </a:r>
          </a:p>
          <a:p>
            <a:pPr algn="ctr"/>
            <a:r>
              <a:rPr lang="en-GB" dirty="0">
                <a:solidFill>
                  <a:srgbClr val="D31145"/>
                </a:solidFill>
                <a:latin typeface="Arial" panose="020B0604020202020204" pitchFamily="34" charset="0"/>
                <a:cs typeface="Arial" panose="020B0604020202020204" pitchFamily="34" charset="0"/>
              </a:rPr>
              <a:t>Rightly Predicted</a:t>
            </a:r>
            <a:endParaRPr lang="en-HK" sz="1300" i="1" dirty="0" err="1">
              <a:solidFill>
                <a:srgbClr val="D31145"/>
              </a:solidFill>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A5429CA0-AF72-4543-84E8-F3CEEAE1DEC9}"/>
              </a:ext>
            </a:extLst>
          </p:cNvPr>
          <p:cNvSpPr txBox="1"/>
          <p:nvPr/>
        </p:nvSpPr>
        <p:spPr>
          <a:xfrm>
            <a:off x="8913192" y="2315515"/>
            <a:ext cx="2567508" cy="369332"/>
          </a:xfrm>
          <a:prstGeom prst="rect">
            <a:avLst/>
          </a:prstGeom>
          <a:noFill/>
        </p:spPr>
        <p:txBody>
          <a:bodyPr wrap="square" lIns="91440" tIns="45720" rIns="91440" bIns="45720" rtlCol="0" anchor="t">
            <a:spAutoFit/>
          </a:bodyPr>
          <a:lstStyle/>
          <a:p>
            <a:pPr algn="ctr"/>
            <a:r>
              <a:rPr lang="en-US" b="1" dirty="0">
                <a:latin typeface="Arial"/>
                <a:cs typeface="Arial"/>
              </a:rPr>
              <a:t>True Positive Rate</a:t>
            </a:r>
            <a:endParaRPr lang="en-US" sz="1400" dirty="0">
              <a:latin typeface="Arial" panose="020B0604020202020204" pitchFamily="34" charset="0"/>
              <a:cs typeface="Arial" panose="020B0604020202020204" pitchFamily="34" charset="0"/>
            </a:endParaRPr>
          </a:p>
        </p:txBody>
      </p:sp>
      <p:sp>
        <p:nvSpPr>
          <p:cNvPr id="10" name="Equals 9">
            <a:extLst>
              <a:ext uri="{FF2B5EF4-FFF2-40B4-BE49-F238E27FC236}">
                <a16:creationId xmlns:a16="http://schemas.microsoft.com/office/drawing/2014/main" id="{F65440E1-2F9D-448F-A1A4-99A94505C28C}"/>
              </a:ext>
            </a:extLst>
          </p:cNvPr>
          <p:cNvSpPr/>
          <p:nvPr/>
        </p:nvSpPr>
        <p:spPr>
          <a:xfrm>
            <a:off x="8513470" y="2360325"/>
            <a:ext cx="399722" cy="279713"/>
          </a:xfrm>
          <a:prstGeom prst="mathEqual">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ln>
                <a:solidFill>
                  <a:schemeClr val="tx2">
                    <a:lumMod val="75000"/>
                  </a:schemeClr>
                </a:solidFill>
              </a:ln>
              <a:solidFill>
                <a:schemeClr val="tx2">
                  <a:lumMod val="75000"/>
                </a:schemeClr>
              </a:solidFill>
            </a:endParaRPr>
          </a:p>
        </p:txBody>
      </p:sp>
      <p:sp>
        <p:nvSpPr>
          <p:cNvPr id="66" name="Equals 65">
            <a:extLst>
              <a:ext uri="{FF2B5EF4-FFF2-40B4-BE49-F238E27FC236}">
                <a16:creationId xmlns:a16="http://schemas.microsoft.com/office/drawing/2014/main" id="{288EF240-D0D5-498D-BF50-1277B689A277}"/>
              </a:ext>
            </a:extLst>
          </p:cNvPr>
          <p:cNvSpPr/>
          <p:nvPr/>
        </p:nvSpPr>
        <p:spPr>
          <a:xfrm>
            <a:off x="8513470" y="3802747"/>
            <a:ext cx="399722" cy="279713"/>
          </a:xfrm>
          <a:prstGeom prst="mathEqual">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ln>
                <a:solidFill>
                  <a:schemeClr val="tx2">
                    <a:lumMod val="75000"/>
                  </a:schemeClr>
                </a:solidFill>
              </a:ln>
              <a:solidFill>
                <a:schemeClr val="tx2">
                  <a:lumMod val="75000"/>
                </a:schemeClr>
              </a:solidFill>
            </a:endParaRPr>
          </a:p>
        </p:txBody>
      </p:sp>
      <p:sp>
        <p:nvSpPr>
          <p:cNvPr id="13" name="Rectangle 12">
            <a:extLst>
              <a:ext uri="{FF2B5EF4-FFF2-40B4-BE49-F238E27FC236}">
                <a16:creationId xmlns:a16="http://schemas.microsoft.com/office/drawing/2014/main" id="{70AF0D2F-BAC2-4FF8-AE85-7C17AC1C0755}"/>
              </a:ext>
            </a:extLst>
          </p:cNvPr>
          <p:cNvSpPr/>
          <p:nvPr/>
        </p:nvSpPr>
        <p:spPr>
          <a:xfrm>
            <a:off x="649045" y="5876619"/>
            <a:ext cx="6096000" cy="246221"/>
          </a:xfrm>
          <a:prstGeom prst="rect">
            <a:avLst/>
          </a:prstGeom>
        </p:spPr>
        <p:txBody>
          <a:bodyPr>
            <a:spAutoFit/>
          </a:bodyPr>
          <a:lstStyle/>
          <a:p>
            <a:r>
              <a:rPr lang="en-US" sz="1000" i="1" dirty="0">
                <a:latin typeface="Arial" panose="020B0604020202020204" pitchFamily="34" charset="0"/>
                <a:cs typeface="Arial" panose="020B0604020202020204" pitchFamily="34" charset="0"/>
              </a:rPr>
              <a:t>Above is out-of-time validation based on Dec20 snapshot data versus Q1’21 repurchase </a:t>
            </a:r>
          </a:p>
        </p:txBody>
      </p:sp>
    </p:spTree>
    <p:extLst>
      <p:ext uri="{BB962C8B-B14F-4D97-AF65-F5344CB8AC3E}">
        <p14:creationId xmlns:p14="http://schemas.microsoft.com/office/powerpoint/2010/main" val="3269598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p:cTn id="7" dur="500" fill="hold"/>
                                        <p:tgtEl>
                                          <p:spTgt spid="47"/>
                                        </p:tgtEl>
                                        <p:attrNameLst>
                                          <p:attrName>ppt_w</p:attrName>
                                        </p:attrNameLst>
                                      </p:cBhvr>
                                      <p:tavLst>
                                        <p:tav tm="0">
                                          <p:val>
                                            <p:fltVal val="0"/>
                                          </p:val>
                                        </p:tav>
                                        <p:tav tm="100000">
                                          <p:val>
                                            <p:strVal val="#ppt_w"/>
                                          </p:val>
                                        </p:tav>
                                      </p:tavLst>
                                    </p:anim>
                                    <p:anim calcmode="lin" valueType="num">
                                      <p:cBhvr>
                                        <p:cTn id="8" dur="500" fill="hold"/>
                                        <p:tgtEl>
                                          <p:spTgt spid="47"/>
                                        </p:tgtEl>
                                        <p:attrNameLst>
                                          <p:attrName>ppt_h</p:attrName>
                                        </p:attrNameLst>
                                      </p:cBhvr>
                                      <p:tavLst>
                                        <p:tav tm="0">
                                          <p:val>
                                            <p:fltVal val="0"/>
                                          </p:val>
                                        </p:tav>
                                        <p:tav tm="100000">
                                          <p:val>
                                            <p:strVal val="#ppt_h"/>
                                          </p:val>
                                        </p:tav>
                                      </p:tavLst>
                                    </p:anim>
                                    <p:animEffect transition="in" filter="fade">
                                      <p:cBhvr>
                                        <p:cTn id="9" dur="500"/>
                                        <p:tgtEl>
                                          <p:spTgt spid="47"/>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9"/>
                                        </p:tgtEl>
                                        <p:attrNameLst>
                                          <p:attrName>style.visibility</p:attrName>
                                        </p:attrNameLst>
                                      </p:cBhvr>
                                      <p:to>
                                        <p:strVal val="visible"/>
                                      </p:to>
                                    </p:set>
                                    <p:anim calcmode="lin" valueType="num">
                                      <p:cBhvr>
                                        <p:cTn id="12" dur="500" fill="hold"/>
                                        <p:tgtEl>
                                          <p:spTgt spid="59"/>
                                        </p:tgtEl>
                                        <p:attrNameLst>
                                          <p:attrName>ppt_w</p:attrName>
                                        </p:attrNameLst>
                                      </p:cBhvr>
                                      <p:tavLst>
                                        <p:tav tm="0">
                                          <p:val>
                                            <p:fltVal val="0"/>
                                          </p:val>
                                        </p:tav>
                                        <p:tav tm="100000">
                                          <p:val>
                                            <p:strVal val="#ppt_w"/>
                                          </p:val>
                                        </p:tav>
                                      </p:tavLst>
                                    </p:anim>
                                    <p:anim calcmode="lin" valueType="num">
                                      <p:cBhvr>
                                        <p:cTn id="13" dur="500" fill="hold"/>
                                        <p:tgtEl>
                                          <p:spTgt spid="59"/>
                                        </p:tgtEl>
                                        <p:attrNameLst>
                                          <p:attrName>ppt_h</p:attrName>
                                        </p:attrNameLst>
                                      </p:cBhvr>
                                      <p:tavLst>
                                        <p:tav tm="0">
                                          <p:val>
                                            <p:fltVal val="0"/>
                                          </p:val>
                                        </p:tav>
                                        <p:tav tm="100000">
                                          <p:val>
                                            <p:strVal val="#ppt_h"/>
                                          </p:val>
                                        </p:tav>
                                      </p:tavLst>
                                    </p:anim>
                                    <p:animEffect transition="in" filter="fade">
                                      <p:cBhvr>
                                        <p:cTn id="14" dur="500"/>
                                        <p:tgtEl>
                                          <p:spTgt spid="59"/>
                                        </p:tgtEl>
                                      </p:cBhvr>
                                    </p:animEffect>
                                  </p:childTnLst>
                                </p:cTn>
                              </p:par>
                              <p:par>
                                <p:cTn id="15" presetID="53" presetClass="entr" presetSubtype="16" fill="hold" nodeType="withEffect">
                                  <p:stCondLst>
                                    <p:cond delay="0"/>
                                  </p:stCondLst>
                                  <p:childTnLst>
                                    <p:set>
                                      <p:cBhvr>
                                        <p:cTn id="16" dur="1" fill="hold">
                                          <p:stCondLst>
                                            <p:cond delay="0"/>
                                          </p:stCondLst>
                                        </p:cTn>
                                        <p:tgtEl>
                                          <p:spTgt spid="58"/>
                                        </p:tgtEl>
                                        <p:attrNameLst>
                                          <p:attrName>style.visibility</p:attrName>
                                        </p:attrNameLst>
                                      </p:cBhvr>
                                      <p:to>
                                        <p:strVal val="visible"/>
                                      </p:to>
                                    </p:set>
                                    <p:anim calcmode="lin" valueType="num">
                                      <p:cBhvr>
                                        <p:cTn id="17" dur="500" fill="hold"/>
                                        <p:tgtEl>
                                          <p:spTgt spid="58"/>
                                        </p:tgtEl>
                                        <p:attrNameLst>
                                          <p:attrName>ppt_w</p:attrName>
                                        </p:attrNameLst>
                                      </p:cBhvr>
                                      <p:tavLst>
                                        <p:tav tm="0">
                                          <p:val>
                                            <p:fltVal val="0"/>
                                          </p:val>
                                        </p:tav>
                                        <p:tav tm="100000">
                                          <p:val>
                                            <p:strVal val="#ppt_w"/>
                                          </p:val>
                                        </p:tav>
                                      </p:tavLst>
                                    </p:anim>
                                    <p:anim calcmode="lin" valueType="num">
                                      <p:cBhvr>
                                        <p:cTn id="18" dur="500" fill="hold"/>
                                        <p:tgtEl>
                                          <p:spTgt spid="58"/>
                                        </p:tgtEl>
                                        <p:attrNameLst>
                                          <p:attrName>ppt_h</p:attrName>
                                        </p:attrNameLst>
                                      </p:cBhvr>
                                      <p:tavLst>
                                        <p:tav tm="0">
                                          <p:val>
                                            <p:fltVal val="0"/>
                                          </p:val>
                                        </p:tav>
                                        <p:tav tm="100000">
                                          <p:val>
                                            <p:strVal val="#ppt_h"/>
                                          </p:val>
                                        </p:tav>
                                      </p:tavLst>
                                    </p:anim>
                                    <p:animEffect transition="in" filter="fade">
                                      <p:cBhvr>
                                        <p:cTn id="19" dur="500"/>
                                        <p:tgtEl>
                                          <p:spTgt spid="58"/>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51"/>
                                        </p:tgtEl>
                                        <p:attrNameLst>
                                          <p:attrName>style.visibility</p:attrName>
                                        </p:attrNameLst>
                                      </p:cBhvr>
                                      <p:to>
                                        <p:strVal val="visible"/>
                                      </p:to>
                                    </p:set>
                                    <p:anim calcmode="lin" valueType="num">
                                      <p:cBhvr>
                                        <p:cTn id="22" dur="500" fill="hold"/>
                                        <p:tgtEl>
                                          <p:spTgt spid="51"/>
                                        </p:tgtEl>
                                        <p:attrNameLst>
                                          <p:attrName>ppt_w</p:attrName>
                                        </p:attrNameLst>
                                      </p:cBhvr>
                                      <p:tavLst>
                                        <p:tav tm="0">
                                          <p:val>
                                            <p:fltVal val="0"/>
                                          </p:val>
                                        </p:tav>
                                        <p:tav tm="100000">
                                          <p:val>
                                            <p:strVal val="#ppt_w"/>
                                          </p:val>
                                        </p:tav>
                                      </p:tavLst>
                                    </p:anim>
                                    <p:anim calcmode="lin" valueType="num">
                                      <p:cBhvr>
                                        <p:cTn id="23" dur="500" fill="hold"/>
                                        <p:tgtEl>
                                          <p:spTgt spid="51"/>
                                        </p:tgtEl>
                                        <p:attrNameLst>
                                          <p:attrName>ppt_h</p:attrName>
                                        </p:attrNameLst>
                                      </p:cBhvr>
                                      <p:tavLst>
                                        <p:tav tm="0">
                                          <p:val>
                                            <p:fltVal val="0"/>
                                          </p:val>
                                        </p:tav>
                                        <p:tav tm="100000">
                                          <p:val>
                                            <p:strVal val="#ppt_h"/>
                                          </p:val>
                                        </p:tav>
                                      </p:tavLst>
                                    </p:anim>
                                    <p:animEffect transition="in" filter="fade">
                                      <p:cBhvr>
                                        <p:cTn id="24" dur="500"/>
                                        <p:tgtEl>
                                          <p:spTgt spid="51"/>
                                        </p:tgtEl>
                                      </p:cBhvr>
                                    </p:animEffect>
                                  </p:childTnLst>
                                </p:cTn>
                              </p:par>
                            </p:childTnLst>
                          </p:cTn>
                        </p:par>
                        <p:par>
                          <p:cTn id="25" fill="hold">
                            <p:stCondLst>
                              <p:cond delay="500"/>
                            </p:stCondLst>
                            <p:childTnLst>
                              <p:par>
                                <p:cTn id="26" presetID="53" presetClass="entr" presetSubtype="16" fill="hold" grpId="0" nodeType="afterEffect">
                                  <p:stCondLst>
                                    <p:cond delay="0"/>
                                  </p:stCondLst>
                                  <p:childTnLst>
                                    <p:set>
                                      <p:cBhvr>
                                        <p:cTn id="27" dur="1" fill="hold">
                                          <p:stCondLst>
                                            <p:cond delay="0"/>
                                          </p:stCondLst>
                                        </p:cTn>
                                        <p:tgtEl>
                                          <p:spTgt spid="48"/>
                                        </p:tgtEl>
                                        <p:attrNameLst>
                                          <p:attrName>style.visibility</p:attrName>
                                        </p:attrNameLst>
                                      </p:cBhvr>
                                      <p:to>
                                        <p:strVal val="visible"/>
                                      </p:to>
                                    </p:set>
                                    <p:anim calcmode="lin" valueType="num">
                                      <p:cBhvr>
                                        <p:cTn id="28" dur="500" fill="hold"/>
                                        <p:tgtEl>
                                          <p:spTgt spid="48"/>
                                        </p:tgtEl>
                                        <p:attrNameLst>
                                          <p:attrName>ppt_w</p:attrName>
                                        </p:attrNameLst>
                                      </p:cBhvr>
                                      <p:tavLst>
                                        <p:tav tm="0">
                                          <p:val>
                                            <p:fltVal val="0"/>
                                          </p:val>
                                        </p:tav>
                                        <p:tav tm="100000">
                                          <p:val>
                                            <p:strVal val="#ppt_w"/>
                                          </p:val>
                                        </p:tav>
                                      </p:tavLst>
                                    </p:anim>
                                    <p:anim calcmode="lin" valueType="num">
                                      <p:cBhvr>
                                        <p:cTn id="29" dur="500" fill="hold"/>
                                        <p:tgtEl>
                                          <p:spTgt spid="48"/>
                                        </p:tgtEl>
                                        <p:attrNameLst>
                                          <p:attrName>ppt_h</p:attrName>
                                        </p:attrNameLst>
                                      </p:cBhvr>
                                      <p:tavLst>
                                        <p:tav tm="0">
                                          <p:val>
                                            <p:fltVal val="0"/>
                                          </p:val>
                                        </p:tav>
                                        <p:tav tm="100000">
                                          <p:val>
                                            <p:strVal val="#ppt_h"/>
                                          </p:val>
                                        </p:tav>
                                      </p:tavLst>
                                    </p:anim>
                                    <p:animEffect transition="in" filter="fade">
                                      <p:cBhvr>
                                        <p:cTn id="30" dur="500"/>
                                        <p:tgtEl>
                                          <p:spTgt spid="48"/>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50"/>
                                        </p:tgtEl>
                                        <p:attrNameLst>
                                          <p:attrName>style.visibility</p:attrName>
                                        </p:attrNameLst>
                                      </p:cBhvr>
                                      <p:to>
                                        <p:strVal val="visible"/>
                                      </p:to>
                                    </p:set>
                                    <p:anim calcmode="lin" valueType="num">
                                      <p:cBhvr>
                                        <p:cTn id="33" dur="500" fill="hold"/>
                                        <p:tgtEl>
                                          <p:spTgt spid="50"/>
                                        </p:tgtEl>
                                        <p:attrNameLst>
                                          <p:attrName>ppt_w</p:attrName>
                                        </p:attrNameLst>
                                      </p:cBhvr>
                                      <p:tavLst>
                                        <p:tav tm="0">
                                          <p:val>
                                            <p:fltVal val="0"/>
                                          </p:val>
                                        </p:tav>
                                        <p:tav tm="100000">
                                          <p:val>
                                            <p:strVal val="#ppt_w"/>
                                          </p:val>
                                        </p:tav>
                                      </p:tavLst>
                                    </p:anim>
                                    <p:anim calcmode="lin" valueType="num">
                                      <p:cBhvr>
                                        <p:cTn id="34" dur="500" fill="hold"/>
                                        <p:tgtEl>
                                          <p:spTgt spid="50"/>
                                        </p:tgtEl>
                                        <p:attrNameLst>
                                          <p:attrName>ppt_h</p:attrName>
                                        </p:attrNameLst>
                                      </p:cBhvr>
                                      <p:tavLst>
                                        <p:tav tm="0">
                                          <p:val>
                                            <p:fltVal val="0"/>
                                          </p:val>
                                        </p:tav>
                                        <p:tav tm="100000">
                                          <p:val>
                                            <p:strVal val="#ppt_h"/>
                                          </p:val>
                                        </p:tav>
                                      </p:tavLst>
                                    </p:anim>
                                    <p:animEffect transition="in" filter="fade">
                                      <p:cBhvr>
                                        <p:cTn id="35" dur="500"/>
                                        <p:tgtEl>
                                          <p:spTgt spid="50"/>
                                        </p:tgtEl>
                                      </p:cBhvr>
                                    </p:animEffect>
                                  </p:childTnLst>
                                </p:cTn>
                              </p:par>
                              <p:par>
                                <p:cTn id="36" presetID="53" presetClass="entr" presetSubtype="16" fill="hold" nodeType="withEffect">
                                  <p:stCondLst>
                                    <p:cond delay="0"/>
                                  </p:stCondLst>
                                  <p:childTnLst>
                                    <p:set>
                                      <p:cBhvr>
                                        <p:cTn id="37" dur="1" fill="hold">
                                          <p:stCondLst>
                                            <p:cond delay="0"/>
                                          </p:stCondLst>
                                        </p:cTn>
                                        <p:tgtEl>
                                          <p:spTgt spid="53"/>
                                        </p:tgtEl>
                                        <p:attrNameLst>
                                          <p:attrName>style.visibility</p:attrName>
                                        </p:attrNameLst>
                                      </p:cBhvr>
                                      <p:to>
                                        <p:strVal val="visible"/>
                                      </p:to>
                                    </p:set>
                                    <p:anim calcmode="lin" valueType="num">
                                      <p:cBhvr>
                                        <p:cTn id="38" dur="500" fill="hold"/>
                                        <p:tgtEl>
                                          <p:spTgt spid="53"/>
                                        </p:tgtEl>
                                        <p:attrNameLst>
                                          <p:attrName>ppt_w</p:attrName>
                                        </p:attrNameLst>
                                      </p:cBhvr>
                                      <p:tavLst>
                                        <p:tav tm="0">
                                          <p:val>
                                            <p:fltVal val="0"/>
                                          </p:val>
                                        </p:tav>
                                        <p:tav tm="100000">
                                          <p:val>
                                            <p:strVal val="#ppt_w"/>
                                          </p:val>
                                        </p:tav>
                                      </p:tavLst>
                                    </p:anim>
                                    <p:anim calcmode="lin" valueType="num">
                                      <p:cBhvr>
                                        <p:cTn id="39" dur="500" fill="hold"/>
                                        <p:tgtEl>
                                          <p:spTgt spid="53"/>
                                        </p:tgtEl>
                                        <p:attrNameLst>
                                          <p:attrName>ppt_h</p:attrName>
                                        </p:attrNameLst>
                                      </p:cBhvr>
                                      <p:tavLst>
                                        <p:tav tm="0">
                                          <p:val>
                                            <p:fltVal val="0"/>
                                          </p:val>
                                        </p:tav>
                                        <p:tav tm="100000">
                                          <p:val>
                                            <p:strVal val="#ppt_h"/>
                                          </p:val>
                                        </p:tav>
                                      </p:tavLst>
                                    </p:anim>
                                    <p:animEffect transition="in" filter="fade">
                                      <p:cBhvr>
                                        <p:cTn id="40" dur="500"/>
                                        <p:tgtEl>
                                          <p:spTgt spid="53"/>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56"/>
                                        </p:tgtEl>
                                        <p:attrNameLst>
                                          <p:attrName>style.visibility</p:attrName>
                                        </p:attrNameLst>
                                      </p:cBhvr>
                                      <p:to>
                                        <p:strVal val="visible"/>
                                      </p:to>
                                    </p:set>
                                    <p:anim calcmode="lin" valueType="num">
                                      <p:cBhvr>
                                        <p:cTn id="43" dur="500" fill="hold"/>
                                        <p:tgtEl>
                                          <p:spTgt spid="56"/>
                                        </p:tgtEl>
                                        <p:attrNameLst>
                                          <p:attrName>ppt_w</p:attrName>
                                        </p:attrNameLst>
                                      </p:cBhvr>
                                      <p:tavLst>
                                        <p:tav tm="0">
                                          <p:val>
                                            <p:fltVal val="0"/>
                                          </p:val>
                                        </p:tav>
                                        <p:tav tm="100000">
                                          <p:val>
                                            <p:strVal val="#ppt_w"/>
                                          </p:val>
                                        </p:tav>
                                      </p:tavLst>
                                    </p:anim>
                                    <p:anim calcmode="lin" valueType="num">
                                      <p:cBhvr>
                                        <p:cTn id="44" dur="500" fill="hold"/>
                                        <p:tgtEl>
                                          <p:spTgt spid="56"/>
                                        </p:tgtEl>
                                        <p:attrNameLst>
                                          <p:attrName>ppt_h</p:attrName>
                                        </p:attrNameLst>
                                      </p:cBhvr>
                                      <p:tavLst>
                                        <p:tav tm="0">
                                          <p:val>
                                            <p:fltVal val="0"/>
                                          </p:val>
                                        </p:tav>
                                        <p:tav tm="100000">
                                          <p:val>
                                            <p:strVal val="#ppt_h"/>
                                          </p:val>
                                        </p:tav>
                                      </p:tavLst>
                                    </p:anim>
                                    <p:animEffect transition="in" filter="fade">
                                      <p:cBhvr>
                                        <p:cTn id="45" dur="500"/>
                                        <p:tgtEl>
                                          <p:spTgt spid="56"/>
                                        </p:tgtEl>
                                      </p:cBhvr>
                                    </p:animEffect>
                                  </p:childTnLst>
                                </p:cTn>
                              </p:par>
                            </p:childTnLst>
                          </p:cTn>
                        </p:par>
                        <p:par>
                          <p:cTn id="46" fill="hold">
                            <p:stCondLst>
                              <p:cond delay="1000"/>
                            </p:stCondLst>
                            <p:childTnLst>
                              <p:par>
                                <p:cTn id="47" presetID="53" presetClass="entr" presetSubtype="16" fill="hold" grpId="0" nodeType="afterEffect">
                                  <p:stCondLst>
                                    <p:cond delay="0"/>
                                  </p:stCondLst>
                                  <p:childTnLst>
                                    <p:set>
                                      <p:cBhvr>
                                        <p:cTn id="48" dur="1" fill="hold">
                                          <p:stCondLst>
                                            <p:cond delay="0"/>
                                          </p:stCondLst>
                                        </p:cTn>
                                        <p:tgtEl>
                                          <p:spTgt spid="49"/>
                                        </p:tgtEl>
                                        <p:attrNameLst>
                                          <p:attrName>style.visibility</p:attrName>
                                        </p:attrNameLst>
                                      </p:cBhvr>
                                      <p:to>
                                        <p:strVal val="visible"/>
                                      </p:to>
                                    </p:set>
                                    <p:anim calcmode="lin" valueType="num">
                                      <p:cBhvr>
                                        <p:cTn id="49" dur="500" fill="hold"/>
                                        <p:tgtEl>
                                          <p:spTgt spid="49"/>
                                        </p:tgtEl>
                                        <p:attrNameLst>
                                          <p:attrName>ppt_w</p:attrName>
                                        </p:attrNameLst>
                                      </p:cBhvr>
                                      <p:tavLst>
                                        <p:tav tm="0">
                                          <p:val>
                                            <p:fltVal val="0"/>
                                          </p:val>
                                        </p:tav>
                                        <p:tav tm="100000">
                                          <p:val>
                                            <p:strVal val="#ppt_w"/>
                                          </p:val>
                                        </p:tav>
                                      </p:tavLst>
                                    </p:anim>
                                    <p:anim calcmode="lin" valueType="num">
                                      <p:cBhvr>
                                        <p:cTn id="50" dur="500" fill="hold"/>
                                        <p:tgtEl>
                                          <p:spTgt spid="49"/>
                                        </p:tgtEl>
                                        <p:attrNameLst>
                                          <p:attrName>ppt_h</p:attrName>
                                        </p:attrNameLst>
                                      </p:cBhvr>
                                      <p:tavLst>
                                        <p:tav tm="0">
                                          <p:val>
                                            <p:fltVal val="0"/>
                                          </p:val>
                                        </p:tav>
                                        <p:tav tm="100000">
                                          <p:val>
                                            <p:strVal val="#ppt_h"/>
                                          </p:val>
                                        </p:tav>
                                      </p:tavLst>
                                    </p:anim>
                                    <p:animEffect transition="in" filter="fade">
                                      <p:cBhvr>
                                        <p:cTn id="51" dur="500"/>
                                        <p:tgtEl>
                                          <p:spTgt spid="49"/>
                                        </p:tgtEl>
                                      </p:cBhvr>
                                    </p:animEffect>
                                  </p:childTnLst>
                                </p:cTn>
                              </p:par>
                              <p:par>
                                <p:cTn id="52" presetID="53" presetClass="entr" presetSubtype="16" fill="hold" grpId="0" nodeType="withEffect">
                                  <p:stCondLst>
                                    <p:cond delay="0"/>
                                  </p:stCondLst>
                                  <p:childTnLst>
                                    <p:set>
                                      <p:cBhvr>
                                        <p:cTn id="53" dur="1" fill="hold">
                                          <p:stCondLst>
                                            <p:cond delay="0"/>
                                          </p:stCondLst>
                                        </p:cTn>
                                        <p:tgtEl>
                                          <p:spTgt spid="60"/>
                                        </p:tgtEl>
                                        <p:attrNameLst>
                                          <p:attrName>style.visibility</p:attrName>
                                        </p:attrNameLst>
                                      </p:cBhvr>
                                      <p:to>
                                        <p:strVal val="visible"/>
                                      </p:to>
                                    </p:set>
                                    <p:anim calcmode="lin" valueType="num">
                                      <p:cBhvr>
                                        <p:cTn id="54" dur="500" fill="hold"/>
                                        <p:tgtEl>
                                          <p:spTgt spid="60"/>
                                        </p:tgtEl>
                                        <p:attrNameLst>
                                          <p:attrName>ppt_w</p:attrName>
                                        </p:attrNameLst>
                                      </p:cBhvr>
                                      <p:tavLst>
                                        <p:tav tm="0">
                                          <p:val>
                                            <p:fltVal val="0"/>
                                          </p:val>
                                        </p:tav>
                                        <p:tav tm="100000">
                                          <p:val>
                                            <p:strVal val="#ppt_w"/>
                                          </p:val>
                                        </p:tav>
                                      </p:tavLst>
                                    </p:anim>
                                    <p:anim calcmode="lin" valueType="num">
                                      <p:cBhvr>
                                        <p:cTn id="55" dur="500" fill="hold"/>
                                        <p:tgtEl>
                                          <p:spTgt spid="60"/>
                                        </p:tgtEl>
                                        <p:attrNameLst>
                                          <p:attrName>ppt_h</p:attrName>
                                        </p:attrNameLst>
                                      </p:cBhvr>
                                      <p:tavLst>
                                        <p:tav tm="0">
                                          <p:val>
                                            <p:fltVal val="0"/>
                                          </p:val>
                                        </p:tav>
                                        <p:tav tm="100000">
                                          <p:val>
                                            <p:strVal val="#ppt_h"/>
                                          </p:val>
                                        </p:tav>
                                      </p:tavLst>
                                    </p:anim>
                                    <p:animEffect transition="in" filter="fade">
                                      <p:cBhvr>
                                        <p:cTn id="56" dur="500"/>
                                        <p:tgtEl>
                                          <p:spTgt spid="60"/>
                                        </p:tgtEl>
                                      </p:cBhvr>
                                    </p:animEffect>
                                  </p:childTnLst>
                                </p:cTn>
                              </p:par>
                              <p:par>
                                <p:cTn id="57" presetID="53" presetClass="entr" presetSubtype="16" fill="hold" nodeType="withEffect">
                                  <p:stCondLst>
                                    <p:cond delay="0"/>
                                  </p:stCondLst>
                                  <p:childTnLst>
                                    <p:set>
                                      <p:cBhvr>
                                        <p:cTn id="58" dur="1" fill="hold">
                                          <p:stCondLst>
                                            <p:cond delay="0"/>
                                          </p:stCondLst>
                                        </p:cTn>
                                        <p:tgtEl>
                                          <p:spTgt spid="61"/>
                                        </p:tgtEl>
                                        <p:attrNameLst>
                                          <p:attrName>style.visibility</p:attrName>
                                        </p:attrNameLst>
                                      </p:cBhvr>
                                      <p:to>
                                        <p:strVal val="visible"/>
                                      </p:to>
                                    </p:set>
                                    <p:anim calcmode="lin" valueType="num">
                                      <p:cBhvr>
                                        <p:cTn id="59" dur="500" fill="hold"/>
                                        <p:tgtEl>
                                          <p:spTgt spid="61"/>
                                        </p:tgtEl>
                                        <p:attrNameLst>
                                          <p:attrName>ppt_w</p:attrName>
                                        </p:attrNameLst>
                                      </p:cBhvr>
                                      <p:tavLst>
                                        <p:tav tm="0">
                                          <p:val>
                                            <p:fltVal val="0"/>
                                          </p:val>
                                        </p:tav>
                                        <p:tav tm="100000">
                                          <p:val>
                                            <p:strVal val="#ppt_w"/>
                                          </p:val>
                                        </p:tav>
                                      </p:tavLst>
                                    </p:anim>
                                    <p:anim calcmode="lin" valueType="num">
                                      <p:cBhvr>
                                        <p:cTn id="60" dur="500" fill="hold"/>
                                        <p:tgtEl>
                                          <p:spTgt spid="61"/>
                                        </p:tgtEl>
                                        <p:attrNameLst>
                                          <p:attrName>ppt_h</p:attrName>
                                        </p:attrNameLst>
                                      </p:cBhvr>
                                      <p:tavLst>
                                        <p:tav tm="0">
                                          <p:val>
                                            <p:fltVal val="0"/>
                                          </p:val>
                                        </p:tav>
                                        <p:tav tm="100000">
                                          <p:val>
                                            <p:strVal val="#ppt_h"/>
                                          </p:val>
                                        </p:tav>
                                      </p:tavLst>
                                    </p:anim>
                                    <p:animEffect transition="in" filter="fade">
                                      <p:cBhvr>
                                        <p:cTn id="61" dur="500"/>
                                        <p:tgtEl>
                                          <p:spTgt spid="61"/>
                                        </p:tgtEl>
                                      </p:cBhvr>
                                    </p:animEffect>
                                  </p:childTnLst>
                                </p:cTn>
                              </p:par>
                              <p:par>
                                <p:cTn id="62" presetID="53" presetClass="entr" presetSubtype="16" fill="hold" grpId="0" nodeType="withEffect">
                                  <p:stCondLst>
                                    <p:cond delay="0"/>
                                  </p:stCondLst>
                                  <p:childTnLst>
                                    <p:set>
                                      <p:cBhvr>
                                        <p:cTn id="63" dur="1" fill="hold">
                                          <p:stCondLst>
                                            <p:cond delay="0"/>
                                          </p:stCondLst>
                                        </p:cTn>
                                        <p:tgtEl>
                                          <p:spTgt spid="62"/>
                                        </p:tgtEl>
                                        <p:attrNameLst>
                                          <p:attrName>style.visibility</p:attrName>
                                        </p:attrNameLst>
                                      </p:cBhvr>
                                      <p:to>
                                        <p:strVal val="visible"/>
                                      </p:to>
                                    </p:set>
                                    <p:anim calcmode="lin" valueType="num">
                                      <p:cBhvr>
                                        <p:cTn id="64" dur="500" fill="hold"/>
                                        <p:tgtEl>
                                          <p:spTgt spid="62"/>
                                        </p:tgtEl>
                                        <p:attrNameLst>
                                          <p:attrName>ppt_w</p:attrName>
                                        </p:attrNameLst>
                                      </p:cBhvr>
                                      <p:tavLst>
                                        <p:tav tm="0">
                                          <p:val>
                                            <p:fltVal val="0"/>
                                          </p:val>
                                        </p:tav>
                                        <p:tav tm="100000">
                                          <p:val>
                                            <p:strVal val="#ppt_w"/>
                                          </p:val>
                                        </p:tav>
                                      </p:tavLst>
                                    </p:anim>
                                    <p:anim calcmode="lin" valueType="num">
                                      <p:cBhvr>
                                        <p:cTn id="65" dur="500" fill="hold"/>
                                        <p:tgtEl>
                                          <p:spTgt spid="62"/>
                                        </p:tgtEl>
                                        <p:attrNameLst>
                                          <p:attrName>ppt_h</p:attrName>
                                        </p:attrNameLst>
                                      </p:cBhvr>
                                      <p:tavLst>
                                        <p:tav tm="0">
                                          <p:val>
                                            <p:fltVal val="0"/>
                                          </p:val>
                                        </p:tav>
                                        <p:tav tm="100000">
                                          <p:val>
                                            <p:strVal val="#ppt_h"/>
                                          </p:val>
                                        </p:tav>
                                      </p:tavLst>
                                    </p:anim>
                                    <p:animEffect transition="in" filter="fade">
                                      <p:cBhvr>
                                        <p:cTn id="66" dur="500"/>
                                        <p:tgtEl>
                                          <p:spTgt spid="62"/>
                                        </p:tgtEl>
                                      </p:cBhvr>
                                    </p:animEffect>
                                  </p:childTnLst>
                                </p:cTn>
                              </p:par>
                            </p:childTnLst>
                          </p:cTn>
                        </p:par>
                        <p:par>
                          <p:cTn id="67" fill="hold">
                            <p:stCondLst>
                              <p:cond delay="1500"/>
                            </p:stCondLst>
                            <p:childTnLst>
                              <p:par>
                                <p:cTn id="68" presetID="53" presetClass="entr" presetSubtype="16" fill="hold" grpId="0" nodeType="afterEffect">
                                  <p:stCondLst>
                                    <p:cond delay="0"/>
                                  </p:stCondLst>
                                  <p:childTnLst>
                                    <p:set>
                                      <p:cBhvr>
                                        <p:cTn id="69" dur="1" fill="hold">
                                          <p:stCondLst>
                                            <p:cond delay="0"/>
                                          </p:stCondLst>
                                        </p:cTn>
                                        <p:tgtEl>
                                          <p:spTgt spid="10"/>
                                        </p:tgtEl>
                                        <p:attrNameLst>
                                          <p:attrName>style.visibility</p:attrName>
                                        </p:attrNameLst>
                                      </p:cBhvr>
                                      <p:to>
                                        <p:strVal val="visible"/>
                                      </p:to>
                                    </p:set>
                                    <p:anim calcmode="lin" valueType="num">
                                      <p:cBhvr>
                                        <p:cTn id="70" dur="500" fill="hold"/>
                                        <p:tgtEl>
                                          <p:spTgt spid="10"/>
                                        </p:tgtEl>
                                        <p:attrNameLst>
                                          <p:attrName>ppt_w</p:attrName>
                                        </p:attrNameLst>
                                      </p:cBhvr>
                                      <p:tavLst>
                                        <p:tav tm="0">
                                          <p:val>
                                            <p:fltVal val="0"/>
                                          </p:val>
                                        </p:tav>
                                        <p:tav tm="100000">
                                          <p:val>
                                            <p:strVal val="#ppt_w"/>
                                          </p:val>
                                        </p:tav>
                                      </p:tavLst>
                                    </p:anim>
                                    <p:anim calcmode="lin" valueType="num">
                                      <p:cBhvr>
                                        <p:cTn id="71" dur="500" fill="hold"/>
                                        <p:tgtEl>
                                          <p:spTgt spid="10"/>
                                        </p:tgtEl>
                                        <p:attrNameLst>
                                          <p:attrName>ppt_h</p:attrName>
                                        </p:attrNameLst>
                                      </p:cBhvr>
                                      <p:tavLst>
                                        <p:tav tm="0">
                                          <p:val>
                                            <p:fltVal val="0"/>
                                          </p:val>
                                        </p:tav>
                                        <p:tav tm="100000">
                                          <p:val>
                                            <p:strVal val="#ppt_h"/>
                                          </p:val>
                                        </p:tav>
                                      </p:tavLst>
                                    </p:anim>
                                    <p:animEffect transition="in" filter="fade">
                                      <p:cBhvr>
                                        <p:cTn id="72" dur="500"/>
                                        <p:tgtEl>
                                          <p:spTgt spid="10"/>
                                        </p:tgtEl>
                                      </p:cBhvr>
                                    </p:animEffect>
                                  </p:childTnLst>
                                </p:cTn>
                              </p:par>
                              <p:par>
                                <p:cTn id="73" presetID="53" presetClass="entr" presetSubtype="16" fill="hold" grpId="0" nodeType="withEffect">
                                  <p:stCondLst>
                                    <p:cond delay="0"/>
                                  </p:stCondLst>
                                  <p:childTnLst>
                                    <p:set>
                                      <p:cBhvr>
                                        <p:cTn id="74" dur="1" fill="hold">
                                          <p:stCondLst>
                                            <p:cond delay="0"/>
                                          </p:stCondLst>
                                        </p:cTn>
                                        <p:tgtEl>
                                          <p:spTgt spid="64"/>
                                        </p:tgtEl>
                                        <p:attrNameLst>
                                          <p:attrName>style.visibility</p:attrName>
                                        </p:attrNameLst>
                                      </p:cBhvr>
                                      <p:to>
                                        <p:strVal val="visible"/>
                                      </p:to>
                                    </p:set>
                                    <p:anim calcmode="lin" valueType="num">
                                      <p:cBhvr>
                                        <p:cTn id="75" dur="500" fill="hold"/>
                                        <p:tgtEl>
                                          <p:spTgt spid="64"/>
                                        </p:tgtEl>
                                        <p:attrNameLst>
                                          <p:attrName>ppt_w</p:attrName>
                                        </p:attrNameLst>
                                      </p:cBhvr>
                                      <p:tavLst>
                                        <p:tav tm="0">
                                          <p:val>
                                            <p:fltVal val="0"/>
                                          </p:val>
                                        </p:tav>
                                        <p:tav tm="100000">
                                          <p:val>
                                            <p:strVal val="#ppt_w"/>
                                          </p:val>
                                        </p:tav>
                                      </p:tavLst>
                                    </p:anim>
                                    <p:anim calcmode="lin" valueType="num">
                                      <p:cBhvr>
                                        <p:cTn id="76" dur="500" fill="hold"/>
                                        <p:tgtEl>
                                          <p:spTgt spid="64"/>
                                        </p:tgtEl>
                                        <p:attrNameLst>
                                          <p:attrName>ppt_h</p:attrName>
                                        </p:attrNameLst>
                                      </p:cBhvr>
                                      <p:tavLst>
                                        <p:tav tm="0">
                                          <p:val>
                                            <p:fltVal val="0"/>
                                          </p:val>
                                        </p:tav>
                                        <p:tav tm="100000">
                                          <p:val>
                                            <p:strVal val="#ppt_h"/>
                                          </p:val>
                                        </p:tav>
                                      </p:tavLst>
                                    </p:anim>
                                    <p:animEffect transition="in" filter="fade">
                                      <p:cBhvr>
                                        <p:cTn id="77" dur="500"/>
                                        <p:tgtEl>
                                          <p:spTgt spid="64"/>
                                        </p:tgtEl>
                                      </p:cBhvr>
                                    </p:animEffect>
                                  </p:childTnLst>
                                </p:cTn>
                              </p:par>
                              <p:par>
                                <p:cTn id="78" presetID="53" presetClass="entr" presetSubtype="16" fill="hold" grpId="0" nodeType="withEffect">
                                  <p:stCondLst>
                                    <p:cond delay="0"/>
                                  </p:stCondLst>
                                  <p:childTnLst>
                                    <p:set>
                                      <p:cBhvr>
                                        <p:cTn id="79" dur="1" fill="hold">
                                          <p:stCondLst>
                                            <p:cond delay="0"/>
                                          </p:stCondLst>
                                        </p:cTn>
                                        <p:tgtEl>
                                          <p:spTgt spid="66"/>
                                        </p:tgtEl>
                                        <p:attrNameLst>
                                          <p:attrName>style.visibility</p:attrName>
                                        </p:attrNameLst>
                                      </p:cBhvr>
                                      <p:to>
                                        <p:strVal val="visible"/>
                                      </p:to>
                                    </p:set>
                                    <p:anim calcmode="lin" valueType="num">
                                      <p:cBhvr>
                                        <p:cTn id="80" dur="500" fill="hold"/>
                                        <p:tgtEl>
                                          <p:spTgt spid="66"/>
                                        </p:tgtEl>
                                        <p:attrNameLst>
                                          <p:attrName>ppt_w</p:attrName>
                                        </p:attrNameLst>
                                      </p:cBhvr>
                                      <p:tavLst>
                                        <p:tav tm="0">
                                          <p:val>
                                            <p:fltVal val="0"/>
                                          </p:val>
                                        </p:tav>
                                        <p:tav tm="100000">
                                          <p:val>
                                            <p:strVal val="#ppt_w"/>
                                          </p:val>
                                        </p:tav>
                                      </p:tavLst>
                                    </p:anim>
                                    <p:anim calcmode="lin" valueType="num">
                                      <p:cBhvr>
                                        <p:cTn id="81" dur="500" fill="hold"/>
                                        <p:tgtEl>
                                          <p:spTgt spid="66"/>
                                        </p:tgtEl>
                                        <p:attrNameLst>
                                          <p:attrName>ppt_h</p:attrName>
                                        </p:attrNameLst>
                                      </p:cBhvr>
                                      <p:tavLst>
                                        <p:tav tm="0">
                                          <p:val>
                                            <p:fltVal val="0"/>
                                          </p:val>
                                        </p:tav>
                                        <p:tav tm="100000">
                                          <p:val>
                                            <p:strVal val="#ppt_h"/>
                                          </p:val>
                                        </p:tav>
                                      </p:tavLst>
                                    </p:anim>
                                    <p:animEffect transition="in" filter="fade">
                                      <p:cBhvr>
                                        <p:cTn id="82" dur="500"/>
                                        <p:tgtEl>
                                          <p:spTgt spid="66"/>
                                        </p:tgtEl>
                                      </p:cBhvr>
                                    </p:animEffect>
                                  </p:childTnLst>
                                </p:cTn>
                              </p:par>
                              <p:par>
                                <p:cTn id="83" presetID="53" presetClass="entr" presetSubtype="16" fill="hold" grpId="0" nodeType="withEffect">
                                  <p:stCondLst>
                                    <p:cond delay="0"/>
                                  </p:stCondLst>
                                  <p:childTnLst>
                                    <p:set>
                                      <p:cBhvr>
                                        <p:cTn id="84" dur="1" fill="hold">
                                          <p:stCondLst>
                                            <p:cond delay="0"/>
                                          </p:stCondLst>
                                        </p:cTn>
                                        <p:tgtEl>
                                          <p:spTgt spid="5"/>
                                        </p:tgtEl>
                                        <p:attrNameLst>
                                          <p:attrName>style.visibility</p:attrName>
                                        </p:attrNameLst>
                                      </p:cBhvr>
                                      <p:to>
                                        <p:strVal val="visible"/>
                                      </p:to>
                                    </p:set>
                                    <p:anim calcmode="lin" valueType="num">
                                      <p:cBhvr>
                                        <p:cTn id="85" dur="500" fill="hold"/>
                                        <p:tgtEl>
                                          <p:spTgt spid="5"/>
                                        </p:tgtEl>
                                        <p:attrNameLst>
                                          <p:attrName>ppt_w</p:attrName>
                                        </p:attrNameLst>
                                      </p:cBhvr>
                                      <p:tavLst>
                                        <p:tav tm="0">
                                          <p:val>
                                            <p:fltVal val="0"/>
                                          </p:val>
                                        </p:tav>
                                        <p:tav tm="100000">
                                          <p:val>
                                            <p:strVal val="#ppt_w"/>
                                          </p:val>
                                        </p:tav>
                                      </p:tavLst>
                                    </p:anim>
                                    <p:anim calcmode="lin" valueType="num">
                                      <p:cBhvr>
                                        <p:cTn id="86" dur="500" fill="hold"/>
                                        <p:tgtEl>
                                          <p:spTgt spid="5"/>
                                        </p:tgtEl>
                                        <p:attrNameLst>
                                          <p:attrName>ppt_h</p:attrName>
                                        </p:attrNameLst>
                                      </p:cBhvr>
                                      <p:tavLst>
                                        <p:tav tm="0">
                                          <p:val>
                                            <p:fltVal val="0"/>
                                          </p:val>
                                        </p:tav>
                                        <p:tav tm="100000">
                                          <p:val>
                                            <p:strVal val="#ppt_h"/>
                                          </p:val>
                                        </p:tav>
                                      </p:tavLst>
                                    </p:anim>
                                    <p:animEffect transition="in" filter="fade">
                                      <p:cBhvr>
                                        <p:cTn id="87" dur="500"/>
                                        <p:tgtEl>
                                          <p:spTgt spid="5"/>
                                        </p:tgtEl>
                                      </p:cBhvr>
                                    </p:animEffect>
                                  </p:childTnLst>
                                </p:cTn>
                              </p:par>
                            </p:childTnLst>
                          </p:cTn>
                        </p:par>
                        <p:par>
                          <p:cTn id="88" fill="hold">
                            <p:stCondLst>
                              <p:cond delay="2000"/>
                            </p:stCondLst>
                            <p:childTnLst>
                              <p:par>
                                <p:cTn id="89" presetID="53" presetClass="entr" presetSubtype="16" fill="hold" grpId="0" nodeType="afterEffect">
                                  <p:stCondLst>
                                    <p:cond delay="0"/>
                                  </p:stCondLst>
                                  <p:childTnLst>
                                    <p:set>
                                      <p:cBhvr>
                                        <p:cTn id="90" dur="1" fill="hold">
                                          <p:stCondLst>
                                            <p:cond delay="0"/>
                                          </p:stCondLst>
                                        </p:cTn>
                                        <p:tgtEl>
                                          <p:spTgt spid="13"/>
                                        </p:tgtEl>
                                        <p:attrNameLst>
                                          <p:attrName>style.visibility</p:attrName>
                                        </p:attrNameLst>
                                      </p:cBhvr>
                                      <p:to>
                                        <p:strVal val="visible"/>
                                      </p:to>
                                    </p:set>
                                    <p:anim calcmode="lin" valueType="num">
                                      <p:cBhvr>
                                        <p:cTn id="91" dur="500" fill="hold"/>
                                        <p:tgtEl>
                                          <p:spTgt spid="13"/>
                                        </p:tgtEl>
                                        <p:attrNameLst>
                                          <p:attrName>ppt_w</p:attrName>
                                        </p:attrNameLst>
                                      </p:cBhvr>
                                      <p:tavLst>
                                        <p:tav tm="0">
                                          <p:val>
                                            <p:fltVal val="0"/>
                                          </p:val>
                                        </p:tav>
                                        <p:tav tm="100000">
                                          <p:val>
                                            <p:strVal val="#ppt_w"/>
                                          </p:val>
                                        </p:tav>
                                      </p:tavLst>
                                    </p:anim>
                                    <p:anim calcmode="lin" valueType="num">
                                      <p:cBhvr>
                                        <p:cTn id="92" dur="500" fill="hold"/>
                                        <p:tgtEl>
                                          <p:spTgt spid="13"/>
                                        </p:tgtEl>
                                        <p:attrNameLst>
                                          <p:attrName>ppt_h</p:attrName>
                                        </p:attrNameLst>
                                      </p:cBhvr>
                                      <p:tavLst>
                                        <p:tav tm="0">
                                          <p:val>
                                            <p:fltVal val="0"/>
                                          </p:val>
                                        </p:tav>
                                        <p:tav tm="100000">
                                          <p:val>
                                            <p:strVal val="#ppt_h"/>
                                          </p:val>
                                        </p:tav>
                                      </p:tavLst>
                                    </p:anim>
                                    <p:animEffect transition="in" filter="fade">
                                      <p:cBhvr>
                                        <p:cTn id="9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47" grpId="0" animBg="1"/>
      <p:bldP spid="48" grpId="0" animBg="1"/>
      <p:bldP spid="49" grpId="0" animBg="1"/>
      <p:bldP spid="50" grpId="0"/>
      <p:bldP spid="51" grpId="0"/>
      <p:bldP spid="56" grpId="0"/>
      <p:bldP spid="59" grpId="0"/>
      <p:bldP spid="60" grpId="0"/>
      <p:bldP spid="62" grpId="0"/>
      <p:bldP spid="64" grpId="0"/>
      <p:bldP spid="10" grpId="0" animBg="1"/>
      <p:bldP spid="66" grpId="0" animBg="1"/>
      <p:bldP spid="1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AME" val="Logo"/>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Logo"/>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AME" val="Logo"/>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6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NAME" val="Moon"/>
</p:tagLst>
</file>

<file path=ppt/tags/tag89.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0.xml><?xml version="1.0" encoding="utf-8"?>
<p:tagLst xmlns:a="http://schemas.openxmlformats.org/drawingml/2006/main" xmlns:r="http://schemas.openxmlformats.org/officeDocument/2006/relationships" xmlns:p="http://schemas.openxmlformats.org/presentationml/2006/main">
  <p:tag name="NAME" val="Moon"/>
</p:tagLst>
</file>

<file path=ppt/tags/tag91.xml><?xml version="1.0" encoding="utf-8"?>
<p:tagLst xmlns:a="http://schemas.openxmlformats.org/drawingml/2006/main" xmlns:r="http://schemas.openxmlformats.org/officeDocument/2006/relationships" xmlns:p="http://schemas.openxmlformats.org/presentationml/2006/main">
  <p:tag name="NAME" val="Moon"/>
</p:tagLst>
</file>

<file path=ppt/tags/tag92.xml><?xml version="1.0" encoding="utf-8"?>
<p:tagLst xmlns:a="http://schemas.openxmlformats.org/drawingml/2006/main" xmlns:r="http://schemas.openxmlformats.org/officeDocument/2006/relationships" xmlns:p="http://schemas.openxmlformats.org/presentationml/2006/main">
  <p:tag name="NAME" val="Moon"/>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heme/theme1.xml><?xml version="1.0" encoding="utf-8"?>
<a:theme xmlns:a="http://schemas.openxmlformats.org/drawingml/2006/main" name="AIA_2020">
  <a:themeElements>
    <a:clrScheme name="AIA_2020">
      <a:dk1>
        <a:srgbClr val="303D48"/>
      </a:dk1>
      <a:lt1>
        <a:srgbClr val="FFFFFF"/>
      </a:lt1>
      <a:dk2>
        <a:srgbClr val="1F78AD"/>
      </a:dk2>
      <a:lt2>
        <a:srgbClr val="D3CAC3"/>
      </a:lt2>
      <a:accent1>
        <a:srgbClr val="D31145"/>
      </a:accent1>
      <a:accent2>
        <a:srgbClr val="BA0361"/>
      </a:accent2>
      <a:accent3>
        <a:srgbClr val="FF754D"/>
      </a:accent3>
      <a:accent4>
        <a:srgbClr val="F7C926"/>
      </a:accent4>
      <a:accent5>
        <a:srgbClr val="A199BA"/>
      </a:accent5>
      <a:accent6>
        <a:srgbClr val="4C4793"/>
      </a:accent6>
      <a:hlink>
        <a:srgbClr val="4C4793"/>
      </a:hlink>
      <a:folHlink>
        <a:srgbClr val="08456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gency Analytics Models @ 2021-05-20" id="{CC643282-F479-4847-94D6-7FF7ED2E53E4}" vid="{4CBC7560-C806-4045-A139-F43F3AB5660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IA Presentation Template 2018">
  <a:themeElements>
    <a:clrScheme name="AIA colours">
      <a:dk1>
        <a:srgbClr val="000000"/>
      </a:dk1>
      <a:lt1>
        <a:srgbClr val="FFFFFF"/>
      </a:lt1>
      <a:dk2>
        <a:srgbClr val="FEFFFF"/>
      </a:dk2>
      <a:lt2>
        <a:srgbClr val="D31145"/>
      </a:lt2>
      <a:accent1>
        <a:srgbClr val="86027B"/>
      </a:accent1>
      <a:accent2>
        <a:srgbClr val="E25205"/>
      </a:accent2>
      <a:accent3>
        <a:srgbClr val="F0C400"/>
      </a:accent3>
      <a:accent4>
        <a:srgbClr val="63A70A"/>
      </a:accent4>
      <a:accent5>
        <a:srgbClr val="00A3AC"/>
      </a:accent5>
      <a:accent6>
        <a:srgbClr val="00A3DF"/>
      </a:accent6>
      <a:hlink>
        <a:srgbClr val="0957C3"/>
      </a:hlink>
      <a:folHlink>
        <a:srgbClr val="6244B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gency Analytics Models @ 2021-05-20" id="{CC643282-F479-4847-94D6-7FF7ED2E53E4}" vid="{5A78BA9A-A6C7-49AB-B365-6B111118A7C0}"/>
    </a:ext>
  </a:extLst>
</a:theme>
</file>

<file path=ppt/theme/theme3.xml><?xml version="1.0" encoding="utf-8"?>
<a:theme xmlns:a="http://schemas.openxmlformats.org/drawingml/2006/main" name="2_Latest_20180711">
  <a:themeElements>
    <a:clrScheme name="AIA">
      <a:dk1>
        <a:srgbClr val="000000"/>
      </a:dk1>
      <a:lt1>
        <a:srgbClr val="FFFFFF"/>
      </a:lt1>
      <a:dk2>
        <a:srgbClr val="A7A7A7"/>
      </a:dk2>
      <a:lt2>
        <a:srgbClr val="535353"/>
      </a:lt2>
      <a:accent1>
        <a:srgbClr val="D31145"/>
      </a:accent1>
      <a:accent2>
        <a:srgbClr val="D1D3D4"/>
      </a:accent2>
      <a:accent3>
        <a:srgbClr val="9C0058"/>
      </a:accent3>
      <a:accent4>
        <a:srgbClr val="F89820"/>
      </a:accent4>
      <a:accent5>
        <a:srgbClr val="C1D82F"/>
      </a:accent5>
      <a:accent6>
        <a:srgbClr val="0073AE"/>
      </a:accent6>
      <a:hlink>
        <a:srgbClr val="0000FF"/>
      </a:hlink>
      <a:folHlink>
        <a:srgbClr val="FF0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Agency Analytics Models @ 2021-05-20" id="{CC643282-F479-4847-94D6-7FF7ED2E53E4}" vid="{185BFC95-40F7-4BC2-B05D-B7BB82DC82CC}"/>
    </a:ext>
  </a:extLst>
</a:theme>
</file>

<file path=ppt/theme/theme4.xml><?xml version="1.0" encoding="utf-8"?>
<a:theme xmlns:a="http://schemas.openxmlformats.org/drawingml/2006/main" name="1_AIA Presentation Template 2018">
  <a:themeElements>
    <a:clrScheme name="Custom 2">
      <a:dk1>
        <a:srgbClr val="000000"/>
      </a:dk1>
      <a:lt1>
        <a:srgbClr val="FFFFFF"/>
      </a:lt1>
      <a:dk2>
        <a:srgbClr val="FEFFFF"/>
      </a:dk2>
      <a:lt2>
        <a:srgbClr val="D31145"/>
      </a:lt2>
      <a:accent1>
        <a:srgbClr val="86027B"/>
      </a:accent1>
      <a:accent2>
        <a:srgbClr val="E25205"/>
      </a:accent2>
      <a:accent3>
        <a:srgbClr val="F0C400"/>
      </a:accent3>
      <a:accent4>
        <a:srgbClr val="63A70A"/>
      </a:accent4>
      <a:accent5>
        <a:srgbClr val="00A3AC"/>
      </a:accent5>
      <a:accent6>
        <a:srgbClr val="00A3DF"/>
      </a:accent6>
      <a:hlink>
        <a:srgbClr val="0957C3"/>
      </a:hlink>
      <a:folHlink>
        <a:srgbClr val="6244B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gency Analytics Models @ 2021-05-20" id="{CC643282-F479-4847-94D6-7FF7ED2E53E4}" vid="{4543DB81-43C9-453F-B8D7-F491CE5C467C}"/>
    </a:ext>
  </a:extLst>
</a:theme>
</file>

<file path=ppt/theme/theme5.xml><?xml version="1.0" encoding="utf-8"?>
<a:theme xmlns:a="http://schemas.openxmlformats.org/drawingml/2006/main" name="2_AIA Presentation Template 2018">
  <a:themeElements>
    <a:clrScheme name="Custom 2">
      <a:dk1>
        <a:srgbClr val="000000"/>
      </a:dk1>
      <a:lt1>
        <a:srgbClr val="FFFFFF"/>
      </a:lt1>
      <a:dk2>
        <a:srgbClr val="FEFFFF"/>
      </a:dk2>
      <a:lt2>
        <a:srgbClr val="D31145"/>
      </a:lt2>
      <a:accent1>
        <a:srgbClr val="86027B"/>
      </a:accent1>
      <a:accent2>
        <a:srgbClr val="E25205"/>
      </a:accent2>
      <a:accent3>
        <a:srgbClr val="F0C400"/>
      </a:accent3>
      <a:accent4>
        <a:srgbClr val="63A70A"/>
      </a:accent4>
      <a:accent5>
        <a:srgbClr val="00A3AC"/>
      </a:accent5>
      <a:accent6>
        <a:srgbClr val="00A3DF"/>
      </a:accent6>
      <a:hlink>
        <a:srgbClr val="0957C3"/>
      </a:hlink>
      <a:folHlink>
        <a:srgbClr val="6244B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gency Analytics Models @ 2021-05-20" id="{CC643282-F479-4847-94D6-7FF7ED2E53E4}" vid="{3A0C2DFF-9176-45C3-BBA9-B438D9CD1B48}"/>
    </a:ext>
  </a:extLst>
</a:theme>
</file>

<file path=ppt/theme/theme6.xml><?xml version="1.0" encoding="utf-8"?>
<a:theme xmlns:a="http://schemas.openxmlformats.org/drawingml/2006/main" name="1_AIA_CF_AIA007">
  <a:themeElements>
    <a:clrScheme name="Current">
      <a:dk1>
        <a:srgbClr val="000000"/>
      </a:dk1>
      <a:lt1>
        <a:srgbClr val="FFFFFF"/>
      </a:lt1>
      <a:dk2>
        <a:srgbClr val="D31145"/>
      </a:dk2>
      <a:lt2>
        <a:srgbClr val="FFFFFF"/>
      </a:lt2>
      <a:accent1>
        <a:srgbClr val="D1D3D4"/>
      </a:accent1>
      <a:accent2>
        <a:srgbClr val="F89820"/>
      </a:accent2>
      <a:accent3>
        <a:srgbClr val="D31145"/>
      </a:accent3>
      <a:accent4>
        <a:srgbClr val="9C0058"/>
      </a:accent4>
      <a:accent5>
        <a:srgbClr val="0073AE"/>
      </a:accent5>
      <a:accent6>
        <a:srgbClr val="808080"/>
      </a:accent6>
      <a:hlink>
        <a:srgbClr val="D31145"/>
      </a:hlink>
      <a:folHlink>
        <a:srgbClr val="9C005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D31145"/>
        </a:dk2>
        <a:lt2>
          <a:srgbClr val="FFFFFF"/>
        </a:lt2>
        <a:accent1>
          <a:srgbClr val="D1D3D4"/>
        </a:accent1>
        <a:accent2>
          <a:srgbClr val="F89820"/>
        </a:accent2>
        <a:accent3>
          <a:srgbClr val="D31145"/>
        </a:accent3>
        <a:accent4>
          <a:srgbClr val="9C0058"/>
        </a:accent4>
        <a:accent5>
          <a:srgbClr val="0073AE"/>
        </a:accent5>
        <a:accent6>
          <a:srgbClr val="808080"/>
        </a:accent6>
        <a:hlink>
          <a:srgbClr val="D31145"/>
        </a:hlink>
        <a:folHlink>
          <a:srgbClr val="9C005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ency Analytics Models @ 2021-05-20" id="{CC643282-F479-4847-94D6-7FF7ED2E53E4}" vid="{FC627CFC-52DA-45F2-A277-27481AFE381D}"/>
    </a:ext>
  </a:extLst>
</a:theme>
</file>

<file path=ppt/theme/theme7.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Agency Analytics Models @ 2021-05-20" id="{CC643282-F479-4847-94D6-7FF7ED2E53E4}" vid="{2C860C4E-4D63-43BB-B249-1DD78ED125B6}"/>
    </a:ext>
  </a:extLst>
</a:theme>
</file>

<file path=ppt/theme/theme8.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Agency Analytics Models @ 2021-05-20" id="{CC643282-F479-4847-94D6-7FF7ED2E53E4}" vid="{1705B63B-D727-46D1-A548-1F7009987A75}"/>
    </a:ext>
  </a:extLst>
</a:theme>
</file>

<file path=ppt/theme/theme9.xml><?xml version="1.0" encoding="utf-8"?>
<a:theme xmlns:a="http://schemas.openxmlformats.org/drawingml/2006/main" name="2_AIA_CF_AIA007">
  <a:themeElements>
    <a:clrScheme name="Current">
      <a:dk1>
        <a:srgbClr val="000000"/>
      </a:dk1>
      <a:lt1>
        <a:srgbClr val="FFFFFF"/>
      </a:lt1>
      <a:dk2>
        <a:srgbClr val="D31145"/>
      </a:dk2>
      <a:lt2>
        <a:srgbClr val="FFFFFF"/>
      </a:lt2>
      <a:accent1>
        <a:srgbClr val="D1D3D4"/>
      </a:accent1>
      <a:accent2>
        <a:srgbClr val="F89820"/>
      </a:accent2>
      <a:accent3>
        <a:srgbClr val="D31145"/>
      </a:accent3>
      <a:accent4>
        <a:srgbClr val="9C0058"/>
      </a:accent4>
      <a:accent5>
        <a:srgbClr val="0073AE"/>
      </a:accent5>
      <a:accent6>
        <a:srgbClr val="808080"/>
      </a:accent6>
      <a:hlink>
        <a:srgbClr val="D31145"/>
      </a:hlink>
      <a:folHlink>
        <a:srgbClr val="9C005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D31145"/>
        </a:dk2>
        <a:lt2>
          <a:srgbClr val="FFFFFF"/>
        </a:lt2>
        <a:accent1>
          <a:srgbClr val="D1D3D4"/>
        </a:accent1>
        <a:accent2>
          <a:srgbClr val="F89820"/>
        </a:accent2>
        <a:accent3>
          <a:srgbClr val="D31145"/>
        </a:accent3>
        <a:accent4>
          <a:srgbClr val="9C0058"/>
        </a:accent4>
        <a:accent5>
          <a:srgbClr val="0073AE"/>
        </a:accent5>
        <a:accent6>
          <a:srgbClr val="808080"/>
        </a:accent6>
        <a:hlink>
          <a:srgbClr val="D31145"/>
        </a:hlink>
        <a:folHlink>
          <a:srgbClr val="9C005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ency Analytics Models @ 2021-05-20" id="{CC643282-F479-4847-94D6-7FF7ED2E53E4}" vid="{17A00998-F8D3-45BE-81EB-16FBE5923B01}"/>
    </a:ext>
  </a:extLst>
</a:theme>
</file>

<file path=docProps/app.xml><?xml version="1.0" encoding="utf-8"?>
<Properties xmlns="http://schemas.openxmlformats.org/officeDocument/2006/extended-properties" xmlns:vt="http://schemas.openxmlformats.org/officeDocument/2006/docPropsVTypes">
  <Template>AIA PPT Template</Template>
  <TotalTime>1187</TotalTime>
  <Words>2156</Words>
  <Application>Microsoft Office PowerPoint</Application>
  <PresentationFormat>Widescreen</PresentationFormat>
  <Paragraphs>441</Paragraphs>
  <Slides>46</Slides>
  <Notes>24</Notes>
  <HiddenSlides>14</HiddenSlides>
  <MMClips>0</MMClips>
  <ScaleCrop>false</ScaleCrop>
  <HeadingPairs>
    <vt:vector size="8" baseType="variant">
      <vt:variant>
        <vt:lpstr>Fonts Used</vt:lpstr>
      </vt:variant>
      <vt:variant>
        <vt:i4>7</vt:i4>
      </vt:variant>
      <vt:variant>
        <vt:lpstr>Theme</vt:lpstr>
      </vt:variant>
      <vt:variant>
        <vt:i4>9</vt:i4>
      </vt:variant>
      <vt:variant>
        <vt:lpstr>Embedded OLE Servers</vt:lpstr>
      </vt:variant>
      <vt:variant>
        <vt:i4>2</vt:i4>
      </vt:variant>
      <vt:variant>
        <vt:lpstr>Slide Titles</vt:lpstr>
      </vt:variant>
      <vt:variant>
        <vt:i4>46</vt:i4>
      </vt:variant>
    </vt:vector>
  </HeadingPairs>
  <TitlesOfParts>
    <vt:vector size="64" baseType="lpstr">
      <vt:lpstr>Arial</vt:lpstr>
      <vt:lpstr>Calibri</vt:lpstr>
      <vt:lpstr>Courier New</vt:lpstr>
      <vt:lpstr>Fira Sans Extra Condensed Medium</vt:lpstr>
      <vt:lpstr>Helvetica Neue</vt:lpstr>
      <vt:lpstr>Trebuchet MS</vt:lpstr>
      <vt:lpstr>Verdana</vt:lpstr>
      <vt:lpstr>AIA_2020</vt:lpstr>
      <vt:lpstr>AIA Presentation Template 2018</vt:lpstr>
      <vt:lpstr>2_Latest_20180711</vt:lpstr>
      <vt:lpstr>1_AIA Presentation Template 2018</vt:lpstr>
      <vt:lpstr>2_AIA Presentation Template 2018</vt:lpstr>
      <vt:lpstr>1_AIA_CF_AIA007</vt:lpstr>
      <vt:lpstr>BCG Grid 16:9</vt:lpstr>
      <vt:lpstr>1_BCG Grid 16:9</vt:lpstr>
      <vt:lpstr>2_AIA_CF_AIA007</vt:lpstr>
      <vt:lpstr>think-cell Slide</vt:lpstr>
      <vt:lpstr>Worksheet</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e Choong</dc:creator>
  <cp:lastModifiedBy>Choong, Joe-KW</cp:lastModifiedBy>
  <cp:revision>395</cp:revision>
  <dcterms:created xsi:type="dcterms:W3CDTF">2021-09-06T14:37:53Z</dcterms:created>
  <dcterms:modified xsi:type="dcterms:W3CDTF">2021-09-23T05:31:57Z</dcterms:modified>
</cp:coreProperties>
</file>